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8.xml" ContentType="application/vnd.openxmlformats-officedocument.theme+xml"/>
  <Override PartName="/ppt/tags/tag66.xml" ContentType="application/vnd.openxmlformats-officedocument.presentationml.tags+xml"/>
  <Override PartName="/ppt/notesSlides/notesSlide1.xml" ContentType="application/vnd.openxmlformats-officedocument.presentationml.notesSlide+xml"/>
  <Override PartName="/ppt/tags/tag67.xml" ContentType="application/vnd.openxmlformats-officedocument.presentationml.tags+xml"/>
  <Override PartName="/ppt/notesSlides/notesSlide2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6.xml" ContentType="application/vnd.openxmlformats-officedocument.presentationml.notesSlide+xml"/>
  <Override PartName="/ppt/tags/tag130.xml" ContentType="application/vnd.openxmlformats-officedocument.presentationml.tags+xml"/>
  <Override PartName="/ppt/notesSlides/notesSlide7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tags/tag1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1" r:id="rId2"/>
    <p:sldMasterId id="2147483687" r:id="rId3"/>
    <p:sldMasterId id="2147483699" r:id="rId4"/>
    <p:sldMasterId id="2147483707" r:id="rId5"/>
    <p:sldMasterId id="2147483717" r:id="rId6"/>
    <p:sldMasterId id="2147483726" r:id="rId7"/>
  </p:sldMasterIdLst>
  <p:notesMasterIdLst>
    <p:notesMasterId r:id="rId17"/>
  </p:notesMasterIdLst>
  <p:sldIdLst>
    <p:sldId id="2147478603" r:id="rId8"/>
    <p:sldId id="2147478592" r:id="rId9"/>
    <p:sldId id="2147478589" r:id="rId10"/>
    <p:sldId id="2147478590" r:id="rId11"/>
    <p:sldId id="2147478594" r:id="rId12"/>
    <p:sldId id="2147478600" r:id="rId13"/>
    <p:sldId id="2147478598" r:id="rId14"/>
    <p:sldId id="2147478591" r:id="rId15"/>
    <p:sldId id="391" r:id="rId16"/>
  </p:sldIdLst>
  <p:sldSz cx="12192000" cy="6858000"/>
  <p:notesSz cx="6858000" cy="9144000"/>
  <p:custDataLst>
    <p:tags r:id="rId1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13" userDrawn="1">
          <p15:clr>
            <a:srgbClr val="A4A3A4"/>
          </p15:clr>
        </p15:guide>
        <p15:guide id="2" pos="3568" userDrawn="1">
          <p15:clr>
            <a:srgbClr val="A4A3A4"/>
          </p15:clr>
        </p15:guide>
        <p15:guide id="3" pos="384" userDrawn="1">
          <p15:clr>
            <a:srgbClr val="A4A3A4"/>
          </p15:clr>
        </p15:guide>
        <p15:guide id="5" orient="horz" pos="331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на Гринка" initials="АГ" lastIdx="1" clrIdx="0">
    <p:extLst>
      <p:ext uri="{19B8F6BF-5375-455C-9EA6-DF929625EA0E}">
        <p15:presenceInfo xmlns:p15="http://schemas.microsoft.com/office/powerpoint/2012/main" userId="8bc5d4d9c2a0158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5F9"/>
    <a:srgbClr val="F1F2F7"/>
    <a:srgbClr val="C6F0F2"/>
    <a:srgbClr val="0A1823"/>
    <a:srgbClr val="E6F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81" autoAdjust="0"/>
    <p:restoredTop sz="96301"/>
  </p:normalViewPr>
  <p:slideViewPr>
    <p:cSldViewPr snapToGrid="0">
      <p:cViewPr varScale="1">
        <p:scale>
          <a:sx n="67" d="100"/>
          <a:sy n="67" d="100"/>
        </p:scale>
        <p:origin x="788" y="56"/>
      </p:cViewPr>
      <p:guideLst>
        <p:guide orient="horz" pos="3113"/>
        <p:guide pos="3568"/>
        <p:guide pos="384"/>
        <p:guide orient="horz" pos="3317"/>
      </p:guideLst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48826577263029E-2"/>
          <c:y val="0.10120481927710843"/>
          <c:w val="0.96830234684547389"/>
          <c:h val="0.79759036144578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2EBFD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409638554216867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22A-4430-B870-C368BD8CEA95}"/>
                </c:ext>
              </c:extLst>
            </c:dLbl>
            <c:dLbl>
              <c:idx val="1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22A-4430-B870-C368BD8CEA95}"/>
                </c:ext>
              </c:extLst>
            </c:dLbl>
            <c:dLbl>
              <c:idx val="2"/>
              <c:layout>
                <c:manualLayout>
                  <c:x val="0"/>
                  <c:y val="-2.409638554216867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22A-4430-B870-C368BD8CEA95}"/>
                </c:ext>
              </c:extLst>
            </c:dLbl>
            <c:dLbl>
              <c:idx val="3"/>
              <c:layout>
                <c:manualLayout>
                  <c:x val="0"/>
                  <c:y val="-2.409638554216867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22A-4430-B870-C368BD8CEA95}"/>
                </c:ext>
              </c:extLst>
            </c:dLbl>
            <c:dLbl>
              <c:idx val="4"/>
              <c:layout>
                <c:manualLayout>
                  <c:x val="0"/>
                  <c:y val="-2.409638554216867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22A-4430-B870-C368BD8CEA95}"/>
                </c:ext>
              </c:extLst>
            </c:dLbl>
            <c:dLbl>
              <c:idx val="5"/>
              <c:layout>
                <c:manualLayout>
                  <c:x val="0"/>
                  <c:y val="-2.409638554216867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22A-4430-B870-C368BD8CEA9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396</c:v>
                </c:pt>
                <c:pt idx="1">
                  <c:v>1459</c:v>
                </c:pt>
                <c:pt idx="2">
                  <c:v>1423</c:v>
                </c:pt>
                <c:pt idx="3">
                  <c:v>1440</c:v>
                </c:pt>
                <c:pt idx="4">
                  <c:v>1372</c:v>
                </c:pt>
                <c:pt idx="5">
                  <c:v>1303.651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22A-4430-B870-C368BD8CEA95}"/>
            </c:ext>
          </c:extLst>
        </c:ser>
        <c:ser>
          <c:idx val="1"/>
          <c:order val="1"/>
          <c:spPr>
            <a:solidFill>
              <a:srgbClr val="02406A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409638554216867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22A-4430-B870-C368BD8CEA95}"/>
                </c:ext>
              </c:extLst>
            </c:dLbl>
            <c:dLbl>
              <c:idx val="1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22A-4430-B870-C368BD8CEA95}"/>
                </c:ext>
              </c:extLst>
            </c:dLbl>
            <c:dLbl>
              <c:idx val="2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22A-4430-B870-C368BD8CEA95}"/>
                </c:ext>
              </c:extLst>
            </c:dLbl>
            <c:dLbl>
              <c:idx val="3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22A-4430-B870-C368BD8CEA95}"/>
                </c:ext>
              </c:extLst>
            </c:dLbl>
            <c:dLbl>
              <c:idx val="4"/>
              <c:layout>
                <c:manualLayout>
                  <c:x val="0"/>
                  <c:y val="-2.409638554216867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22A-4430-B870-C368BD8CEA95}"/>
                </c:ext>
              </c:extLst>
            </c:dLbl>
            <c:dLbl>
              <c:idx val="5"/>
              <c:layout>
                <c:manualLayout>
                  <c:x val="0"/>
                  <c:y val="-2.409638554216867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22A-4430-B870-C368BD8CEA9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1071</c:v>
                </c:pt>
                <c:pt idx="1">
                  <c:v>1208</c:v>
                </c:pt>
                <c:pt idx="2">
                  <c:v>1305</c:v>
                </c:pt>
                <c:pt idx="3">
                  <c:v>1381</c:v>
                </c:pt>
                <c:pt idx="4">
                  <c:v>1588</c:v>
                </c:pt>
                <c:pt idx="5">
                  <c:v>1717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22A-4430-B870-C368BD8CEA95}"/>
            </c:ext>
          </c:extLst>
        </c:ser>
        <c:ser>
          <c:idx val="2"/>
          <c:order val="2"/>
          <c:spPr>
            <a:solidFill>
              <a:srgbClr val="1084A9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22A-4430-B870-C368BD8CEA95}"/>
                </c:ext>
              </c:extLst>
            </c:dLbl>
            <c:dLbl>
              <c:idx val="1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22A-4430-B870-C368BD8CEA95}"/>
                </c:ext>
              </c:extLst>
            </c:dLbl>
            <c:dLbl>
              <c:idx val="2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B22A-4430-B870-C368BD8CEA95}"/>
                </c:ext>
              </c:extLst>
            </c:dLbl>
            <c:dLbl>
              <c:idx val="3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B22A-4430-B870-C368BD8CEA95}"/>
                </c:ext>
              </c:extLst>
            </c:dLbl>
            <c:dLbl>
              <c:idx val="4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B22A-4430-B870-C368BD8CEA95}"/>
                </c:ext>
              </c:extLst>
            </c:dLbl>
            <c:dLbl>
              <c:idx val="5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B22A-4430-B870-C368BD8CEA9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0">
                  <c:v>697</c:v>
                </c:pt>
                <c:pt idx="1">
                  <c:v>808</c:v>
                </c:pt>
                <c:pt idx="2">
                  <c:v>811</c:v>
                </c:pt>
                <c:pt idx="3">
                  <c:v>913</c:v>
                </c:pt>
                <c:pt idx="4">
                  <c:v>1092</c:v>
                </c:pt>
                <c:pt idx="5">
                  <c:v>1249.5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B22A-4430-B870-C368BD8CEA95}"/>
            </c:ext>
          </c:extLst>
        </c:ser>
        <c:ser>
          <c:idx val="3"/>
          <c:order val="3"/>
          <c:spPr>
            <a:solidFill>
              <a:srgbClr val="9AF7FF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B22A-4430-B870-C368BD8CEA95}"/>
                </c:ext>
              </c:extLst>
            </c:dLbl>
            <c:dLbl>
              <c:idx val="1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B22A-4430-B870-C368BD8CEA95}"/>
                </c:ext>
              </c:extLst>
            </c:dLbl>
            <c:dLbl>
              <c:idx val="2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B22A-4430-B870-C368BD8CEA95}"/>
                </c:ext>
              </c:extLst>
            </c:dLbl>
            <c:dLbl>
              <c:idx val="3"/>
              <c:layout>
                <c:manualLayout>
                  <c:x val="0"/>
                  <c:y val="-2.409638554216867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B22A-4430-B870-C368BD8CEA95}"/>
                </c:ext>
              </c:extLst>
            </c:dLbl>
            <c:dLbl>
              <c:idx val="4"/>
              <c:layout>
                <c:manualLayout>
                  <c:x val="0"/>
                  <c:y val="-2.409638554216867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B22A-4430-B870-C368BD8CEA95}"/>
                </c:ext>
              </c:extLst>
            </c:dLbl>
            <c:dLbl>
              <c:idx val="5"/>
              <c:layout>
                <c:manualLayout>
                  <c:x val="0"/>
                  <c:y val="-1.80722891566265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B22A-4430-B870-C368BD8CEA9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0">
                  <c:v>529</c:v>
                </c:pt>
                <c:pt idx="1">
                  <c:v>732</c:v>
                </c:pt>
                <c:pt idx="2">
                  <c:v>766</c:v>
                </c:pt>
                <c:pt idx="3">
                  <c:v>699</c:v>
                </c:pt>
                <c:pt idx="4">
                  <c:v>734</c:v>
                </c:pt>
                <c:pt idx="5">
                  <c:v>788.335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B22A-4430-B870-C368BD8CEA95}"/>
            </c:ext>
          </c:extLst>
        </c:ser>
        <c:ser>
          <c:idx val="4"/>
          <c:order val="4"/>
          <c:spPr>
            <a:solidFill>
              <a:srgbClr val="02CAD4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179</c:v>
                </c:pt>
                <c:pt idx="1">
                  <c:v>190</c:v>
                </c:pt>
                <c:pt idx="2">
                  <c:v>227</c:v>
                </c:pt>
                <c:pt idx="3">
                  <c:v>243</c:v>
                </c:pt>
                <c:pt idx="4">
                  <c:v>329</c:v>
                </c:pt>
                <c:pt idx="5">
                  <c:v>496.23099999999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B22A-4430-B870-C368BD8CEA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76340832"/>
        <c:axId val="1"/>
      </c:barChart>
      <c:catAx>
        <c:axId val="12763408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555.315999999999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763408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48826577263029E-2"/>
          <c:y val="9.7617664148750727E-2"/>
          <c:w val="0.96830234684547389"/>
          <c:h val="0.804764671702498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2EBFD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32423009877977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61-46B9-87B9-8A9B36341D76}"/>
                </c:ext>
              </c:extLst>
            </c:dLbl>
            <c:dLbl>
              <c:idx val="1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E61-46B9-87B9-8A9B36341D76}"/>
                </c:ext>
              </c:extLst>
            </c:dLbl>
            <c:dLbl>
              <c:idx val="2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61-46B9-87B9-8A9B36341D76}"/>
                </c:ext>
              </c:extLst>
            </c:dLbl>
            <c:dLbl>
              <c:idx val="3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E61-46B9-87B9-8A9B36341D76}"/>
                </c:ext>
              </c:extLst>
            </c:dLbl>
            <c:dLbl>
              <c:idx val="4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E61-46B9-87B9-8A9B36341D76}"/>
                </c:ext>
              </c:extLst>
            </c:dLbl>
            <c:dLbl>
              <c:idx val="5"/>
              <c:layout>
                <c:manualLayout>
                  <c:x val="0"/>
                  <c:y val="-2.32423009877977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E61-46B9-87B9-8A9B36341D7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303.6510000000001</c:v>
                </c:pt>
                <c:pt idx="1">
                  <c:v>1365.184</c:v>
                </c:pt>
                <c:pt idx="2">
                  <c:v>1429.6213893565071</c:v>
                </c:pt>
                <c:pt idx="3">
                  <c:v>1497.1002567460721</c:v>
                </c:pt>
                <c:pt idx="4">
                  <c:v>1567.7641615015286</c:v>
                </c:pt>
                <c:pt idx="5">
                  <c:v>1641.76343903030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E61-46B9-87B9-8A9B36341D76}"/>
            </c:ext>
          </c:extLst>
        </c:ser>
        <c:ser>
          <c:idx val="1"/>
          <c:order val="1"/>
          <c:spPr>
            <a:solidFill>
              <a:srgbClr val="02406A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E61-46B9-87B9-8A9B36341D76}"/>
                </c:ext>
              </c:extLst>
            </c:dLbl>
            <c:dLbl>
              <c:idx val="1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E61-46B9-87B9-8A9B36341D76}"/>
                </c:ext>
              </c:extLst>
            </c:dLbl>
            <c:dLbl>
              <c:idx val="2"/>
              <c:layout>
                <c:manualLayout>
                  <c:x val="0"/>
                  <c:y val="-2.32423009877977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E61-46B9-87B9-8A9B36341D76}"/>
                </c:ext>
              </c:extLst>
            </c:dLbl>
            <c:dLbl>
              <c:idx val="3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E61-46B9-87B9-8A9B36341D76}"/>
                </c:ext>
              </c:extLst>
            </c:dLbl>
            <c:dLbl>
              <c:idx val="4"/>
              <c:layout>
                <c:manualLayout>
                  <c:x val="0"/>
                  <c:y val="-2.32423009877977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E61-46B9-87B9-8A9B36341D76}"/>
                </c:ext>
              </c:extLst>
            </c:dLbl>
            <c:dLbl>
              <c:idx val="5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E61-46B9-87B9-8A9B36341D7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1717.59</c:v>
                </c:pt>
                <c:pt idx="1">
                  <c:v>1866.856</c:v>
                </c:pt>
                <c:pt idx="2">
                  <c:v>2048.8293121694951</c:v>
                </c:pt>
                <c:pt idx="3">
                  <c:v>2248.5406214538925</c:v>
                </c:pt>
                <c:pt idx="4">
                  <c:v>2467.7189535982143</c:v>
                </c:pt>
                <c:pt idx="5">
                  <c:v>2708.26187254306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E61-46B9-87B9-8A9B36341D76}"/>
            </c:ext>
          </c:extLst>
        </c:ser>
        <c:ser>
          <c:idx val="2"/>
          <c:order val="2"/>
          <c:spPr>
            <a:solidFill>
              <a:srgbClr val="1084A9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32423009877977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EE61-46B9-87B9-8A9B36341D76}"/>
                </c:ext>
              </c:extLst>
            </c:dLbl>
            <c:dLbl>
              <c:idx val="1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EE61-46B9-87B9-8A9B36341D76}"/>
                </c:ext>
              </c:extLst>
            </c:dLbl>
            <c:dLbl>
              <c:idx val="2"/>
              <c:layout>
                <c:manualLayout>
                  <c:x val="0"/>
                  <c:y val="-2.32423009877977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EE61-46B9-87B9-8A9B36341D76}"/>
                </c:ext>
              </c:extLst>
            </c:dLbl>
            <c:dLbl>
              <c:idx val="3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EE61-46B9-87B9-8A9B36341D76}"/>
                </c:ext>
              </c:extLst>
            </c:dLbl>
            <c:dLbl>
              <c:idx val="4"/>
              <c:layout>
                <c:manualLayout>
                  <c:x val="0"/>
                  <c:y val="-2.32423009877977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E61-46B9-87B9-8A9B36341D76}"/>
                </c:ext>
              </c:extLst>
            </c:dLbl>
            <c:dLbl>
              <c:idx val="5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EE61-46B9-87B9-8A9B36341D7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0">
                  <c:v>1249.509</c:v>
                </c:pt>
                <c:pt idx="1">
                  <c:v>1433.6329999999998</c:v>
                </c:pt>
                <c:pt idx="2">
                  <c:v>1619.1428446359359</c:v>
                </c:pt>
                <c:pt idx="3">
                  <c:v>1828.6573700073532</c:v>
                </c:pt>
                <c:pt idx="4">
                  <c:v>2065.2827438669278</c:v>
                </c:pt>
                <c:pt idx="5">
                  <c:v>2332.52706716587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EE61-46B9-87B9-8A9B36341D76}"/>
            </c:ext>
          </c:extLst>
        </c:ser>
        <c:ser>
          <c:idx val="3"/>
          <c:order val="3"/>
          <c:spPr>
            <a:solidFill>
              <a:srgbClr val="9AF7FF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32423009877977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EE61-46B9-87B9-8A9B36341D76}"/>
                </c:ext>
              </c:extLst>
            </c:dLbl>
            <c:dLbl>
              <c:idx val="1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EE61-46B9-87B9-8A9B36341D76}"/>
                </c:ext>
              </c:extLst>
            </c:dLbl>
            <c:dLbl>
              <c:idx val="2"/>
              <c:layout>
                <c:manualLayout>
                  <c:x val="0"/>
                  <c:y val="-2.32423009877977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EE61-46B9-87B9-8A9B36341D76}"/>
                </c:ext>
              </c:extLst>
            </c:dLbl>
            <c:dLbl>
              <c:idx val="3"/>
              <c:layout>
                <c:manualLayout>
                  <c:x val="0"/>
                  <c:y val="-2.32423009877977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EE61-46B9-87B9-8A9B36341D76}"/>
                </c:ext>
              </c:extLst>
            </c:dLbl>
            <c:dLbl>
              <c:idx val="4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EE61-46B9-87B9-8A9B36341D76}"/>
                </c:ext>
              </c:extLst>
            </c:dLbl>
            <c:dLbl>
              <c:idx val="5"/>
              <c:layout>
                <c:manualLayout>
                  <c:x val="0"/>
                  <c:y val="-1.743172574084834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EE61-46B9-87B9-8A9B36341D7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0">
                  <c:v>788.33500000000004</c:v>
                </c:pt>
                <c:pt idx="1">
                  <c:v>836.41700000000037</c:v>
                </c:pt>
                <c:pt idx="2">
                  <c:v>909.99561222487591</c:v>
                </c:pt>
                <c:pt idx="3">
                  <c:v>990.04684776675731</c:v>
                </c:pt>
                <c:pt idx="4">
                  <c:v>1077.1400956279213</c:v>
                </c:pt>
                <c:pt idx="5">
                  <c:v>1171.89483328637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EE61-46B9-87B9-8A9B36341D76}"/>
            </c:ext>
          </c:extLst>
        </c:ser>
        <c:ser>
          <c:idx val="4"/>
          <c:order val="4"/>
          <c:spPr>
            <a:solidFill>
              <a:srgbClr val="02CAD4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496.23099999999977</c:v>
                </c:pt>
                <c:pt idx="1">
                  <c:v>653.40300000000025</c:v>
                </c:pt>
                <c:pt idx="2">
                  <c:v>817.36531742004809</c:v>
                </c:pt>
                <c:pt idx="3">
                  <c:v>1022.4716784605753</c:v>
                </c:pt>
                <c:pt idx="4">
                  <c:v>1279.0466037314445</c:v>
                </c:pt>
                <c:pt idx="5">
                  <c:v>1600.00540746520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EE61-46B9-87B9-8A9B36341D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100"/>
        <c:axId val="142286751"/>
        <c:axId val="1"/>
      </c:barChart>
      <c:catAx>
        <c:axId val="1422867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454.45261949082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22867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530329289428077E-2"/>
          <c:y val="2.7069234773555439E-2"/>
          <c:w val="0.95493934142114389"/>
          <c:h val="0.9458615304528891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084A9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481</c:v>
                </c:pt>
                <c:pt idx="1">
                  <c:v>604</c:v>
                </c:pt>
                <c:pt idx="2">
                  <c:v>720</c:v>
                </c:pt>
                <c:pt idx="3">
                  <c:v>8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BD-41C7-84BB-87A6E66E1425}"/>
            </c:ext>
          </c:extLst>
        </c:ser>
        <c:ser>
          <c:idx val="1"/>
          <c:order val="1"/>
          <c:spPr>
            <a:solidFill>
              <a:srgbClr val="9AF7FF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1851</c:v>
                </c:pt>
                <c:pt idx="1">
                  <c:v>2254</c:v>
                </c:pt>
                <c:pt idx="2">
                  <c:v>2614</c:v>
                </c:pt>
                <c:pt idx="3">
                  <c:v>28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BD-41C7-84BB-87A6E66E1425}"/>
            </c:ext>
          </c:extLst>
        </c:ser>
        <c:ser>
          <c:idx val="2"/>
          <c:order val="2"/>
          <c:spPr>
            <a:solidFill>
              <a:srgbClr val="02CAD4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407</c:v>
                </c:pt>
                <c:pt idx="1">
                  <c:v>497</c:v>
                </c:pt>
                <c:pt idx="2">
                  <c:v>601</c:v>
                </c:pt>
                <c:pt idx="3">
                  <c:v>6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BD-41C7-84BB-87A6E66E1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overlap val="100"/>
        <c:axId val="8786447"/>
        <c:axId val="1"/>
      </c:barChart>
      <c:catAx>
        <c:axId val="87864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38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7864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48826577263029E-2"/>
          <c:y val="9.7845078625509604E-2"/>
          <c:w val="0.96830234684547389"/>
          <c:h val="0.8043098427489807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084A9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747233546884100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1D7-459B-BBD2-4E04A1E94A2B}"/>
                </c:ext>
              </c:extLst>
            </c:dLbl>
            <c:dLbl>
              <c:idx val="1"/>
              <c:layout>
                <c:manualLayout>
                  <c:x val="0"/>
                  <c:y val="-2.329644729178800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1D7-459B-BBD2-4E04A1E94A2B}"/>
                </c:ext>
              </c:extLst>
            </c:dLbl>
            <c:dLbl>
              <c:idx val="2"/>
              <c:layout>
                <c:manualLayout>
                  <c:x val="0"/>
                  <c:y val="-2.329644729178800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1D7-459B-BBD2-4E04A1E94A2B}"/>
                </c:ext>
              </c:extLst>
            </c:dLbl>
            <c:dLbl>
              <c:idx val="3"/>
              <c:layout>
                <c:manualLayout>
                  <c:x val="0"/>
                  <c:y val="-1.747233546884100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1D7-459B-BBD2-4E04A1E94A2B}"/>
                </c:ext>
              </c:extLst>
            </c:dLbl>
            <c:dLbl>
              <c:idx val="4"/>
              <c:layout>
                <c:manualLayout>
                  <c:x val="0"/>
                  <c:y val="-2.329644729178800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1D7-459B-BBD2-4E04A1E94A2B}"/>
                </c:ext>
              </c:extLst>
            </c:dLbl>
            <c:dLbl>
              <c:idx val="5"/>
              <c:layout>
                <c:manualLayout>
                  <c:x val="0"/>
                  <c:y val="-1.747233546884100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1D7-459B-BBD2-4E04A1E94A2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883</c:v>
                </c:pt>
                <c:pt idx="1">
                  <c:v>3228.9600000000005</c:v>
                </c:pt>
                <c:pt idx="2">
                  <c:v>3616.4352000000008</c:v>
                </c:pt>
                <c:pt idx="3">
                  <c:v>4050.4074240000014</c:v>
                </c:pt>
                <c:pt idx="4">
                  <c:v>4536.4563148800016</c:v>
                </c:pt>
                <c:pt idx="5">
                  <c:v>5080.83107266560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1D7-459B-BBD2-4E04A1E94A2B}"/>
            </c:ext>
          </c:extLst>
        </c:ser>
        <c:ser>
          <c:idx val="1"/>
          <c:order val="1"/>
          <c:spPr>
            <a:solidFill>
              <a:srgbClr val="9AF7FF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329644729178800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1D7-459B-BBD2-4E04A1E94A2B}"/>
                </c:ext>
              </c:extLst>
            </c:dLbl>
            <c:dLbl>
              <c:idx val="1"/>
              <c:layout>
                <c:manualLayout>
                  <c:x val="0"/>
                  <c:y val="-1.747233546884100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1D7-459B-BBD2-4E04A1E94A2B}"/>
                </c:ext>
              </c:extLst>
            </c:dLbl>
            <c:dLbl>
              <c:idx val="2"/>
              <c:layout>
                <c:manualLayout>
                  <c:x val="0"/>
                  <c:y val="-1.747233546884100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1D7-459B-BBD2-4E04A1E94A2B}"/>
                </c:ext>
              </c:extLst>
            </c:dLbl>
            <c:dLbl>
              <c:idx val="3"/>
              <c:layout>
                <c:manualLayout>
                  <c:x val="0"/>
                  <c:y val="-1.747233546884100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1D7-459B-BBD2-4E04A1E94A2B}"/>
                </c:ext>
              </c:extLst>
            </c:dLbl>
            <c:dLbl>
              <c:idx val="4"/>
              <c:layout>
                <c:manualLayout>
                  <c:x val="0"/>
                  <c:y val="-2.329644729178800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91D7-459B-BBD2-4E04A1E94A2B}"/>
                </c:ext>
              </c:extLst>
            </c:dLbl>
            <c:dLbl>
              <c:idx val="5"/>
              <c:layout>
                <c:manualLayout>
                  <c:x val="0"/>
                  <c:y val="-1.747233546884100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91D7-459B-BBD2-4E04A1E94A2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806</c:v>
                </c:pt>
                <c:pt idx="1">
                  <c:v>904.43650957542786</c:v>
                </c:pt>
                <c:pt idx="2">
                  <c:v>1036.0226546365957</c:v>
                </c:pt>
                <c:pt idx="3">
                  <c:v>1239.359980748271</c:v>
                </c:pt>
                <c:pt idx="4">
                  <c:v>1427.5607666568803</c:v>
                </c:pt>
                <c:pt idx="5">
                  <c:v>1639.6212859644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91D7-459B-BBD2-4E04A1E94A2B}"/>
            </c:ext>
          </c:extLst>
        </c:ser>
        <c:ser>
          <c:idx val="2"/>
          <c:order val="2"/>
          <c:spPr>
            <a:solidFill>
              <a:srgbClr val="02CAD4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691</c:v>
                </c:pt>
                <c:pt idx="1">
                  <c:v>775.39159815957919</c:v>
                </c:pt>
                <c:pt idx="2">
                  <c:v>888.20304510407914</c:v>
                </c:pt>
                <c:pt idx="3">
                  <c:v>1062.528221708506</c:v>
                </c:pt>
                <c:pt idx="4">
                  <c:v>1223.8765381636531</c:v>
                </c:pt>
                <c:pt idx="5">
                  <c:v>1405.6802836246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1D7-459B-BBD2-4E04A1E94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100"/>
        <c:axId val="2094216912"/>
        <c:axId val="1"/>
      </c:barChart>
      <c:catAx>
        <c:axId val="2094216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126.132642254746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942169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13BC21-13DC-174F-B6C5-D10C57F36367}" type="datetimeFigureOut">
              <a:rPr lang="ru-RU" smtClean="0"/>
              <a:t>20.07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C285EE-48D8-2145-A7ED-BB248D6B2A4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9290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727E2B-1D17-4FC9-9DD9-E31E912CBA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03698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BACC50-3F34-4CA4-908F-33F55DCD149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68644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BACC50-3F34-4CA4-908F-33F55DCD149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Verdana" panose="020B0604030504040204" pitchFamily="34" charset="0"/>
              <a:cs typeface="+mn-cs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8951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BACC50-3F34-4CA4-908F-33F55DCD149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55284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DA9FFD-879E-523B-97B6-098F0E5D93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3620FA50-933A-5E7D-F53B-B5321F53DC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2AE2E00F-08E2-CC58-607A-B4284C38E2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7C6D9E4-9064-3ACE-1C1A-337792BFE8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C285EE-48D8-2145-A7ED-BB248D6B2A4D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90622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9185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E1F253-9FEB-4F22-A725-A9B4C84F07C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3133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BACC50-3F34-4CA4-908F-33F55DCD149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9533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9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2"/>
          <p:cNvSpPr/>
          <p:nvPr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6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9" name="Полилиния 8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1" name="Полилиния 10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5146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lay_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 userDrawn="1"/>
        </p:nvSpPr>
        <p:spPr>
          <a:xfrm flipH="1">
            <a:off x="9144000" y="0"/>
            <a:ext cx="3048000" cy="6858000"/>
          </a:xfrm>
          <a:prstGeom prst="rect">
            <a:avLst/>
          </a:prstGeom>
          <a:solidFill>
            <a:srgbClr val="0B18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Rectangle 12"/>
          <p:cNvSpPr/>
          <p:nvPr userDrawn="1"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8" name="Группа 17"/>
          <p:cNvGrpSpPr/>
          <p:nvPr userDrawn="1"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19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21" name="Полилиния 20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22" name="Полилиния 21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3" name="Текст 29">
            <a:extLst>
              <a:ext uri="{FF2B5EF4-FFF2-40B4-BE49-F238E27FC236}">
                <a16:creationId xmlns:a16="http://schemas.microsoft.com/office/drawing/2014/main" id="{EE80690E-A48A-C1D8-B747-E6B811A8B0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8418181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4" name="Заголовок 15">
            <a:extLst>
              <a:ext uri="{FF2B5EF4-FFF2-40B4-BE49-F238E27FC236}">
                <a16:creationId xmlns:a16="http://schemas.microsoft.com/office/drawing/2014/main" id="{DF4580FF-9FDF-DB66-C296-16CFBA08FF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49263"/>
            <a:ext cx="8418181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5" name="Текст 38">
            <a:extLst>
              <a:ext uri="{FF2B5EF4-FFF2-40B4-BE49-F238E27FC236}">
                <a16:creationId xmlns:a16="http://schemas.microsoft.com/office/drawing/2014/main" id="{7DD32972-52E7-C530-9BE9-2E0F7CCDFC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6273800"/>
            <a:ext cx="8418181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6" name="Текст 38">
            <a:extLst>
              <a:ext uri="{FF2B5EF4-FFF2-40B4-BE49-F238E27FC236}">
                <a16:creationId xmlns:a16="http://schemas.microsoft.com/office/drawing/2014/main" id="{95D8E2A8-A51C-2946-E21E-45586AA938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6522684"/>
            <a:ext cx="8418181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</p:spTree>
    <p:extLst>
      <p:ext uri="{BB962C8B-B14F-4D97-AF65-F5344CB8AC3E}">
        <p14:creationId xmlns:p14="http://schemas.microsoft.com/office/powerpoint/2010/main" val="3192830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82">
          <p15:clr>
            <a:srgbClr val="FBAE40"/>
          </p15:clr>
        </p15:guide>
        <p15:guide id="2" pos="595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64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2089994"/>
            <a:ext cx="5668327" cy="848300"/>
          </a:xfrm>
          <a:prstGeom prst="rect">
            <a:avLst/>
          </a:prstGeom>
        </p:spPr>
        <p:txBody>
          <a:bodyPr vert="horz" wrap="square" lIns="36000" tIns="36000" rIns="36000" bIns="36000" anchor="t" anchorCtr="0">
            <a:spAutoFit/>
          </a:bodyPr>
          <a:lstStyle>
            <a:lvl1pPr>
              <a:defRPr sz="2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Слайд</a:t>
            </a:r>
            <a:br>
              <a:rPr lang="ru-RU" dirty="0"/>
            </a:br>
            <a:r>
              <a:rPr lang="ru-RU" dirty="0"/>
              <a:t>разделитель</a:t>
            </a:r>
          </a:p>
        </p:txBody>
      </p:sp>
      <p:sp>
        <p:nvSpPr>
          <p:cNvPr id="9" name="Полилиния 8">
            <a:extLst>
              <a:ext uri="{FF2B5EF4-FFF2-40B4-BE49-F238E27FC236}">
                <a16:creationId xmlns:a16="http://schemas.microsoft.com/office/drawing/2014/main" id="{426C0A8D-D200-9B5E-DE81-63CCB23992C3}"/>
              </a:ext>
            </a:extLst>
          </p:cNvPr>
          <p:cNvSpPr/>
          <p:nvPr/>
        </p:nvSpPr>
        <p:spPr>
          <a:xfrm>
            <a:off x="11643351" y="6519933"/>
            <a:ext cx="105738" cy="178925"/>
          </a:xfrm>
          <a:custGeom>
            <a:avLst/>
            <a:gdLst>
              <a:gd name="connsiteX0" fmla="*/ 851741 w 851740"/>
              <a:gd name="connsiteY0" fmla="*/ 0 h 1441279"/>
              <a:gd name="connsiteX1" fmla="*/ 161146 w 851740"/>
              <a:gd name="connsiteY1" fmla="*/ 1441280 h 1441279"/>
              <a:gd name="connsiteX2" fmla="*/ 0 w 851740"/>
              <a:gd name="connsiteY2" fmla="*/ 1441280 h 1441279"/>
              <a:gd name="connsiteX3" fmla="*/ 690595 w 851740"/>
              <a:gd name="connsiteY3" fmla="*/ 0 h 1441279"/>
              <a:gd name="connsiteX4" fmla="*/ 851741 w 851740"/>
              <a:gd name="connsiteY4" fmla="*/ 0 h 1441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740" h="1441279">
                <a:moveTo>
                  <a:pt x="851741" y="0"/>
                </a:moveTo>
                <a:lnTo>
                  <a:pt x="161146" y="1441280"/>
                </a:lnTo>
                <a:lnTo>
                  <a:pt x="0" y="1441280"/>
                </a:lnTo>
                <a:lnTo>
                  <a:pt x="690595" y="0"/>
                </a:lnTo>
                <a:lnTo>
                  <a:pt x="851741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Текст 29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2913" y="243629"/>
            <a:ext cx="3245168" cy="176971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15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30947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8509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 userDrawn="1"/>
        </p:nvSpPr>
        <p:spPr>
          <a:xfrm>
            <a:off x="0" y="0"/>
            <a:ext cx="812028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49263"/>
            <a:ext cx="7453312" cy="2769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defRPr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11" name="Полилиния 10">
            <a:extLst>
              <a:ext uri="{FF2B5EF4-FFF2-40B4-BE49-F238E27FC236}">
                <a16:creationId xmlns:a16="http://schemas.microsoft.com/office/drawing/2014/main" id="{426C0A8D-D200-9B5E-DE81-63CCB23992C3}"/>
              </a:ext>
            </a:extLst>
          </p:cNvPr>
          <p:cNvSpPr/>
          <p:nvPr/>
        </p:nvSpPr>
        <p:spPr>
          <a:xfrm>
            <a:off x="11643351" y="6519933"/>
            <a:ext cx="105738" cy="178925"/>
          </a:xfrm>
          <a:custGeom>
            <a:avLst/>
            <a:gdLst>
              <a:gd name="connsiteX0" fmla="*/ 851741 w 851740"/>
              <a:gd name="connsiteY0" fmla="*/ 0 h 1441279"/>
              <a:gd name="connsiteX1" fmla="*/ 161146 w 851740"/>
              <a:gd name="connsiteY1" fmla="*/ 1441280 h 1441279"/>
              <a:gd name="connsiteX2" fmla="*/ 0 w 851740"/>
              <a:gd name="connsiteY2" fmla="*/ 1441280 h 1441279"/>
              <a:gd name="connsiteX3" fmla="*/ 690595 w 851740"/>
              <a:gd name="connsiteY3" fmla="*/ 0 h 1441279"/>
              <a:gd name="connsiteX4" fmla="*/ 851741 w 851740"/>
              <a:gd name="connsiteY4" fmla="*/ 0 h 1441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740" h="1441279">
                <a:moveTo>
                  <a:pt x="851741" y="0"/>
                </a:moveTo>
                <a:lnTo>
                  <a:pt x="161146" y="1441280"/>
                </a:lnTo>
                <a:lnTo>
                  <a:pt x="0" y="1441280"/>
                </a:lnTo>
                <a:lnTo>
                  <a:pt x="690595" y="0"/>
                </a:lnTo>
                <a:lnTo>
                  <a:pt x="851741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Текст 24">
            <a:extLst>
              <a:ext uri="{FF2B5EF4-FFF2-40B4-BE49-F238E27FC236}">
                <a16:creationId xmlns:a16="http://schemas.microsoft.com/office/drawing/2014/main" id="{E05899F0-03F6-6B4C-BF0E-6A257DC766C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42913" y="1196975"/>
            <a:ext cx="5653087" cy="263149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Font typeface="+mj-lt"/>
              <a:buAutoNum type="arabicPeriod"/>
              <a:defRPr lang="ru-RU" sz="1600" b="0" kern="1200" spc="-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>
                <a:effectLst/>
              </a:rPr>
              <a:t>Раздел 1</a:t>
            </a:r>
          </a:p>
          <a:p>
            <a:pPr lvl="0"/>
            <a:r>
              <a:rPr lang="ru-RU" dirty="0">
                <a:effectLst/>
              </a:rPr>
              <a:t>Раздел 2</a:t>
            </a:r>
          </a:p>
          <a:p>
            <a:pPr lvl="0"/>
            <a:r>
              <a:rPr lang="ru-RU" dirty="0">
                <a:effectLst/>
              </a:rPr>
              <a:t>Раздел 3</a:t>
            </a:r>
          </a:p>
          <a:p>
            <a:pPr lvl="0"/>
            <a:r>
              <a:rPr lang="ru-RU" dirty="0">
                <a:effectLst/>
              </a:rPr>
              <a:t>Раздел 4</a:t>
            </a:r>
          </a:p>
          <a:p>
            <a:pPr lvl="0"/>
            <a:r>
              <a:rPr lang="ru-RU" dirty="0">
                <a:effectLst/>
              </a:rPr>
              <a:t>Раздел 5</a:t>
            </a:r>
          </a:p>
          <a:p>
            <a:pPr lvl="0"/>
            <a:r>
              <a:rPr lang="ru-RU" dirty="0">
                <a:effectLst/>
              </a:rPr>
              <a:t>Раздел 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3087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  <p15:guide id="2" pos="4974">
          <p15:clr>
            <a:srgbClr val="FBAE40"/>
          </p15:clr>
        </p15:guide>
        <p15:guide id="3" pos="270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4003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 userDrawn="1"/>
        </p:nvSpPr>
        <p:spPr>
          <a:xfrm>
            <a:off x="4076700" y="0"/>
            <a:ext cx="812028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Rectangle 12"/>
          <p:cNvSpPr/>
          <p:nvPr userDrawn="1"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11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13" name="Полилиния 12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4" name="Полилиния 13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95776" y="5390253"/>
            <a:ext cx="7453313" cy="775597"/>
          </a:xfrm>
        </p:spPr>
        <p:txBody>
          <a:bodyPr vert="horz" anchor="b"/>
          <a:lstStyle>
            <a:lvl1pPr>
              <a:defRPr sz="2800"/>
            </a:lvl1pPr>
          </a:lstStyle>
          <a:p>
            <a:r>
              <a:rPr lang="ru-RU" dirty="0"/>
              <a:t>Слайд</a:t>
            </a:r>
            <a:br>
              <a:rPr lang="ru-RU" dirty="0"/>
            </a:br>
            <a:r>
              <a:rPr lang="ru-RU" dirty="0"/>
              <a:t>разделитель</a:t>
            </a:r>
          </a:p>
        </p:txBody>
      </p:sp>
      <p:sp>
        <p:nvSpPr>
          <p:cNvPr id="18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354573" y="4690668"/>
            <a:ext cx="3181107" cy="176971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15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914821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  <p15:guide id="2" pos="4974">
          <p15:clr>
            <a:srgbClr val="FBAE40"/>
          </p15:clr>
        </p15:guide>
        <p15:guide id="3" pos="270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981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Группа 4"/>
          <p:cNvGrpSpPr/>
          <p:nvPr userDrawn="1"/>
        </p:nvGrpSpPr>
        <p:grpSpPr>
          <a:xfrm>
            <a:off x="11324361" y="6517061"/>
            <a:ext cx="424728" cy="184669"/>
            <a:chOff x="11324361" y="6517061"/>
            <a:chExt cx="424728" cy="184669"/>
          </a:xfrm>
          <a:solidFill>
            <a:schemeClr val="bg1"/>
          </a:solidFill>
        </p:grpSpPr>
        <p:grpSp>
          <p:nvGrpSpPr>
            <p:cNvPr id="7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grpFill/>
          </p:grpSpPr>
          <p:sp>
            <p:nvSpPr>
              <p:cNvPr id="10" name="Полилиния 9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1" name="Полилиния 10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15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8737600" y="4690668"/>
            <a:ext cx="3175000" cy="176971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r">
              <a:buNone/>
              <a:defRPr sz="115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13" name="Текст 24">
            <a:extLst>
              <a:ext uri="{FF2B5EF4-FFF2-40B4-BE49-F238E27FC236}">
                <a16:creationId xmlns:a16="http://schemas.microsoft.com/office/drawing/2014/main" id="{E05899F0-03F6-6B4C-BF0E-6A257DC766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196975"/>
            <a:ext cx="6883578" cy="1892826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Font typeface="+mj-lt"/>
              <a:buAutoNum type="arabicPeriod"/>
              <a:defRPr lang="ru-RU" sz="1600" b="0" kern="1200" spc="-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  <a:lvl2pPr marL="541338" indent="-182563">
              <a:spcBef>
                <a:spcPts val="300"/>
              </a:spcBef>
              <a:spcAft>
                <a:spcPts val="0"/>
              </a:spcAft>
              <a:defRPr/>
            </a:lvl2pPr>
            <a:lvl3pPr marL="715963" indent="-176213">
              <a:defRPr/>
            </a:lvl3pPr>
          </a:lstStyle>
          <a:p>
            <a:pPr lvl="0"/>
            <a:r>
              <a:rPr lang="ru-RU" dirty="0">
                <a:effectLst/>
              </a:rPr>
              <a:t>Глава 1</a:t>
            </a:r>
          </a:p>
          <a:p>
            <a:pPr lvl="1"/>
            <a:r>
              <a:rPr lang="ru-RU" dirty="0">
                <a:effectLst/>
              </a:rPr>
              <a:t>Раздел 1</a:t>
            </a:r>
          </a:p>
          <a:p>
            <a:pPr lvl="2"/>
            <a:r>
              <a:rPr lang="ru-RU" dirty="0">
                <a:effectLst/>
              </a:rPr>
              <a:t>Подраздел 1</a:t>
            </a:r>
          </a:p>
          <a:p>
            <a:pPr lvl="0"/>
            <a:r>
              <a:rPr lang="ru-RU" dirty="0">
                <a:effectLst/>
              </a:rPr>
              <a:t>Глава 2</a:t>
            </a:r>
          </a:p>
          <a:p>
            <a:pPr lvl="0"/>
            <a:r>
              <a:rPr lang="ru-RU" dirty="0">
                <a:effectLst/>
              </a:rPr>
              <a:t>Глава 3</a:t>
            </a:r>
          </a:p>
          <a:p>
            <a:pPr lvl="0"/>
            <a:r>
              <a:rPr lang="ru-RU" dirty="0">
                <a:effectLst/>
              </a:rPr>
              <a:t>Глава 4</a:t>
            </a:r>
            <a:endParaRPr lang="ru-RU" dirty="0"/>
          </a:p>
        </p:txBody>
      </p:sp>
      <p:sp>
        <p:nvSpPr>
          <p:cNvPr id="14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49263"/>
            <a:ext cx="6883578" cy="2769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defRPr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</p:spTree>
    <p:extLst>
      <p:ext uri="{BB962C8B-B14F-4D97-AF65-F5344CB8AC3E}">
        <p14:creationId xmlns:p14="http://schemas.microsoft.com/office/powerpoint/2010/main" val="1456731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2"/>
          <p:cNvSpPr/>
          <p:nvPr userDrawn="1"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6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9" name="Полилиния 8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1" name="Полилиния 10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4687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2"/>
          <p:cNvSpPr/>
          <p:nvPr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6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9" name="Полилиния 8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1" name="Полилиния 10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" name="Rectangle 12">
            <a:extLst>
              <a:ext uri="{FF2B5EF4-FFF2-40B4-BE49-F238E27FC236}">
                <a16:creationId xmlns:a16="http://schemas.microsoft.com/office/drawing/2014/main" id="{CD921349-4D02-9C71-CE93-1BA75EB7EB89}"/>
              </a:ext>
            </a:extLst>
          </p:cNvPr>
          <p:cNvSpPr/>
          <p:nvPr userDrawn="1"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84611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xhibi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16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Текст 38"/>
          <p:cNvSpPr>
            <a:spLocks noGrp="1"/>
          </p:cNvSpPr>
          <p:nvPr>
            <p:ph type="body" sz="quarter" idx="13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0" name="Текст 38"/>
          <p:cNvSpPr>
            <a:spLocks noGrp="1"/>
          </p:cNvSpPr>
          <p:nvPr>
            <p:ph type="body" sz="quarter" idx="14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4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7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51664"/>
            <a:ext cx="1130204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Полилиния 10">
            <a:extLst>
              <a:ext uri="{FF2B5EF4-FFF2-40B4-BE49-F238E27FC236}">
                <a16:creationId xmlns:a16="http://schemas.microsoft.com/office/drawing/2014/main" id="{426C0A8D-D200-9B5E-DE81-63CCB23992C3}"/>
              </a:ext>
            </a:extLst>
          </p:cNvPr>
          <p:cNvSpPr/>
          <p:nvPr/>
        </p:nvSpPr>
        <p:spPr>
          <a:xfrm>
            <a:off x="11643351" y="6519933"/>
            <a:ext cx="105738" cy="178925"/>
          </a:xfrm>
          <a:custGeom>
            <a:avLst/>
            <a:gdLst>
              <a:gd name="connsiteX0" fmla="*/ 851741 w 851740"/>
              <a:gd name="connsiteY0" fmla="*/ 0 h 1441279"/>
              <a:gd name="connsiteX1" fmla="*/ 161146 w 851740"/>
              <a:gd name="connsiteY1" fmla="*/ 1441280 h 1441279"/>
              <a:gd name="connsiteX2" fmla="*/ 0 w 851740"/>
              <a:gd name="connsiteY2" fmla="*/ 1441280 h 1441279"/>
              <a:gd name="connsiteX3" fmla="*/ 690595 w 851740"/>
              <a:gd name="connsiteY3" fmla="*/ 0 h 1441279"/>
              <a:gd name="connsiteX4" fmla="*/ 851741 w 851740"/>
              <a:gd name="connsiteY4" fmla="*/ 0 h 1441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740" h="1441279">
                <a:moveTo>
                  <a:pt x="851741" y="0"/>
                </a:moveTo>
                <a:lnTo>
                  <a:pt x="161146" y="1441280"/>
                </a:lnTo>
                <a:lnTo>
                  <a:pt x="0" y="1441280"/>
                </a:lnTo>
                <a:lnTo>
                  <a:pt x="690595" y="0"/>
                </a:lnTo>
                <a:lnTo>
                  <a:pt x="851741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0894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675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81840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/>
          <p:cNvSpPr/>
          <p:nvPr userDrawn="1"/>
        </p:nvSpPr>
        <p:spPr>
          <a:xfrm>
            <a:off x="6096001" y="0"/>
            <a:ext cx="60959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2" name="Группа 41"/>
          <p:cNvGrpSpPr/>
          <p:nvPr userDrawn="1"/>
        </p:nvGrpSpPr>
        <p:grpSpPr>
          <a:xfrm>
            <a:off x="443791" y="755941"/>
            <a:ext cx="2931869" cy="381832"/>
            <a:chOff x="443791" y="377997"/>
            <a:chExt cx="3999467" cy="520871"/>
          </a:xfrm>
        </p:grpSpPr>
        <p:sp>
          <p:nvSpPr>
            <p:cNvPr id="43" name="Прямоугольник 42"/>
            <p:cNvSpPr/>
            <p:nvPr userDrawn="1"/>
          </p:nvSpPr>
          <p:spPr>
            <a:xfrm>
              <a:off x="1492644" y="456285"/>
              <a:ext cx="2950614" cy="364276"/>
            </a:xfrm>
            <a:prstGeom prst="rect">
              <a:avLst/>
            </a:prstGeom>
            <a:noFill/>
            <a:ln w="0" cap="flat">
              <a:noFill/>
              <a:prstDash val="solid"/>
              <a:miter/>
            </a:ln>
          </p:spPr>
          <p:txBody>
            <a:bodyPr lIns="324000" tIns="0" rIns="72000" bIns="0" rtlCol="0" anchor="ctr"/>
            <a:lstStyle/>
            <a:p>
              <a:pPr lvl="0" algn="l"/>
              <a:r>
                <a:rPr lang="ru-RU" sz="1400" dirty="0">
                  <a:solidFill>
                    <a:schemeClr val="tx1"/>
                  </a:solidFill>
                  <a:sym typeface="Verdana" panose="020B0604030504040204" pitchFamily="34" charset="0"/>
                </a:rPr>
                <a:t>Решения,</a:t>
              </a:r>
              <a:r>
                <a:rPr lang="ru-RU" sz="1400" baseline="0" dirty="0">
                  <a:solidFill>
                    <a:schemeClr val="tx1"/>
                  </a:solidFill>
                  <a:sym typeface="Verdana" panose="020B0604030504040204" pitchFamily="34" charset="0"/>
                </a:rPr>
                <a:t> </a:t>
              </a:r>
              <a:br>
                <a:rPr lang="ru-RU" sz="1400" baseline="0" dirty="0">
                  <a:solidFill>
                    <a:schemeClr val="tx1"/>
                  </a:solidFill>
                  <a:sym typeface="Verdana" panose="020B0604030504040204" pitchFamily="34" charset="0"/>
                </a:rPr>
              </a:br>
              <a:r>
                <a:rPr lang="ru-RU" sz="1400" baseline="0" dirty="0">
                  <a:solidFill>
                    <a:schemeClr val="tx1"/>
                  </a:solidFill>
                  <a:sym typeface="Verdana" panose="020B0604030504040204" pitchFamily="34" charset="0"/>
                </a:rPr>
                <a:t>которые работают</a:t>
              </a:r>
              <a:endParaRPr lang="ru-RU" sz="1400" dirty="0">
                <a:solidFill>
                  <a:schemeClr val="tx1"/>
                </a:solidFill>
                <a:sym typeface="Verdana" panose="020B0604030504040204" pitchFamily="34" charset="0"/>
              </a:endParaRPr>
            </a:p>
          </p:txBody>
        </p:sp>
        <p:grpSp>
          <p:nvGrpSpPr>
            <p:cNvPr id="44" name="Группа 43"/>
            <p:cNvGrpSpPr/>
            <p:nvPr userDrawn="1"/>
          </p:nvGrpSpPr>
          <p:grpSpPr>
            <a:xfrm>
              <a:off x="443791" y="377997"/>
              <a:ext cx="1197973" cy="520871"/>
              <a:chOff x="6626594" y="3238091"/>
              <a:chExt cx="3421274" cy="1487547"/>
            </a:xfrm>
          </p:grpSpPr>
          <p:grpSp>
            <p:nvGrpSpPr>
              <p:cNvPr id="45" name="Рисунок 48">
                <a:extLst>
                  <a:ext uri="{FF2B5EF4-FFF2-40B4-BE49-F238E27FC236}">
                    <a16:creationId xmlns:a16="http://schemas.microsoft.com/office/drawing/2014/main" id="{2253F4C3-1E1A-715B-101F-E0672B990835}"/>
                  </a:ext>
                </a:extLst>
              </p:cNvPr>
              <p:cNvGrpSpPr/>
              <p:nvPr/>
            </p:nvGrpSpPr>
            <p:grpSpPr>
              <a:xfrm>
                <a:off x="6626594" y="3238091"/>
                <a:ext cx="2540911" cy="1487547"/>
                <a:chOff x="6626594" y="3238091"/>
                <a:chExt cx="2540911" cy="1487547"/>
              </a:xfrm>
              <a:solidFill>
                <a:srgbClr val="171523"/>
              </a:solidFill>
            </p:grpSpPr>
            <p:sp>
              <p:nvSpPr>
                <p:cNvPr id="47" name="Полилиния 46">
                  <a:extLst>
                    <a:ext uri="{FF2B5EF4-FFF2-40B4-BE49-F238E27FC236}">
                      <a16:creationId xmlns:a16="http://schemas.microsoft.com/office/drawing/2014/main" id="{5C296971-CF47-8409-873C-77EAFBE6DEC3}"/>
                    </a:ext>
                  </a:extLst>
                </p:cNvPr>
                <p:cNvSpPr/>
                <p:nvPr/>
              </p:nvSpPr>
              <p:spPr>
                <a:xfrm>
                  <a:off x="8023634" y="3261224"/>
                  <a:ext cx="1143871" cy="1441226"/>
                </a:xfrm>
                <a:custGeom>
                  <a:avLst/>
                  <a:gdLst>
                    <a:gd name="connsiteX0" fmla="*/ 690277 w 1143870"/>
                    <a:gd name="connsiteY0" fmla="*/ 0 h 1441226"/>
                    <a:gd name="connsiteX1" fmla="*/ 0 w 1143870"/>
                    <a:gd name="connsiteY1" fmla="*/ 0 h 1441226"/>
                    <a:gd name="connsiteX2" fmla="*/ 0 w 1143870"/>
                    <a:gd name="connsiteY2" fmla="*/ 1441227 h 1441226"/>
                    <a:gd name="connsiteX3" fmla="*/ 160722 w 1143870"/>
                    <a:gd name="connsiteY3" fmla="*/ 1441227 h 1441226"/>
                    <a:gd name="connsiteX4" fmla="*/ 160722 w 1143870"/>
                    <a:gd name="connsiteY4" fmla="*/ 844461 h 1441226"/>
                    <a:gd name="connsiteX5" fmla="*/ 690330 w 1143870"/>
                    <a:gd name="connsiteY5" fmla="*/ 844461 h 1441226"/>
                    <a:gd name="connsiteX6" fmla="*/ 1143871 w 1143870"/>
                    <a:gd name="connsiteY6" fmla="*/ 421119 h 1441226"/>
                    <a:gd name="connsiteX7" fmla="*/ 690277 w 1143870"/>
                    <a:gd name="connsiteY7" fmla="*/ 0 h 1441226"/>
                    <a:gd name="connsiteX8" fmla="*/ 690277 w 1143870"/>
                    <a:gd name="connsiteY8" fmla="*/ 695336 h 1441226"/>
                    <a:gd name="connsiteX9" fmla="*/ 160669 w 1143870"/>
                    <a:gd name="connsiteY9" fmla="*/ 695336 h 1441226"/>
                    <a:gd name="connsiteX10" fmla="*/ 160669 w 1143870"/>
                    <a:gd name="connsiteY10" fmla="*/ 149178 h 1441226"/>
                    <a:gd name="connsiteX11" fmla="*/ 690277 w 1143870"/>
                    <a:gd name="connsiteY11" fmla="*/ 149178 h 1441226"/>
                    <a:gd name="connsiteX12" fmla="*/ 979862 w 1143870"/>
                    <a:gd name="connsiteY12" fmla="*/ 421172 h 1441226"/>
                    <a:gd name="connsiteX13" fmla="*/ 690277 w 1143870"/>
                    <a:gd name="connsiteY13" fmla="*/ 695283 h 1441226"/>
                    <a:gd name="connsiteX14" fmla="*/ 690277 w 1143870"/>
                    <a:gd name="connsiteY14" fmla="*/ 695283 h 1441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143870" h="1441226">
                      <a:moveTo>
                        <a:pt x="690277" y="0"/>
                      </a:moveTo>
                      <a:lnTo>
                        <a:pt x="0" y="0"/>
                      </a:lnTo>
                      <a:lnTo>
                        <a:pt x="0" y="1441227"/>
                      </a:lnTo>
                      <a:lnTo>
                        <a:pt x="160722" y="1441227"/>
                      </a:lnTo>
                      <a:lnTo>
                        <a:pt x="160722" y="844461"/>
                      </a:lnTo>
                      <a:lnTo>
                        <a:pt x="690330" y="844461"/>
                      </a:lnTo>
                      <a:cubicBezTo>
                        <a:pt x="982619" y="844461"/>
                        <a:pt x="1143871" y="694224"/>
                        <a:pt x="1143871" y="421119"/>
                      </a:cubicBezTo>
                      <a:cubicBezTo>
                        <a:pt x="1143871" y="148014"/>
                        <a:pt x="982619" y="0"/>
                        <a:pt x="690277" y="0"/>
                      </a:cubicBezTo>
                      <a:close/>
                      <a:moveTo>
                        <a:pt x="690277" y="695336"/>
                      </a:moveTo>
                      <a:lnTo>
                        <a:pt x="160669" y="695336"/>
                      </a:lnTo>
                      <a:lnTo>
                        <a:pt x="160669" y="149178"/>
                      </a:lnTo>
                      <a:lnTo>
                        <a:pt x="690277" y="149178"/>
                      </a:lnTo>
                      <a:cubicBezTo>
                        <a:pt x="893034" y="149178"/>
                        <a:pt x="979862" y="230490"/>
                        <a:pt x="979862" y="421172"/>
                      </a:cubicBezTo>
                      <a:cubicBezTo>
                        <a:pt x="979862" y="611853"/>
                        <a:pt x="893034" y="695283"/>
                        <a:pt x="690277" y="695283"/>
                      </a:cubicBezTo>
                      <a:lnTo>
                        <a:pt x="690277" y="695283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200"/>
                </a:p>
              </p:txBody>
            </p:sp>
            <p:sp>
              <p:nvSpPr>
                <p:cNvPr id="48" name="Полилиния 47">
                  <a:extLst>
                    <a:ext uri="{FF2B5EF4-FFF2-40B4-BE49-F238E27FC236}">
                      <a16:creationId xmlns:a16="http://schemas.microsoft.com/office/drawing/2014/main" id="{C1DD0239-D639-A576-9D72-0715C6869096}"/>
                    </a:ext>
                  </a:extLst>
                </p:cNvPr>
                <p:cNvSpPr/>
                <p:nvPr/>
              </p:nvSpPr>
              <p:spPr>
                <a:xfrm>
                  <a:off x="6626594" y="3238091"/>
                  <a:ext cx="1192373" cy="1487547"/>
                </a:xfrm>
                <a:custGeom>
                  <a:avLst/>
                  <a:gdLst>
                    <a:gd name="connsiteX0" fmla="*/ 1192373 w 1192373"/>
                    <a:gd name="connsiteY0" fmla="*/ 1053988 h 1487547"/>
                    <a:gd name="connsiteX1" fmla="*/ 605092 w 1192373"/>
                    <a:gd name="connsiteY1" fmla="*/ 1487547 h 1487547"/>
                    <a:gd name="connsiteX2" fmla="*/ 0 w 1192373"/>
                    <a:gd name="connsiteY2" fmla="*/ 1034084 h 1487547"/>
                    <a:gd name="connsiteX3" fmla="*/ 0 w 1192373"/>
                    <a:gd name="connsiteY3" fmla="*/ 997980 h 1487547"/>
                    <a:gd name="connsiteX4" fmla="*/ 160722 w 1192373"/>
                    <a:gd name="connsiteY4" fmla="*/ 997980 h 1487547"/>
                    <a:gd name="connsiteX5" fmla="*/ 160722 w 1192373"/>
                    <a:gd name="connsiteY5" fmla="*/ 1034084 h 1487547"/>
                    <a:gd name="connsiteX6" fmla="*/ 605092 w 1192373"/>
                    <a:gd name="connsiteY6" fmla="*/ 1338898 h 1487547"/>
                    <a:gd name="connsiteX7" fmla="*/ 1035468 w 1192373"/>
                    <a:gd name="connsiteY7" fmla="*/ 1053988 h 1487547"/>
                    <a:gd name="connsiteX8" fmla="*/ 803556 w 1192373"/>
                    <a:gd name="connsiteY8" fmla="*/ 796023 h 1487547"/>
                    <a:gd name="connsiteX9" fmla="*/ 379647 w 1192373"/>
                    <a:gd name="connsiteY9" fmla="*/ 786865 h 1487547"/>
                    <a:gd name="connsiteX10" fmla="*/ 14524 w 1192373"/>
                    <a:gd name="connsiteY10" fmla="*/ 415772 h 1487547"/>
                    <a:gd name="connsiteX11" fmla="*/ 605092 w 1192373"/>
                    <a:gd name="connsiteY11" fmla="*/ 0 h 1487547"/>
                    <a:gd name="connsiteX12" fmla="*/ 1174032 w 1192373"/>
                    <a:gd name="connsiteY12" fmla="*/ 430859 h 1487547"/>
                    <a:gd name="connsiteX13" fmla="*/ 1174563 w 1192373"/>
                    <a:gd name="connsiteY13" fmla="*/ 444888 h 1487547"/>
                    <a:gd name="connsiteX14" fmla="*/ 1013841 w 1192373"/>
                    <a:gd name="connsiteY14" fmla="*/ 444888 h 1487547"/>
                    <a:gd name="connsiteX15" fmla="*/ 1013311 w 1192373"/>
                    <a:gd name="connsiteY15" fmla="*/ 431971 h 1487547"/>
                    <a:gd name="connsiteX16" fmla="*/ 605039 w 1192373"/>
                    <a:gd name="connsiteY16" fmla="*/ 148702 h 1487547"/>
                    <a:gd name="connsiteX17" fmla="*/ 170899 w 1192373"/>
                    <a:gd name="connsiteY17" fmla="*/ 415825 h 1487547"/>
                    <a:gd name="connsiteX18" fmla="*/ 381767 w 1192373"/>
                    <a:gd name="connsiteY18" fmla="*/ 626940 h 1487547"/>
                    <a:gd name="connsiteX19" fmla="*/ 805676 w 1192373"/>
                    <a:gd name="connsiteY19" fmla="*/ 636098 h 1487547"/>
                    <a:gd name="connsiteX20" fmla="*/ 1192373 w 1192373"/>
                    <a:gd name="connsiteY20" fmla="*/ 1054041 h 1487547"/>
                    <a:gd name="connsiteX21" fmla="*/ 1192373 w 1192373"/>
                    <a:gd name="connsiteY21" fmla="*/ 1054041 h 1487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192373" h="1487547">
                      <a:moveTo>
                        <a:pt x="1192373" y="1053988"/>
                      </a:moveTo>
                      <a:cubicBezTo>
                        <a:pt x="1192373" y="1345886"/>
                        <a:pt x="1000377" y="1487547"/>
                        <a:pt x="605092" y="1487547"/>
                      </a:cubicBezTo>
                      <a:cubicBezTo>
                        <a:pt x="181183" y="1487547"/>
                        <a:pt x="0" y="1352345"/>
                        <a:pt x="0" y="1034084"/>
                      </a:cubicBezTo>
                      <a:lnTo>
                        <a:pt x="0" y="997980"/>
                      </a:lnTo>
                      <a:lnTo>
                        <a:pt x="160722" y="997980"/>
                      </a:lnTo>
                      <a:lnTo>
                        <a:pt x="160722" y="1034084"/>
                      </a:lnTo>
                      <a:cubicBezTo>
                        <a:pt x="160722" y="1267803"/>
                        <a:pt x="264831" y="1338898"/>
                        <a:pt x="605092" y="1338898"/>
                      </a:cubicBezTo>
                      <a:cubicBezTo>
                        <a:pt x="983149" y="1338898"/>
                        <a:pt x="1035468" y="1202108"/>
                        <a:pt x="1035468" y="1053988"/>
                      </a:cubicBezTo>
                      <a:cubicBezTo>
                        <a:pt x="1035468" y="874106"/>
                        <a:pt x="968041" y="799252"/>
                        <a:pt x="803556" y="796023"/>
                      </a:cubicBezTo>
                      <a:lnTo>
                        <a:pt x="379647" y="786865"/>
                      </a:lnTo>
                      <a:cubicBezTo>
                        <a:pt x="133740" y="780936"/>
                        <a:pt x="14524" y="659762"/>
                        <a:pt x="14524" y="415772"/>
                      </a:cubicBezTo>
                      <a:cubicBezTo>
                        <a:pt x="14577" y="124403"/>
                        <a:pt x="191467" y="0"/>
                        <a:pt x="605092" y="0"/>
                      </a:cubicBezTo>
                      <a:cubicBezTo>
                        <a:pt x="970215" y="0"/>
                        <a:pt x="1161628" y="145420"/>
                        <a:pt x="1174032" y="430859"/>
                      </a:cubicBezTo>
                      <a:lnTo>
                        <a:pt x="1174563" y="444888"/>
                      </a:lnTo>
                      <a:lnTo>
                        <a:pt x="1013841" y="444888"/>
                      </a:lnTo>
                      <a:lnTo>
                        <a:pt x="1013311" y="431971"/>
                      </a:lnTo>
                      <a:cubicBezTo>
                        <a:pt x="1003610" y="197140"/>
                        <a:pt x="842888" y="148702"/>
                        <a:pt x="605039" y="148702"/>
                      </a:cubicBezTo>
                      <a:cubicBezTo>
                        <a:pt x="238326" y="148702"/>
                        <a:pt x="170899" y="238643"/>
                        <a:pt x="170899" y="415825"/>
                      </a:cubicBezTo>
                      <a:cubicBezTo>
                        <a:pt x="170899" y="593007"/>
                        <a:pt x="232919" y="623711"/>
                        <a:pt x="381767" y="626940"/>
                      </a:cubicBezTo>
                      <a:lnTo>
                        <a:pt x="805676" y="636098"/>
                      </a:lnTo>
                      <a:cubicBezTo>
                        <a:pt x="1058633" y="641498"/>
                        <a:pt x="1192373" y="785806"/>
                        <a:pt x="1192373" y="1054041"/>
                      </a:cubicBezTo>
                      <a:lnTo>
                        <a:pt x="1192373" y="1054041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200"/>
                </a:p>
              </p:txBody>
            </p:sp>
          </p:grpSp>
          <p:sp>
            <p:nvSpPr>
              <p:cNvPr id="46" name="Полилиния 45">
                <a:extLst>
                  <a:ext uri="{FF2B5EF4-FFF2-40B4-BE49-F238E27FC236}">
                    <a16:creationId xmlns:a16="http://schemas.microsoft.com/office/drawing/2014/main" id="{426C0A8D-D200-9B5E-DE81-63CCB23992C3}"/>
                  </a:ext>
                </a:extLst>
              </p:cNvPr>
              <p:cNvSpPr/>
              <p:nvPr/>
            </p:nvSpPr>
            <p:spPr>
              <a:xfrm>
                <a:off x="9196128" y="3261224"/>
                <a:ext cx="851740" cy="1441279"/>
              </a:xfrm>
              <a:custGeom>
                <a:avLst/>
                <a:gdLst>
                  <a:gd name="connsiteX0" fmla="*/ 851741 w 851740"/>
                  <a:gd name="connsiteY0" fmla="*/ 0 h 1441279"/>
                  <a:gd name="connsiteX1" fmla="*/ 161146 w 851740"/>
                  <a:gd name="connsiteY1" fmla="*/ 1441280 h 1441279"/>
                  <a:gd name="connsiteX2" fmla="*/ 0 w 851740"/>
                  <a:gd name="connsiteY2" fmla="*/ 1441280 h 1441279"/>
                  <a:gd name="connsiteX3" fmla="*/ 690595 w 851740"/>
                  <a:gd name="connsiteY3" fmla="*/ 0 h 1441279"/>
                  <a:gd name="connsiteX4" fmla="*/ 851741 w 851740"/>
                  <a:gd name="connsiteY4" fmla="*/ 0 h 1441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1740" h="1441279">
                    <a:moveTo>
                      <a:pt x="851741" y="0"/>
                    </a:moveTo>
                    <a:lnTo>
                      <a:pt x="161146" y="1441280"/>
                    </a:lnTo>
                    <a:lnTo>
                      <a:pt x="0" y="1441280"/>
                    </a:lnTo>
                    <a:lnTo>
                      <a:pt x="690595" y="0"/>
                    </a:lnTo>
                    <a:lnTo>
                      <a:pt x="851741" y="0"/>
                    </a:lnTo>
                    <a:close/>
                  </a:path>
                </a:pathLst>
              </a:custGeom>
              <a:gradFill>
                <a:gsLst>
                  <a:gs pos="0">
                    <a:srgbClr val="2EEAEF"/>
                  </a:gs>
                  <a:gs pos="20000">
                    <a:srgbClr val="2EE5EE"/>
                  </a:gs>
                  <a:gs pos="41000">
                    <a:srgbClr val="2ED9EE"/>
                  </a:gs>
                  <a:gs pos="62000">
                    <a:srgbClr val="2EC4EE"/>
                  </a:gs>
                  <a:gs pos="83000">
                    <a:srgbClr val="2EA7ED"/>
                  </a:gs>
                  <a:gs pos="100000">
                    <a:srgbClr val="2F8AED"/>
                  </a:gs>
                </a:gsLst>
                <a:lin ang="6907745" scaled="1"/>
              </a:gra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200"/>
              </a:p>
            </p:txBody>
          </p:sp>
        </p:grp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AAA6D197-F4AC-06D4-CE4C-CBE3CC719934}"/>
              </a:ext>
            </a:extLst>
          </p:cNvPr>
          <p:cNvSpPr txBox="1"/>
          <p:nvPr userDrawn="1"/>
        </p:nvSpPr>
        <p:spPr>
          <a:xfrm>
            <a:off x="435293" y="1435282"/>
            <a:ext cx="6096000" cy="4924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lIns="0" tIns="0" rIns="0" bIns="0">
            <a:noAutofit/>
          </a:bodyPr>
          <a:lstStyle/>
          <a:p>
            <a:pPr marL="0" indent="0"/>
            <a:r>
              <a:rPr lang="ru-RU" sz="2000" b="0" dirty="0">
                <a:latin typeface="Verdana" panose="020B0604030504040204" pitchFamily="34" charset="0"/>
                <a:ea typeface="Verdana" panose="020B0604030504040204" pitchFamily="34" charset="0"/>
                <a:cs typeface="SB Sans Text Semibold" panose="020B0503040504020204" pitchFamily="34" charset="0"/>
                <a:sym typeface="Verdana" panose="020B0604030504040204" pitchFamily="34" charset="0"/>
              </a:rPr>
              <a:t>Контакты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FF0108C-AE80-3B86-86DE-9BDF363621CC}"/>
              </a:ext>
            </a:extLst>
          </p:cNvPr>
          <p:cNvSpPr txBox="1"/>
          <p:nvPr userDrawn="1"/>
        </p:nvSpPr>
        <p:spPr bwMode="auto">
          <a:xfrm>
            <a:off x="6461125" y="5295656"/>
            <a:ext cx="5287963" cy="96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lnSpc>
                <a:spcPct val="150000"/>
              </a:lnSpc>
            </a:pPr>
            <a:r>
              <a:rPr lang="ru-RU" sz="1400" b="0" kern="1200" dirty="0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121099, г. Москва, ул. Композиторская, д. 17</a:t>
            </a:r>
          </a:p>
          <a:p>
            <a:pPr marL="0" indent="0" defTabSz="610845">
              <a:lnSpc>
                <a:spcPct val="150000"/>
              </a:lnSpc>
              <a:defRPr/>
            </a:pPr>
            <a:r>
              <a:rPr lang="en-US" sz="1400" b="0" kern="1200" dirty="0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+7 (495) 730-77-47</a:t>
            </a:r>
            <a:endParaRPr lang="ru-RU" sz="1400" b="0" kern="1200" dirty="0"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SB Sans Text" panose="020B0503040504020204" pitchFamily="34" charset="0"/>
              <a:sym typeface="Verdana" panose="020B0604030504040204" pitchFamily="34" charset="0"/>
            </a:endParaRPr>
          </a:p>
          <a:p>
            <a:pPr marL="0" indent="0" defTabSz="610845">
              <a:lnSpc>
                <a:spcPct val="150000"/>
              </a:lnSpc>
              <a:defRPr/>
            </a:pPr>
            <a:r>
              <a:rPr lang="en-US" sz="1400" b="0" kern="1200" dirty="0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inbox@strategy.ru</a:t>
            </a:r>
            <a:endParaRPr lang="ru-RU" sz="1400" b="0" kern="1200" dirty="0"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SB Sans Text" panose="020B050304050402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5912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13">
          <p15:clr>
            <a:srgbClr val="FBAE40"/>
          </p15:clr>
        </p15:guide>
        <p15:guide id="3" pos="407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Текст 38"/>
          <p:cNvSpPr>
            <a:spLocks noGrp="1"/>
          </p:cNvSpPr>
          <p:nvPr>
            <p:ph type="body" sz="quarter" idx="13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0" name="Текст 38"/>
          <p:cNvSpPr>
            <a:spLocks noGrp="1"/>
          </p:cNvSpPr>
          <p:nvPr>
            <p:ph type="body" sz="quarter" idx="14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4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7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51664"/>
            <a:ext cx="1130204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14809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splay_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951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B18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Rectangle 12"/>
          <p:cNvSpPr/>
          <p:nvPr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11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13" name="Полилиния 12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5" name="Полилиния 14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3" name="Текст 29">
            <a:extLst>
              <a:ext uri="{FF2B5EF4-FFF2-40B4-BE49-F238E27FC236}">
                <a16:creationId xmlns:a16="http://schemas.microsoft.com/office/drawing/2014/main" id="{EE690C47-56ED-3FB7-9343-A991828FBF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5359400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4" name="Заголовок 15">
            <a:extLst>
              <a:ext uri="{FF2B5EF4-FFF2-40B4-BE49-F238E27FC236}">
                <a16:creationId xmlns:a16="http://schemas.microsoft.com/office/drawing/2014/main" id="{47AE96F0-9C99-7BFF-F30E-12B86640E9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49263"/>
            <a:ext cx="5359400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5" name="Текст 38">
            <a:extLst>
              <a:ext uri="{FF2B5EF4-FFF2-40B4-BE49-F238E27FC236}">
                <a16:creationId xmlns:a16="http://schemas.microsoft.com/office/drawing/2014/main" id="{C05FCE31-6AC4-695F-B141-907B77EC51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6273800"/>
            <a:ext cx="5365831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6" name="Текст 38">
            <a:extLst>
              <a:ext uri="{FF2B5EF4-FFF2-40B4-BE49-F238E27FC236}">
                <a16:creationId xmlns:a16="http://schemas.microsoft.com/office/drawing/2014/main" id="{93C07107-D7F2-0125-689C-2E3284E8B7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6522684"/>
            <a:ext cx="5365831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</p:spTree>
    <p:extLst>
      <p:ext uri="{BB962C8B-B14F-4D97-AF65-F5344CB8AC3E}">
        <p14:creationId xmlns:p14="http://schemas.microsoft.com/office/powerpoint/2010/main" val="597573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24">
          <p15:clr>
            <a:srgbClr val="FBAE40"/>
          </p15:clr>
        </p15:guide>
        <p15:guide id="2" pos="365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photo">
    <p:bg>
      <p:bgPr>
        <a:solidFill>
          <a:srgbClr val="0B18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5367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Группа 2"/>
          <p:cNvGrpSpPr/>
          <p:nvPr/>
        </p:nvGrpSpPr>
        <p:grpSpPr>
          <a:xfrm>
            <a:off x="442913" y="1269752"/>
            <a:ext cx="2778486" cy="351556"/>
            <a:chOff x="442913" y="1097782"/>
            <a:chExt cx="2778486" cy="351556"/>
          </a:xfrm>
        </p:grpSpPr>
        <p:sp>
          <p:nvSpPr>
            <p:cNvPr id="244" name="Полилиния 243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2463670" y="1143117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5" name="Полилиния 244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2968372" y="1192746"/>
              <a:ext cx="104856" cy="165742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6" name="Полилиния 245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2768978" y="1188178"/>
              <a:ext cx="161005" cy="174813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7" name="Полилиния 246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3089154" y="1188887"/>
              <a:ext cx="132245" cy="17383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8" name="Полилиния 247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2589550" y="1188215"/>
              <a:ext cx="143546" cy="170273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1927238" y="1100289"/>
              <a:ext cx="204595" cy="258162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0" name="Полилиния 249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2129327" y="1188178"/>
              <a:ext cx="160712" cy="174813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1" name="Полилиния 250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2334896" y="1192746"/>
              <a:ext cx="104855" cy="165742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2" name="Полилиния 251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1137750" y="1143769"/>
              <a:ext cx="92646" cy="215334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3" name="Полилиния 252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442913" y="1097782"/>
              <a:ext cx="213286" cy="266466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694597" y="1143769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5" name="Полилиния 254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1247816" y="1188859"/>
              <a:ext cx="160901" cy="174813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6" name="Полилиния 255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932474" y="1188859"/>
              <a:ext cx="160324" cy="174813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7" name="Полилиния 256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820477" y="1193389"/>
              <a:ext cx="104856" cy="165742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8" name="Полилиния 257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1439777" y="1188859"/>
              <a:ext cx="160419" cy="260385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1643426" y="1193389"/>
              <a:ext cx="151207" cy="255949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60" name="Полилиния 259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1615829" y="1193389"/>
              <a:ext cx="75026" cy="126773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6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42913" y="2479066"/>
            <a:ext cx="5421906" cy="1077218"/>
          </a:xfrm>
          <a:prstGeom prst="rect">
            <a:avLst/>
          </a:prstGeom>
        </p:spPr>
        <p:txBody>
          <a:bodyPr vert="horz" wrap="square" lIns="0" tIns="45720" rIns="91440" bIns="45720" rtlCol="0" anchor="ctr">
            <a:spAutoFit/>
          </a:bodyPr>
          <a:lstStyle>
            <a:lvl1pPr>
              <a:lnSpc>
                <a:spcPct val="100000"/>
              </a:lnSpc>
              <a:defRPr sz="3200" b="1" baseline="0"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ашей</a:t>
            </a:r>
            <a:r>
              <a:rPr lang="en-US" dirty="0"/>
              <a:t> </a:t>
            </a:r>
            <a:r>
              <a:rPr lang="ru-RU" dirty="0"/>
              <a:t>презентации</a:t>
            </a:r>
          </a:p>
        </p:txBody>
      </p:sp>
      <p:sp>
        <p:nvSpPr>
          <p:cNvPr id="262" name="Текст 2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4394178"/>
            <a:ext cx="5421906" cy="27699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63" name="Текст 24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5949091"/>
            <a:ext cx="5421906" cy="215444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28" name="object 3"/>
          <p:cNvSpPr/>
          <p:nvPr/>
        </p:nvSpPr>
        <p:spPr>
          <a:xfrm>
            <a:off x="6101202" y="738692"/>
            <a:ext cx="6090798" cy="5427158"/>
          </a:xfrm>
          <a:custGeom>
            <a:avLst/>
            <a:gdLst/>
            <a:ahLst/>
            <a:cxnLst/>
            <a:rect l="l" t="t" r="r" b="b"/>
            <a:pathLst>
              <a:path w="6510655" h="5346065">
                <a:moveTo>
                  <a:pt x="6510058" y="0"/>
                </a:moveTo>
                <a:lnTo>
                  <a:pt x="0" y="0"/>
                </a:lnTo>
                <a:lnTo>
                  <a:pt x="0" y="5346001"/>
                </a:lnTo>
                <a:lnTo>
                  <a:pt x="6510058" y="5346001"/>
                </a:lnTo>
                <a:lnTo>
                  <a:pt x="651005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rgbClr val="2F8AED"/>
              </a:gs>
            </a:gsLst>
            <a:lin ang="0" scaled="1"/>
            <a:tileRect/>
          </a:gradFill>
        </p:spPr>
        <p:txBody>
          <a:bodyPr wrap="square" lIns="0" tIns="0" rIns="0" bIns="0" rtlCol="0"/>
          <a:lstStyle/>
          <a:p>
            <a:endParaRPr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9" name="Рисунок 22"/>
          <p:cNvSpPr>
            <a:spLocks noGrp="1"/>
          </p:cNvSpPr>
          <p:nvPr>
            <p:ph type="pic" sz="quarter" idx="12" hasCustomPrompt="1"/>
          </p:nvPr>
        </p:nvSpPr>
        <p:spPr>
          <a:xfrm>
            <a:off x="6340722" y="0"/>
            <a:ext cx="5851278" cy="59537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1709918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shape">
    <p:bg>
      <p:bgPr>
        <a:solidFill>
          <a:srgbClr val="0B18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092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0"/>
            <a:ext cx="8843643" cy="6833725"/>
          </a:xfrm>
          <a:prstGeom prst="rect">
            <a:avLst/>
          </a:prstGeom>
        </p:spPr>
      </p:pic>
      <p:grpSp>
        <p:nvGrpSpPr>
          <p:cNvPr id="3" name="Группа 2"/>
          <p:cNvGrpSpPr/>
          <p:nvPr/>
        </p:nvGrpSpPr>
        <p:grpSpPr>
          <a:xfrm>
            <a:off x="442913" y="1269752"/>
            <a:ext cx="2778486" cy="351556"/>
            <a:chOff x="442913" y="1097782"/>
            <a:chExt cx="2778486" cy="351556"/>
          </a:xfrm>
        </p:grpSpPr>
        <p:sp>
          <p:nvSpPr>
            <p:cNvPr id="244" name="Полилиния 243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2463670" y="1143117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5" name="Полилиния 244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2968372" y="1192746"/>
              <a:ext cx="104856" cy="165742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6" name="Полилиния 245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2768978" y="1188178"/>
              <a:ext cx="161005" cy="174813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7" name="Полилиния 246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3089154" y="1188887"/>
              <a:ext cx="132245" cy="17383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8" name="Полилиния 247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2589550" y="1188215"/>
              <a:ext cx="143546" cy="170273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1927238" y="1100289"/>
              <a:ext cx="204595" cy="258162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0" name="Полилиния 249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2129327" y="1188178"/>
              <a:ext cx="160712" cy="174813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1" name="Полилиния 250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2334896" y="1192746"/>
              <a:ext cx="104855" cy="165742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2" name="Полилиния 251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1137750" y="1143769"/>
              <a:ext cx="92646" cy="215334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3" name="Полилиния 252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442913" y="1097782"/>
              <a:ext cx="213286" cy="266466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694597" y="1143769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5" name="Полилиния 254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1247816" y="1188859"/>
              <a:ext cx="160901" cy="174813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6" name="Полилиния 255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932474" y="1188859"/>
              <a:ext cx="160324" cy="174813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7" name="Полилиния 256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820477" y="1193389"/>
              <a:ext cx="104856" cy="165742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8" name="Полилиния 257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1439777" y="1188859"/>
              <a:ext cx="160419" cy="260385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1643426" y="1193389"/>
              <a:ext cx="151207" cy="255949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60" name="Полилиния 259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1615829" y="1193389"/>
              <a:ext cx="75026" cy="126773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6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42913" y="2479066"/>
            <a:ext cx="5421906" cy="1077218"/>
          </a:xfrm>
          <a:prstGeom prst="rect">
            <a:avLst/>
          </a:prstGeom>
        </p:spPr>
        <p:txBody>
          <a:bodyPr vert="horz" wrap="square" lIns="0" tIns="45720" rIns="91440" bIns="45720" rtlCol="0" anchor="ctr">
            <a:spAutoFit/>
          </a:bodyPr>
          <a:lstStyle>
            <a:lvl1pPr>
              <a:lnSpc>
                <a:spcPct val="100000"/>
              </a:lnSpc>
              <a:defRPr sz="3200" b="1" baseline="0"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ашей</a:t>
            </a:r>
            <a:r>
              <a:rPr lang="en-US" dirty="0"/>
              <a:t> </a:t>
            </a:r>
            <a:r>
              <a:rPr lang="ru-RU" dirty="0"/>
              <a:t>презентации</a:t>
            </a:r>
          </a:p>
        </p:txBody>
      </p:sp>
      <p:sp>
        <p:nvSpPr>
          <p:cNvPr id="262" name="Текст 2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4394178"/>
            <a:ext cx="5421906" cy="27699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63" name="Текст 24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5949091"/>
            <a:ext cx="5421906" cy="215444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3857065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2"/>
          <p:cNvSpPr/>
          <p:nvPr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11324361" y="6517061"/>
            <a:ext cx="424728" cy="184669"/>
            <a:chOff x="6626594" y="3238091"/>
            <a:chExt cx="3421274" cy="1487547"/>
          </a:xfrm>
        </p:grpSpPr>
        <p:grpSp>
          <p:nvGrpSpPr>
            <p:cNvPr id="5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6626594" y="3238091"/>
              <a:ext cx="2540911" cy="1487547"/>
              <a:chOff x="6626594" y="3238091"/>
              <a:chExt cx="2540911" cy="1487547"/>
            </a:xfrm>
            <a:solidFill>
              <a:srgbClr val="171523"/>
            </a:solidFill>
          </p:grpSpPr>
          <p:sp>
            <p:nvSpPr>
              <p:cNvPr id="7" name="Полилиния 6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9" name="Полилиния 8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9196128" y="3261224"/>
              <a:ext cx="851740" cy="1441279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6870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6028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Текст 38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0" name="Текст 38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4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7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49263"/>
            <a:ext cx="1130204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52214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068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2083509"/>
            <a:ext cx="5668327" cy="848300"/>
          </a:xfrm>
          <a:prstGeom prst="rect">
            <a:avLst/>
          </a:prstGeom>
        </p:spPr>
        <p:txBody>
          <a:bodyPr vert="horz" wrap="square" lIns="36000" tIns="36000" rIns="36000" bIns="36000" anchor="t" anchorCtr="0">
            <a:spAutoFit/>
          </a:bodyPr>
          <a:lstStyle>
            <a:lvl1pPr>
              <a:defRPr sz="2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Слайд</a:t>
            </a:r>
            <a:br>
              <a:rPr lang="ru-RU" dirty="0"/>
            </a:br>
            <a:r>
              <a:rPr lang="ru-RU" dirty="0"/>
              <a:t>разделитель</a:t>
            </a:r>
          </a:p>
        </p:txBody>
      </p:sp>
      <p:sp>
        <p:nvSpPr>
          <p:cNvPr id="13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243629"/>
            <a:ext cx="3245168" cy="176971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15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572546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8425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1" y="449263"/>
            <a:ext cx="11306175" cy="2769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>
              <a:defRPr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14" name="Текст 24">
            <a:extLst>
              <a:ext uri="{FF2B5EF4-FFF2-40B4-BE49-F238E27FC236}">
                <a16:creationId xmlns:a16="http://schemas.microsoft.com/office/drawing/2014/main" id="{E05899F0-03F6-6B4C-BF0E-6A257DC766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1" y="1196975"/>
            <a:ext cx="7453314" cy="295465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342900" indent="-342900" algn="l" defTabSz="914400" rtl="0" eaLnBrk="1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lang="ru-RU" sz="1600" b="0" kern="1200" spc="-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>
                <a:effectLst/>
              </a:rPr>
              <a:t>Раздел 1</a:t>
            </a:r>
          </a:p>
          <a:p>
            <a:pPr lvl="0"/>
            <a:r>
              <a:rPr lang="ru-RU" dirty="0">
                <a:effectLst/>
              </a:rPr>
              <a:t>Раздел 2</a:t>
            </a:r>
          </a:p>
          <a:p>
            <a:pPr lvl="0"/>
            <a:r>
              <a:rPr lang="ru-RU" dirty="0">
                <a:effectLst/>
              </a:rPr>
              <a:t>Раздел 3</a:t>
            </a:r>
          </a:p>
          <a:p>
            <a:pPr lvl="0"/>
            <a:r>
              <a:rPr lang="ru-RU" dirty="0">
                <a:effectLst/>
              </a:rPr>
              <a:t>Раздел 4</a:t>
            </a:r>
          </a:p>
          <a:p>
            <a:pPr lvl="0"/>
            <a:r>
              <a:rPr lang="ru-RU" dirty="0">
                <a:effectLst/>
              </a:rPr>
              <a:t>Раздел 5</a:t>
            </a:r>
          </a:p>
          <a:p>
            <a:pPr lvl="0"/>
            <a:r>
              <a:rPr lang="ru-RU" dirty="0">
                <a:effectLst/>
              </a:rPr>
              <a:t>Раздел 6</a:t>
            </a:r>
            <a:endParaRPr lang="ru-RU" dirty="0"/>
          </a:p>
        </p:txBody>
      </p:sp>
      <p:sp>
        <p:nvSpPr>
          <p:cNvPr id="15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8737600" y="4690668"/>
            <a:ext cx="3175000" cy="176971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r">
              <a:buNone/>
              <a:defRPr sz="115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08029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3106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9" name="Рисунок 49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2705100"/>
            <a:ext cx="5376156" cy="4154303"/>
          </a:xfrm>
          <a:prstGeom prst="rect">
            <a:avLst/>
          </a:prstGeom>
        </p:spPr>
      </p:pic>
      <p:grpSp>
        <p:nvGrpSpPr>
          <p:cNvPr id="2" name="Группа 1"/>
          <p:cNvGrpSpPr/>
          <p:nvPr/>
        </p:nvGrpSpPr>
        <p:grpSpPr>
          <a:xfrm>
            <a:off x="423619" y="755941"/>
            <a:ext cx="2931869" cy="381832"/>
            <a:chOff x="443791" y="377997"/>
            <a:chExt cx="3999467" cy="520871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1492644" y="456285"/>
              <a:ext cx="2950614" cy="364276"/>
            </a:xfrm>
            <a:prstGeom prst="rect">
              <a:avLst/>
            </a:prstGeom>
            <a:noFill/>
            <a:ln w="0" cap="flat">
              <a:noFill/>
              <a:prstDash val="solid"/>
              <a:miter/>
            </a:ln>
          </p:spPr>
          <p:txBody>
            <a:bodyPr lIns="324000" tIns="0" rIns="72000" bIns="0" rtlCol="0" anchor="ctr"/>
            <a:lstStyle/>
            <a:p>
              <a:pPr lvl="0" algn="l"/>
              <a:r>
                <a:rPr lang="ru-RU" sz="1400" dirty="0">
                  <a:solidFill>
                    <a:schemeClr val="bg1"/>
                  </a:solidFill>
                  <a:sym typeface="Verdana" panose="020B0604030504040204" pitchFamily="34" charset="0"/>
                </a:rPr>
                <a:t>Решения,</a:t>
              </a:r>
              <a:r>
                <a:rPr lang="ru-RU" sz="1400" baseline="0" dirty="0">
                  <a:solidFill>
                    <a:schemeClr val="bg1"/>
                  </a:solidFill>
                  <a:sym typeface="Verdana" panose="020B0604030504040204" pitchFamily="34" charset="0"/>
                </a:rPr>
                <a:t> </a:t>
              </a:r>
              <a:br>
                <a:rPr lang="ru-RU" sz="1400" baseline="0" dirty="0">
                  <a:solidFill>
                    <a:schemeClr val="bg1"/>
                  </a:solidFill>
                  <a:sym typeface="Verdana" panose="020B0604030504040204" pitchFamily="34" charset="0"/>
                </a:rPr>
              </a:br>
              <a:r>
                <a:rPr lang="ru-RU" sz="1400" baseline="0" dirty="0">
                  <a:solidFill>
                    <a:schemeClr val="bg1"/>
                  </a:solidFill>
                  <a:sym typeface="Verdana" panose="020B0604030504040204" pitchFamily="34" charset="0"/>
                </a:rPr>
                <a:t>которые работают</a:t>
              </a:r>
              <a:endParaRPr lang="ru-RU" sz="1400" dirty="0">
                <a:solidFill>
                  <a:schemeClr val="bg1"/>
                </a:solidFill>
                <a:sym typeface="Verdana" panose="020B0604030504040204" pitchFamily="34" charset="0"/>
              </a:endParaRPr>
            </a:p>
          </p:txBody>
        </p:sp>
        <p:grpSp>
          <p:nvGrpSpPr>
            <p:cNvPr id="13" name="Группа 12"/>
            <p:cNvGrpSpPr/>
            <p:nvPr/>
          </p:nvGrpSpPr>
          <p:grpSpPr>
            <a:xfrm>
              <a:off x="443791" y="377997"/>
              <a:ext cx="1197973" cy="520871"/>
              <a:chOff x="6626594" y="3238091"/>
              <a:chExt cx="3421274" cy="1487547"/>
            </a:xfrm>
          </p:grpSpPr>
          <p:grpSp>
            <p:nvGrpSpPr>
              <p:cNvPr id="14" name="Рисунок 48">
                <a:extLst>
                  <a:ext uri="{FF2B5EF4-FFF2-40B4-BE49-F238E27FC236}">
                    <a16:creationId xmlns:a16="http://schemas.microsoft.com/office/drawing/2014/main" id="{2253F4C3-1E1A-715B-101F-E0672B990835}"/>
                  </a:ext>
                </a:extLst>
              </p:cNvPr>
              <p:cNvGrpSpPr/>
              <p:nvPr/>
            </p:nvGrpSpPr>
            <p:grpSpPr>
              <a:xfrm>
                <a:off x="6626594" y="3238091"/>
                <a:ext cx="2540911" cy="1487547"/>
                <a:chOff x="6626594" y="3238091"/>
                <a:chExt cx="2540911" cy="1487547"/>
              </a:xfrm>
              <a:solidFill>
                <a:srgbClr val="171523"/>
              </a:solidFill>
            </p:grpSpPr>
            <p:sp>
              <p:nvSpPr>
                <p:cNvPr id="16" name="Полилиния 15">
                  <a:extLst>
                    <a:ext uri="{FF2B5EF4-FFF2-40B4-BE49-F238E27FC236}">
                      <a16:creationId xmlns:a16="http://schemas.microsoft.com/office/drawing/2014/main" id="{5C296971-CF47-8409-873C-77EAFBE6DEC3}"/>
                    </a:ext>
                  </a:extLst>
                </p:cNvPr>
                <p:cNvSpPr/>
                <p:nvPr/>
              </p:nvSpPr>
              <p:spPr>
                <a:xfrm>
                  <a:off x="8023634" y="3261224"/>
                  <a:ext cx="1143871" cy="1441226"/>
                </a:xfrm>
                <a:custGeom>
                  <a:avLst/>
                  <a:gdLst>
                    <a:gd name="connsiteX0" fmla="*/ 690277 w 1143870"/>
                    <a:gd name="connsiteY0" fmla="*/ 0 h 1441226"/>
                    <a:gd name="connsiteX1" fmla="*/ 0 w 1143870"/>
                    <a:gd name="connsiteY1" fmla="*/ 0 h 1441226"/>
                    <a:gd name="connsiteX2" fmla="*/ 0 w 1143870"/>
                    <a:gd name="connsiteY2" fmla="*/ 1441227 h 1441226"/>
                    <a:gd name="connsiteX3" fmla="*/ 160722 w 1143870"/>
                    <a:gd name="connsiteY3" fmla="*/ 1441227 h 1441226"/>
                    <a:gd name="connsiteX4" fmla="*/ 160722 w 1143870"/>
                    <a:gd name="connsiteY4" fmla="*/ 844461 h 1441226"/>
                    <a:gd name="connsiteX5" fmla="*/ 690330 w 1143870"/>
                    <a:gd name="connsiteY5" fmla="*/ 844461 h 1441226"/>
                    <a:gd name="connsiteX6" fmla="*/ 1143871 w 1143870"/>
                    <a:gd name="connsiteY6" fmla="*/ 421119 h 1441226"/>
                    <a:gd name="connsiteX7" fmla="*/ 690277 w 1143870"/>
                    <a:gd name="connsiteY7" fmla="*/ 0 h 1441226"/>
                    <a:gd name="connsiteX8" fmla="*/ 690277 w 1143870"/>
                    <a:gd name="connsiteY8" fmla="*/ 695336 h 1441226"/>
                    <a:gd name="connsiteX9" fmla="*/ 160669 w 1143870"/>
                    <a:gd name="connsiteY9" fmla="*/ 695336 h 1441226"/>
                    <a:gd name="connsiteX10" fmla="*/ 160669 w 1143870"/>
                    <a:gd name="connsiteY10" fmla="*/ 149178 h 1441226"/>
                    <a:gd name="connsiteX11" fmla="*/ 690277 w 1143870"/>
                    <a:gd name="connsiteY11" fmla="*/ 149178 h 1441226"/>
                    <a:gd name="connsiteX12" fmla="*/ 979862 w 1143870"/>
                    <a:gd name="connsiteY12" fmla="*/ 421172 h 1441226"/>
                    <a:gd name="connsiteX13" fmla="*/ 690277 w 1143870"/>
                    <a:gd name="connsiteY13" fmla="*/ 695283 h 1441226"/>
                    <a:gd name="connsiteX14" fmla="*/ 690277 w 1143870"/>
                    <a:gd name="connsiteY14" fmla="*/ 695283 h 1441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143870" h="1441226">
                      <a:moveTo>
                        <a:pt x="690277" y="0"/>
                      </a:moveTo>
                      <a:lnTo>
                        <a:pt x="0" y="0"/>
                      </a:lnTo>
                      <a:lnTo>
                        <a:pt x="0" y="1441227"/>
                      </a:lnTo>
                      <a:lnTo>
                        <a:pt x="160722" y="1441227"/>
                      </a:lnTo>
                      <a:lnTo>
                        <a:pt x="160722" y="844461"/>
                      </a:lnTo>
                      <a:lnTo>
                        <a:pt x="690330" y="844461"/>
                      </a:lnTo>
                      <a:cubicBezTo>
                        <a:pt x="982619" y="844461"/>
                        <a:pt x="1143871" y="694224"/>
                        <a:pt x="1143871" y="421119"/>
                      </a:cubicBezTo>
                      <a:cubicBezTo>
                        <a:pt x="1143871" y="148014"/>
                        <a:pt x="982619" y="0"/>
                        <a:pt x="690277" y="0"/>
                      </a:cubicBezTo>
                      <a:close/>
                      <a:moveTo>
                        <a:pt x="690277" y="695336"/>
                      </a:moveTo>
                      <a:lnTo>
                        <a:pt x="160669" y="695336"/>
                      </a:lnTo>
                      <a:lnTo>
                        <a:pt x="160669" y="149178"/>
                      </a:lnTo>
                      <a:lnTo>
                        <a:pt x="690277" y="149178"/>
                      </a:lnTo>
                      <a:cubicBezTo>
                        <a:pt x="893034" y="149178"/>
                        <a:pt x="979862" y="230490"/>
                        <a:pt x="979862" y="421172"/>
                      </a:cubicBezTo>
                      <a:cubicBezTo>
                        <a:pt x="979862" y="611853"/>
                        <a:pt x="893034" y="695283"/>
                        <a:pt x="690277" y="695283"/>
                      </a:cubicBezTo>
                      <a:lnTo>
                        <a:pt x="690277" y="695283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200"/>
                </a:p>
              </p:txBody>
            </p:sp>
            <p:sp>
              <p:nvSpPr>
                <p:cNvPr id="17" name="Полилиния 16">
                  <a:extLst>
                    <a:ext uri="{FF2B5EF4-FFF2-40B4-BE49-F238E27FC236}">
                      <a16:creationId xmlns:a16="http://schemas.microsoft.com/office/drawing/2014/main" id="{C1DD0239-D639-A576-9D72-0715C6869096}"/>
                    </a:ext>
                  </a:extLst>
                </p:cNvPr>
                <p:cNvSpPr/>
                <p:nvPr/>
              </p:nvSpPr>
              <p:spPr>
                <a:xfrm>
                  <a:off x="6626594" y="3238091"/>
                  <a:ext cx="1192373" cy="1487547"/>
                </a:xfrm>
                <a:custGeom>
                  <a:avLst/>
                  <a:gdLst>
                    <a:gd name="connsiteX0" fmla="*/ 1192373 w 1192373"/>
                    <a:gd name="connsiteY0" fmla="*/ 1053988 h 1487547"/>
                    <a:gd name="connsiteX1" fmla="*/ 605092 w 1192373"/>
                    <a:gd name="connsiteY1" fmla="*/ 1487547 h 1487547"/>
                    <a:gd name="connsiteX2" fmla="*/ 0 w 1192373"/>
                    <a:gd name="connsiteY2" fmla="*/ 1034084 h 1487547"/>
                    <a:gd name="connsiteX3" fmla="*/ 0 w 1192373"/>
                    <a:gd name="connsiteY3" fmla="*/ 997980 h 1487547"/>
                    <a:gd name="connsiteX4" fmla="*/ 160722 w 1192373"/>
                    <a:gd name="connsiteY4" fmla="*/ 997980 h 1487547"/>
                    <a:gd name="connsiteX5" fmla="*/ 160722 w 1192373"/>
                    <a:gd name="connsiteY5" fmla="*/ 1034084 h 1487547"/>
                    <a:gd name="connsiteX6" fmla="*/ 605092 w 1192373"/>
                    <a:gd name="connsiteY6" fmla="*/ 1338898 h 1487547"/>
                    <a:gd name="connsiteX7" fmla="*/ 1035468 w 1192373"/>
                    <a:gd name="connsiteY7" fmla="*/ 1053988 h 1487547"/>
                    <a:gd name="connsiteX8" fmla="*/ 803556 w 1192373"/>
                    <a:gd name="connsiteY8" fmla="*/ 796023 h 1487547"/>
                    <a:gd name="connsiteX9" fmla="*/ 379647 w 1192373"/>
                    <a:gd name="connsiteY9" fmla="*/ 786865 h 1487547"/>
                    <a:gd name="connsiteX10" fmla="*/ 14524 w 1192373"/>
                    <a:gd name="connsiteY10" fmla="*/ 415772 h 1487547"/>
                    <a:gd name="connsiteX11" fmla="*/ 605092 w 1192373"/>
                    <a:gd name="connsiteY11" fmla="*/ 0 h 1487547"/>
                    <a:gd name="connsiteX12" fmla="*/ 1174032 w 1192373"/>
                    <a:gd name="connsiteY12" fmla="*/ 430859 h 1487547"/>
                    <a:gd name="connsiteX13" fmla="*/ 1174563 w 1192373"/>
                    <a:gd name="connsiteY13" fmla="*/ 444888 h 1487547"/>
                    <a:gd name="connsiteX14" fmla="*/ 1013841 w 1192373"/>
                    <a:gd name="connsiteY14" fmla="*/ 444888 h 1487547"/>
                    <a:gd name="connsiteX15" fmla="*/ 1013311 w 1192373"/>
                    <a:gd name="connsiteY15" fmla="*/ 431971 h 1487547"/>
                    <a:gd name="connsiteX16" fmla="*/ 605039 w 1192373"/>
                    <a:gd name="connsiteY16" fmla="*/ 148702 h 1487547"/>
                    <a:gd name="connsiteX17" fmla="*/ 170899 w 1192373"/>
                    <a:gd name="connsiteY17" fmla="*/ 415825 h 1487547"/>
                    <a:gd name="connsiteX18" fmla="*/ 381767 w 1192373"/>
                    <a:gd name="connsiteY18" fmla="*/ 626940 h 1487547"/>
                    <a:gd name="connsiteX19" fmla="*/ 805676 w 1192373"/>
                    <a:gd name="connsiteY19" fmla="*/ 636098 h 1487547"/>
                    <a:gd name="connsiteX20" fmla="*/ 1192373 w 1192373"/>
                    <a:gd name="connsiteY20" fmla="*/ 1054041 h 1487547"/>
                    <a:gd name="connsiteX21" fmla="*/ 1192373 w 1192373"/>
                    <a:gd name="connsiteY21" fmla="*/ 1054041 h 1487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192373" h="1487547">
                      <a:moveTo>
                        <a:pt x="1192373" y="1053988"/>
                      </a:moveTo>
                      <a:cubicBezTo>
                        <a:pt x="1192373" y="1345886"/>
                        <a:pt x="1000377" y="1487547"/>
                        <a:pt x="605092" y="1487547"/>
                      </a:cubicBezTo>
                      <a:cubicBezTo>
                        <a:pt x="181183" y="1487547"/>
                        <a:pt x="0" y="1352345"/>
                        <a:pt x="0" y="1034084"/>
                      </a:cubicBezTo>
                      <a:lnTo>
                        <a:pt x="0" y="997980"/>
                      </a:lnTo>
                      <a:lnTo>
                        <a:pt x="160722" y="997980"/>
                      </a:lnTo>
                      <a:lnTo>
                        <a:pt x="160722" y="1034084"/>
                      </a:lnTo>
                      <a:cubicBezTo>
                        <a:pt x="160722" y="1267803"/>
                        <a:pt x="264831" y="1338898"/>
                        <a:pt x="605092" y="1338898"/>
                      </a:cubicBezTo>
                      <a:cubicBezTo>
                        <a:pt x="983149" y="1338898"/>
                        <a:pt x="1035468" y="1202108"/>
                        <a:pt x="1035468" y="1053988"/>
                      </a:cubicBezTo>
                      <a:cubicBezTo>
                        <a:pt x="1035468" y="874106"/>
                        <a:pt x="968041" y="799252"/>
                        <a:pt x="803556" y="796023"/>
                      </a:cubicBezTo>
                      <a:lnTo>
                        <a:pt x="379647" y="786865"/>
                      </a:lnTo>
                      <a:cubicBezTo>
                        <a:pt x="133740" y="780936"/>
                        <a:pt x="14524" y="659762"/>
                        <a:pt x="14524" y="415772"/>
                      </a:cubicBezTo>
                      <a:cubicBezTo>
                        <a:pt x="14577" y="124403"/>
                        <a:pt x="191467" y="0"/>
                        <a:pt x="605092" y="0"/>
                      </a:cubicBezTo>
                      <a:cubicBezTo>
                        <a:pt x="970215" y="0"/>
                        <a:pt x="1161628" y="145420"/>
                        <a:pt x="1174032" y="430859"/>
                      </a:cubicBezTo>
                      <a:lnTo>
                        <a:pt x="1174563" y="444888"/>
                      </a:lnTo>
                      <a:lnTo>
                        <a:pt x="1013841" y="444888"/>
                      </a:lnTo>
                      <a:lnTo>
                        <a:pt x="1013311" y="431971"/>
                      </a:lnTo>
                      <a:cubicBezTo>
                        <a:pt x="1003610" y="197140"/>
                        <a:pt x="842888" y="148702"/>
                        <a:pt x="605039" y="148702"/>
                      </a:cubicBezTo>
                      <a:cubicBezTo>
                        <a:pt x="238326" y="148702"/>
                        <a:pt x="170899" y="238643"/>
                        <a:pt x="170899" y="415825"/>
                      </a:cubicBezTo>
                      <a:cubicBezTo>
                        <a:pt x="170899" y="593007"/>
                        <a:pt x="232919" y="623711"/>
                        <a:pt x="381767" y="626940"/>
                      </a:cubicBezTo>
                      <a:lnTo>
                        <a:pt x="805676" y="636098"/>
                      </a:lnTo>
                      <a:cubicBezTo>
                        <a:pt x="1058633" y="641498"/>
                        <a:pt x="1192373" y="785806"/>
                        <a:pt x="1192373" y="1054041"/>
                      </a:cubicBezTo>
                      <a:lnTo>
                        <a:pt x="1192373" y="1054041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200"/>
                </a:p>
              </p:txBody>
            </p:sp>
          </p:grpSp>
          <p:sp>
            <p:nvSpPr>
              <p:cNvPr id="15" name="Полилиния 14">
                <a:extLst>
                  <a:ext uri="{FF2B5EF4-FFF2-40B4-BE49-F238E27FC236}">
                    <a16:creationId xmlns:a16="http://schemas.microsoft.com/office/drawing/2014/main" id="{426C0A8D-D200-9B5E-DE81-63CCB23992C3}"/>
                  </a:ext>
                </a:extLst>
              </p:cNvPr>
              <p:cNvSpPr/>
              <p:nvPr/>
            </p:nvSpPr>
            <p:spPr>
              <a:xfrm>
                <a:off x="9196128" y="3261224"/>
                <a:ext cx="851740" cy="1441279"/>
              </a:xfrm>
              <a:custGeom>
                <a:avLst/>
                <a:gdLst>
                  <a:gd name="connsiteX0" fmla="*/ 851741 w 851740"/>
                  <a:gd name="connsiteY0" fmla="*/ 0 h 1441279"/>
                  <a:gd name="connsiteX1" fmla="*/ 161146 w 851740"/>
                  <a:gd name="connsiteY1" fmla="*/ 1441280 h 1441279"/>
                  <a:gd name="connsiteX2" fmla="*/ 0 w 851740"/>
                  <a:gd name="connsiteY2" fmla="*/ 1441280 h 1441279"/>
                  <a:gd name="connsiteX3" fmla="*/ 690595 w 851740"/>
                  <a:gd name="connsiteY3" fmla="*/ 0 h 1441279"/>
                  <a:gd name="connsiteX4" fmla="*/ 851741 w 851740"/>
                  <a:gd name="connsiteY4" fmla="*/ 0 h 1441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1740" h="1441279">
                    <a:moveTo>
                      <a:pt x="851741" y="0"/>
                    </a:moveTo>
                    <a:lnTo>
                      <a:pt x="161146" y="1441280"/>
                    </a:lnTo>
                    <a:lnTo>
                      <a:pt x="0" y="1441280"/>
                    </a:lnTo>
                    <a:lnTo>
                      <a:pt x="690595" y="0"/>
                    </a:lnTo>
                    <a:lnTo>
                      <a:pt x="851741" y="0"/>
                    </a:lnTo>
                    <a:close/>
                  </a:path>
                </a:pathLst>
              </a:custGeom>
              <a:gradFill>
                <a:gsLst>
                  <a:gs pos="0">
                    <a:srgbClr val="2EEAEF"/>
                  </a:gs>
                  <a:gs pos="20000">
                    <a:srgbClr val="2EE5EE"/>
                  </a:gs>
                  <a:gs pos="41000">
                    <a:srgbClr val="2ED9EE"/>
                  </a:gs>
                  <a:gs pos="62000">
                    <a:srgbClr val="2EC4EE"/>
                  </a:gs>
                  <a:gs pos="83000">
                    <a:srgbClr val="2EA7ED"/>
                  </a:gs>
                  <a:gs pos="100000">
                    <a:srgbClr val="2F8AED"/>
                  </a:gs>
                </a:gsLst>
                <a:lin ang="6907745" scaled="1"/>
              </a:gra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200"/>
              </a:p>
            </p:txBody>
          </p:sp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AA6D197-F4AC-06D4-CE4C-CBE3CC719934}"/>
              </a:ext>
            </a:extLst>
          </p:cNvPr>
          <p:cNvSpPr txBox="1"/>
          <p:nvPr/>
        </p:nvSpPr>
        <p:spPr>
          <a:xfrm>
            <a:off x="421845" y="1435282"/>
            <a:ext cx="6096000" cy="4924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lIns="0" tIns="0" rIns="0" bIns="0">
            <a:noAutofit/>
          </a:bodyPr>
          <a:lstStyle/>
          <a:p>
            <a:pPr marL="0" indent="0"/>
            <a:r>
              <a:rPr lang="ru-RU" sz="2000" b="0" dirty="0">
                <a:latin typeface="Verdana" panose="020B0604030504040204" pitchFamily="34" charset="0"/>
                <a:ea typeface="Verdana" panose="020B0604030504040204" pitchFamily="34" charset="0"/>
                <a:cs typeface="SB Sans Text Semibold" panose="020B0503040504020204" pitchFamily="34" charset="0"/>
                <a:sym typeface="Verdana" panose="020B0604030504040204" pitchFamily="34" charset="0"/>
              </a:rPr>
              <a:t>Контакты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7850912" y="2102985"/>
            <a:ext cx="3428710" cy="580534"/>
            <a:chOff x="7850912" y="2102985"/>
            <a:chExt cx="3428710" cy="580534"/>
          </a:xfrm>
        </p:grpSpPr>
        <p:sp>
          <p:nvSpPr>
            <p:cNvPr id="21" name="Прямоугольник 20"/>
            <p:cNvSpPr>
              <a:spLocks/>
            </p:cNvSpPr>
            <p:nvPr/>
          </p:nvSpPr>
          <p:spPr>
            <a:xfrm>
              <a:off x="7850912" y="2102985"/>
              <a:ext cx="1443216" cy="395869"/>
            </a:xfrm>
            <a:prstGeom prst="rect">
              <a:avLst/>
            </a:prstGeom>
          </p:spPr>
          <p:txBody>
            <a:bodyPr wrap="none" tIns="72000">
              <a:spAutoFit/>
            </a:bodyPr>
            <a:lstStyle/>
            <a:p>
              <a:pPr algn="ctr" defTabSz="610845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n-US" sz="1800" spc="0" baseline="0" dirty="0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strategy.ru</a:t>
              </a:r>
              <a:endParaRPr lang="ru-RU" sz="1800" spc="0" baseline="0" dirty="0"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693847" y="2102985"/>
              <a:ext cx="1585775" cy="580534"/>
            </a:xfrm>
            <a:prstGeom prst="rect">
              <a:avLst/>
            </a:prstGeom>
          </p:spPr>
          <p:txBody>
            <a:bodyPr wrap="square" tIns="72000">
              <a:spAutoFit/>
            </a:bodyPr>
            <a:lstStyle/>
            <a:p>
              <a:pPr defTabSz="610845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n-US" sz="1500" dirty="0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t.me/</a:t>
              </a:r>
              <a:r>
                <a:rPr lang="en-US" sz="1500" dirty="0" err="1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strategypartners</a:t>
              </a:r>
              <a:endParaRPr lang="ru-RU" sz="1500" dirty="0"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6CDF8E49-BF2D-56AB-2CE5-49CC484DF1C9}"/>
              </a:ext>
            </a:extLst>
          </p:cNvPr>
          <p:cNvSpPr txBox="1"/>
          <p:nvPr/>
        </p:nvSpPr>
        <p:spPr bwMode="auto">
          <a:xfrm>
            <a:off x="5987482" y="5861806"/>
            <a:ext cx="5161505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Aft>
                <a:spcPts val="300"/>
              </a:spcAft>
            </a:pPr>
            <a:r>
              <a:rPr lang="ru-RU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121099, г. Москва, ул. Композиторская, д. 17</a:t>
            </a:r>
          </a:p>
          <a:p>
            <a:pPr algn="r" defTabSz="610845">
              <a:lnSpc>
                <a:spcPct val="100000"/>
              </a:lnSpc>
              <a:spcAft>
                <a:spcPts val="300"/>
              </a:spcAft>
              <a:defRPr/>
            </a:pPr>
            <a:r>
              <a:rPr lang="en-US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+7 (495) 730-77-47</a:t>
            </a:r>
            <a:r>
              <a:rPr lang="ru-RU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>
                <a:solidFill>
                  <a:schemeClr val="tx1">
                    <a:alpha val="7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|</a:t>
            </a:r>
            <a:r>
              <a:rPr lang="ru-RU" sz="1200" dirty="0">
                <a:solidFill>
                  <a:schemeClr val="tx1">
                    <a:alpha val="7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 </a:t>
            </a:r>
            <a:r>
              <a:rPr lang="en-US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inbox@strategy.ru</a:t>
            </a:r>
            <a:r>
              <a:rPr lang="ru-RU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 </a:t>
            </a:r>
          </a:p>
        </p:txBody>
      </p:sp>
      <p:grpSp>
        <p:nvGrpSpPr>
          <p:cNvPr id="29" name="Рисунок 4">
            <a:extLst>
              <a:ext uri="{FF2B5EF4-FFF2-40B4-BE49-F238E27FC236}">
                <a16:creationId xmlns:a16="http://schemas.microsoft.com/office/drawing/2014/main" id="{94082320-2525-B04E-C59B-FF0C15071698}"/>
              </a:ext>
            </a:extLst>
          </p:cNvPr>
          <p:cNvGrpSpPr/>
          <p:nvPr/>
        </p:nvGrpSpPr>
        <p:grpSpPr>
          <a:xfrm>
            <a:off x="9804398" y="813331"/>
            <a:ext cx="1248411" cy="1243681"/>
            <a:chOff x="6450353" y="2684481"/>
            <a:chExt cx="1473380" cy="1467798"/>
          </a:xfrm>
          <a:solidFill>
            <a:schemeClr val="bg1"/>
          </a:solidFill>
        </p:grpSpPr>
        <p:sp>
          <p:nvSpPr>
            <p:cNvPr id="30" name="Полилиния 29">
              <a:extLst>
                <a:ext uri="{FF2B5EF4-FFF2-40B4-BE49-F238E27FC236}">
                  <a16:creationId xmlns:a16="http://schemas.microsoft.com/office/drawing/2014/main" id="{26574203-C9FF-56CB-BD05-E58149F2AFB7}"/>
                </a:ext>
              </a:extLst>
            </p:cNvPr>
            <p:cNvSpPr/>
            <p:nvPr/>
          </p:nvSpPr>
          <p:spPr>
            <a:xfrm>
              <a:off x="6852106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A24D71F8-4027-5A39-55F7-A699BF43CB5E}"/>
                </a:ext>
              </a:extLst>
            </p:cNvPr>
            <p:cNvSpPr/>
            <p:nvPr/>
          </p:nvSpPr>
          <p:spPr>
            <a:xfrm>
              <a:off x="6941480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8DCB951D-1CD9-E835-FCA1-486D5405A754}"/>
                </a:ext>
              </a:extLst>
            </p:cNvPr>
            <p:cNvSpPr/>
            <p:nvPr/>
          </p:nvSpPr>
          <p:spPr>
            <a:xfrm>
              <a:off x="720931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45DFA8A6-3340-9D3D-0913-1EA19FA4C0E2}"/>
                </a:ext>
              </a:extLst>
            </p:cNvPr>
            <p:cNvSpPr/>
            <p:nvPr/>
          </p:nvSpPr>
          <p:spPr>
            <a:xfrm>
              <a:off x="725395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B0939566-AB1C-DC69-898D-3FD5A715A56C}"/>
                </a:ext>
              </a:extLst>
            </p:cNvPr>
            <p:cNvSpPr/>
            <p:nvPr/>
          </p:nvSpPr>
          <p:spPr>
            <a:xfrm>
              <a:off x="7298594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AFDC0A9B-E544-484B-E16E-1B9EBC827860}"/>
                </a:ext>
              </a:extLst>
            </p:cNvPr>
            <p:cNvSpPr/>
            <p:nvPr/>
          </p:nvSpPr>
          <p:spPr>
            <a:xfrm>
              <a:off x="738787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 35">
              <a:extLst>
                <a:ext uri="{FF2B5EF4-FFF2-40B4-BE49-F238E27FC236}">
                  <a16:creationId xmlns:a16="http://schemas.microsoft.com/office/drawing/2014/main" id="{54462312-B083-431E-5531-3F09386D2B4D}"/>
                </a:ext>
              </a:extLst>
            </p:cNvPr>
            <p:cNvSpPr/>
            <p:nvPr/>
          </p:nvSpPr>
          <p:spPr>
            <a:xfrm>
              <a:off x="743251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 36">
              <a:extLst>
                <a:ext uri="{FF2B5EF4-FFF2-40B4-BE49-F238E27FC236}">
                  <a16:creationId xmlns:a16="http://schemas.microsoft.com/office/drawing/2014/main" id="{BFCC57CD-4211-AB20-A66D-3865E654A0B2}"/>
                </a:ext>
              </a:extLst>
            </p:cNvPr>
            <p:cNvSpPr/>
            <p:nvPr/>
          </p:nvSpPr>
          <p:spPr>
            <a:xfrm>
              <a:off x="752188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9E2AC277-DE9E-E328-33A1-5E4739B1E0C6}"/>
                </a:ext>
              </a:extLst>
            </p:cNvPr>
            <p:cNvSpPr/>
            <p:nvPr/>
          </p:nvSpPr>
          <p:spPr>
            <a:xfrm>
              <a:off x="680746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13D4CB15-F2E3-3500-2B98-B4C6DA0BB557}"/>
                </a:ext>
              </a:extLst>
            </p:cNvPr>
            <p:cNvSpPr/>
            <p:nvPr/>
          </p:nvSpPr>
          <p:spPr>
            <a:xfrm>
              <a:off x="6986119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CD618E06-45DA-E5AE-12E4-3BF006655DAB}"/>
                </a:ext>
              </a:extLst>
            </p:cNvPr>
            <p:cNvSpPr/>
            <p:nvPr/>
          </p:nvSpPr>
          <p:spPr>
            <a:xfrm>
              <a:off x="712003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FDD141A2-5F70-6E73-AAE0-D7AE720DACEC}"/>
                </a:ext>
              </a:extLst>
            </p:cNvPr>
            <p:cNvSpPr/>
            <p:nvPr/>
          </p:nvSpPr>
          <p:spPr>
            <a:xfrm>
              <a:off x="720931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7FF78871-7679-EA3B-4C37-F8FB0CB7F74C}"/>
                </a:ext>
              </a:extLst>
            </p:cNvPr>
            <p:cNvSpPr/>
            <p:nvPr/>
          </p:nvSpPr>
          <p:spPr>
            <a:xfrm>
              <a:off x="725395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89544812-BDE0-EF1B-AFA2-56B5DE5069FB}"/>
                </a:ext>
              </a:extLst>
            </p:cNvPr>
            <p:cNvSpPr/>
            <p:nvPr/>
          </p:nvSpPr>
          <p:spPr>
            <a:xfrm>
              <a:off x="7298594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043617E0-5897-290C-5684-42666AB367DF}"/>
                </a:ext>
              </a:extLst>
            </p:cNvPr>
            <p:cNvSpPr/>
            <p:nvPr/>
          </p:nvSpPr>
          <p:spPr>
            <a:xfrm>
              <a:off x="7432512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3B0771E8-3887-9710-981A-01C72364DAEB}"/>
                </a:ext>
              </a:extLst>
            </p:cNvPr>
            <p:cNvSpPr/>
            <p:nvPr/>
          </p:nvSpPr>
          <p:spPr>
            <a:xfrm>
              <a:off x="680746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08139889-98BB-E336-01DA-4F85AF887AFF}"/>
                </a:ext>
              </a:extLst>
            </p:cNvPr>
            <p:cNvSpPr/>
            <p:nvPr/>
          </p:nvSpPr>
          <p:spPr>
            <a:xfrm>
              <a:off x="703075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B3DF69F5-AE01-7319-629F-6A17D1FEA8EB}"/>
                </a:ext>
              </a:extLst>
            </p:cNvPr>
            <p:cNvSpPr/>
            <p:nvPr/>
          </p:nvSpPr>
          <p:spPr>
            <a:xfrm>
              <a:off x="707539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57F32FC1-C8C1-C479-A6EE-FF10C94105EC}"/>
                </a:ext>
              </a:extLst>
            </p:cNvPr>
            <p:cNvSpPr/>
            <p:nvPr/>
          </p:nvSpPr>
          <p:spPr>
            <a:xfrm>
              <a:off x="712003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4A50B605-D0F8-BA8D-FEE0-F999843EF2AF}"/>
                </a:ext>
              </a:extLst>
            </p:cNvPr>
            <p:cNvSpPr/>
            <p:nvPr/>
          </p:nvSpPr>
          <p:spPr>
            <a:xfrm>
              <a:off x="720931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12EEBEB4-FCF2-F580-73C4-40EF76EF17CE}"/>
                </a:ext>
              </a:extLst>
            </p:cNvPr>
            <p:cNvSpPr/>
            <p:nvPr/>
          </p:nvSpPr>
          <p:spPr>
            <a:xfrm>
              <a:off x="725395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D2960D56-2087-2605-4994-3F2AFE199C36}"/>
                </a:ext>
              </a:extLst>
            </p:cNvPr>
            <p:cNvSpPr/>
            <p:nvPr/>
          </p:nvSpPr>
          <p:spPr>
            <a:xfrm>
              <a:off x="7298594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439FB4E0-FEB3-6B91-1133-CDB50749328E}"/>
                </a:ext>
              </a:extLst>
            </p:cNvPr>
            <p:cNvSpPr/>
            <p:nvPr/>
          </p:nvSpPr>
          <p:spPr>
            <a:xfrm>
              <a:off x="7343233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FF0B7FAA-9A11-AEF9-80FA-36A0923C7953}"/>
                </a:ext>
              </a:extLst>
            </p:cNvPr>
            <p:cNvSpPr/>
            <p:nvPr/>
          </p:nvSpPr>
          <p:spPr>
            <a:xfrm>
              <a:off x="738787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9397A71B-BD8B-8C1E-2CDC-765A7EDB0256}"/>
                </a:ext>
              </a:extLst>
            </p:cNvPr>
            <p:cNvSpPr/>
            <p:nvPr/>
          </p:nvSpPr>
          <p:spPr>
            <a:xfrm>
              <a:off x="743251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D58D2E34-7BBA-AE37-6E52-2B8F274074A7}"/>
                </a:ext>
              </a:extLst>
            </p:cNvPr>
            <p:cNvSpPr/>
            <p:nvPr/>
          </p:nvSpPr>
          <p:spPr>
            <a:xfrm>
              <a:off x="752188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4E8C5E1C-7CA5-A040-AC11-7D9473213E77}"/>
                </a:ext>
              </a:extLst>
            </p:cNvPr>
            <p:cNvSpPr/>
            <p:nvPr/>
          </p:nvSpPr>
          <p:spPr>
            <a:xfrm>
              <a:off x="6807467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49156D91-5FCB-E601-5552-6B15DAEA94AD}"/>
                </a:ext>
              </a:extLst>
            </p:cNvPr>
            <p:cNvSpPr/>
            <p:nvPr/>
          </p:nvSpPr>
          <p:spPr>
            <a:xfrm>
              <a:off x="689684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 57">
              <a:extLst>
                <a:ext uri="{FF2B5EF4-FFF2-40B4-BE49-F238E27FC236}">
                  <a16:creationId xmlns:a16="http://schemas.microsoft.com/office/drawing/2014/main" id="{F73A94B4-B222-3A5C-102A-2E368D4BBF55}"/>
                </a:ext>
              </a:extLst>
            </p:cNvPr>
            <p:cNvSpPr/>
            <p:nvPr/>
          </p:nvSpPr>
          <p:spPr>
            <a:xfrm>
              <a:off x="6986119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 58">
              <a:extLst>
                <a:ext uri="{FF2B5EF4-FFF2-40B4-BE49-F238E27FC236}">
                  <a16:creationId xmlns:a16="http://schemas.microsoft.com/office/drawing/2014/main" id="{343DD0CB-72E6-4563-AD20-CFC0E37F933A}"/>
                </a:ext>
              </a:extLst>
            </p:cNvPr>
            <p:cNvSpPr/>
            <p:nvPr/>
          </p:nvSpPr>
          <p:spPr>
            <a:xfrm>
              <a:off x="703075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 59">
              <a:extLst>
                <a:ext uri="{FF2B5EF4-FFF2-40B4-BE49-F238E27FC236}">
                  <a16:creationId xmlns:a16="http://schemas.microsoft.com/office/drawing/2014/main" id="{5BFA067A-3F9C-DF66-9DD0-C39740F49EC5}"/>
                </a:ext>
              </a:extLst>
            </p:cNvPr>
            <p:cNvSpPr/>
            <p:nvPr/>
          </p:nvSpPr>
          <p:spPr>
            <a:xfrm>
              <a:off x="707539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Полилиния 60">
              <a:extLst>
                <a:ext uri="{FF2B5EF4-FFF2-40B4-BE49-F238E27FC236}">
                  <a16:creationId xmlns:a16="http://schemas.microsoft.com/office/drawing/2014/main" id="{900F1D90-0A05-5AC8-EC7F-3AAAB532877B}"/>
                </a:ext>
              </a:extLst>
            </p:cNvPr>
            <p:cNvSpPr/>
            <p:nvPr/>
          </p:nvSpPr>
          <p:spPr>
            <a:xfrm>
              <a:off x="7164676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 61">
              <a:extLst>
                <a:ext uri="{FF2B5EF4-FFF2-40B4-BE49-F238E27FC236}">
                  <a16:creationId xmlns:a16="http://schemas.microsoft.com/office/drawing/2014/main" id="{F4018580-6F9A-9282-0961-FD05523841E3}"/>
                </a:ext>
              </a:extLst>
            </p:cNvPr>
            <p:cNvSpPr/>
            <p:nvPr/>
          </p:nvSpPr>
          <p:spPr>
            <a:xfrm>
              <a:off x="720931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 62">
              <a:extLst>
                <a:ext uri="{FF2B5EF4-FFF2-40B4-BE49-F238E27FC236}">
                  <a16:creationId xmlns:a16="http://schemas.microsoft.com/office/drawing/2014/main" id="{F8A929BC-8BBB-683B-7213-AA48184F5DDE}"/>
                </a:ext>
              </a:extLst>
            </p:cNvPr>
            <p:cNvSpPr/>
            <p:nvPr/>
          </p:nvSpPr>
          <p:spPr>
            <a:xfrm>
              <a:off x="725395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 63">
              <a:extLst>
                <a:ext uri="{FF2B5EF4-FFF2-40B4-BE49-F238E27FC236}">
                  <a16:creationId xmlns:a16="http://schemas.microsoft.com/office/drawing/2014/main" id="{23E492E5-8828-CF44-91CD-32CEE2B80ED3}"/>
                </a:ext>
              </a:extLst>
            </p:cNvPr>
            <p:cNvSpPr/>
            <p:nvPr/>
          </p:nvSpPr>
          <p:spPr>
            <a:xfrm>
              <a:off x="7298594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" name="Полилиния 64">
              <a:extLst>
                <a:ext uri="{FF2B5EF4-FFF2-40B4-BE49-F238E27FC236}">
                  <a16:creationId xmlns:a16="http://schemas.microsoft.com/office/drawing/2014/main" id="{89B43AF3-3CCA-FFA6-06BF-A8C57D235C6B}"/>
                </a:ext>
              </a:extLst>
            </p:cNvPr>
            <p:cNvSpPr/>
            <p:nvPr/>
          </p:nvSpPr>
          <p:spPr>
            <a:xfrm>
              <a:off x="738787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" name="Полилиния 65">
              <a:extLst>
                <a:ext uri="{FF2B5EF4-FFF2-40B4-BE49-F238E27FC236}">
                  <a16:creationId xmlns:a16="http://schemas.microsoft.com/office/drawing/2014/main" id="{48570E47-8F8F-82AD-0690-1C5F725D3127}"/>
                </a:ext>
              </a:extLst>
            </p:cNvPr>
            <p:cNvSpPr/>
            <p:nvPr/>
          </p:nvSpPr>
          <p:spPr>
            <a:xfrm>
              <a:off x="743251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" name="Полилиния 66">
              <a:extLst>
                <a:ext uri="{FF2B5EF4-FFF2-40B4-BE49-F238E27FC236}">
                  <a16:creationId xmlns:a16="http://schemas.microsoft.com/office/drawing/2014/main" id="{30362F07-BABC-F9B6-3B05-D102D5CCFD8F}"/>
                </a:ext>
              </a:extLst>
            </p:cNvPr>
            <p:cNvSpPr/>
            <p:nvPr/>
          </p:nvSpPr>
          <p:spPr>
            <a:xfrm>
              <a:off x="747715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" name="Полилиния 67">
              <a:extLst>
                <a:ext uri="{FF2B5EF4-FFF2-40B4-BE49-F238E27FC236}">
                  <a16:creationId xmlns:a16="http://schemas.microsoft.com/office/drawing/2014/main" id="{39E7C827-7D01-0129-F198-6A108365296E}"/>
                </a:ext>
              </a:extLst>
            </p:cNvPr>
            <p:cNvSpPr/>
            <p:nvPr/>
          </p:nvSpPr>
          <p:spPr>
            <a:xfrm>
              <a:off x="680746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" name="Полилиния 68">
              <a:extLst>
                <a:ext uri="{FF2B5EF4-FFF2-40B4-BE49-F238E27FC236}">
                  <a16:creationId xmlns:a16="http://schemas.microsoft.com/office/drawing/2014/main" id="{6D7E14D3-449F-40E8-C861-EC2831D8046B}"/>
                </a:ext>
              </a:extLst>
            </p:cNvPr>
            <p:cNvSpPr/>
            <p:nvPr/>
          </p:nvSpPr>
          <p:spPr>
            <a:xfrm>
              <a:off x="6852106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 69">
              <a:extLst>
                <a:ext uri="{FF2B5EF4-FFF2-40B4-BE49-F238E27FC236}">
                  <a16:creationId xmlns:a16="http://schemas.microsoft.com/office/drawing/2014/main" id="{5107E61F-6D09-9C35-F812-257C24E39FA7}"/>
                </a:ext>
              </a:extLst>
            </p:cNvPr>
            <p:cNvSpPr/>
            <p:nvPr/>
          </p:nvSpPr>
          <p:spPr>
            <a:xfrm>
              <a:off x="689684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C77735BA-988C-D444-DA7C-5116C93D4E54}"/>
                </a:ext>
              </a:extLst>
            </p:cNvPr>
            <p:cNvSpPr/>
            <p:nvPr/>
          </p:nvSpPr>
          <p:spPr>
            <a:xfrm>
              <a:off x="7030758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904F7A52-69E1-7222-132C-BF255B891B3D}"/>
                </a:ext>
              </a:extLst>
            </p:cNvPr>
            <p:cNvSpPr/>
            <p:nvPr/>
          </p:nvSpPr>
          <p:spPr>
            <a:xfrm>
              <a:off x="712003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80A7EB9A-512F-C4F4-C437-99CB238A8340}"/>
                </a:ext>
              </a:extLst>
            </p:cNvPr>
            <p:cNvSpPr/>
            <p:nvPr/>
          </p:nvSpPr>
          <p:spPr>
            <a:xfrm>
              <a:off x="720931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72C492C5-5A1F-63D1-6453-800AEACC690C}"/>
                </a:ext>
              </a:extLst>
            </p:cNvPr>
            <p:cNvSpPr/>
            <p:nvPr/>
          </p:nvSpPr>
          <p:spPr>
            <a:xfrm>
              <a:off x="725395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07DF7846-D1A3-BE76-A43A-81AA108E332B}"/>
                </a:ext>
              </a:extLst>
            </p:cNvPr>
            <p:cNvSpPr/>
            <p:nvPr/>
          </p:nvSpPr>
          <p:spPr>
            <a:xfrm>
              <a:off x="7387872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E782FFEB-14BC-03D7-E2EB-7387666481BA}"/>
                </a:ext>
              </a:extLst>
            </p:cNvPr>
            <p:cNvSpPr/>
            <p:nvPr/>
          </p:nvSpPr>
          <p:spPr>
            <a:xfrm>
              <a:off x="747715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6201762F-DDE4-04BC-FB83-5BBA33D00210}"/>
                </a:ext>
              </a:extLst>
            </p:cNvPr>
            <p:cNvSpPr/>
            <p:nvPr/>
          </p:nvSpPr>
          <p:spPr>
            <a:xfrm>
              <a:off x="680746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40B280E3-D6AC-E5E1-F97C-8A3296DCB85A}"/>
                </a:ext>
              </a:extLst>
            </p:cNvPr>
            <p:cNvSpPr/>
            <p:nvPr/>
          </p:nvSpPr>
          <p:spPr>
            <a:xfrm>
              <a:off x="689684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1C5593EB-1260-61B3-70BA-122160EBA894}"/>
                </a:ext>
              </a:extLst>
            </p:cNvPr>
            <p:cNvSpPr/>
            <p:nvPr/>
          </p:nvSpPr>
          <p:spPr>
            <a:xfrm>
              <a:off x="6941480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9395AC3-D72F-2E2A-3950-F9791DCF5750}"/>
                </a:ext>
              </a:extLst>
            </p:cNvPr>
            <p:cNvSpPr/>
            <p:nvPr/>
          </p:nvSpPr>
          <p:spPr>
            <a:xfrm>
              <a:off x="7075398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A9552098-6A7D-AAF4-FADE-5A359FDD77A6}"/>
                </a:ext>
              </a:extLst>
            </p:cNvPr>
            <p:cNvSpPr/>
            <p:nvPr/>
          </p:nvSpPr>
          <p:spPr>
            <a:xfrm>
              <a:off x="712003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FF0DA03E-4A16-08F1-61AE-4A9C343C37AF}"/>
                </a:ext>
              </a:extLst>
            </p:cNvPr>
            <p:cNvSpPr/>
            <p:nvPr/>
          </p:nvSpPr>
          <p:spPr>
            <a:xfrm>
              <a:off x="7164676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71A28393-CB8B-7BD2-3A45-E9823927332A}"/>
                </a:ext>
              </a:extLst>
            </p:cNvPr>
            <p:cNvSpPr/>
            <p:nvPr/>
          </p:nvSpPr>
          <p:spPr>
            <a:xfrm>
              <a:off x="7387872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7CD4909D-9AB0-964A-45E7-796DAF100769}"/>
                </a:ext>
              </a:extLst>
            </p:cNvPr>
            <p:cNvSpPr/>
            <p:nvPr/>
          </p:nvSpPr>
          <p:spPr>
            <a:xfrm>
              <a:off x="747715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485EFE18-1551-191B-03C5-14E6804D7180}"/>
                </a:ext>
              </a:extLst>
            </p:cNvPr>
            <p:cNvSpPr/>
            <p:nvPr/>
          </p:nvSpPr>
          <p:spPr>
            <a:xfrm>
              <a:off x="6807467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D2563A29-2FA5-B5B5-DCF7-FC45811983A2}"/>
                </a:ext>
              </a:extLst>
            </p:cNvPr>
            <p:cNvSpPr/>
            <p:nvPr/>
          </p:nvSpPr>
          <p:spPr>
            <a:xfrm>
              <a:off x="6896841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DD045CDE-24ED-979E-3546-F829E3714699}"/>
                </a:ext>
              </a:extLst>
            </p:cNvPr>
            <p:cNvSpPr/>
            <p:nvPr/>
          </p:nvSpPr>
          <p:spPr>
            <a:xfrm>
              <a:off x="6986119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685DEA47-FE37-B28A-0A31-57A7F7838021}"/>
                </a:ext>
              </a:extLst>
            </p:cNvPr>
            <p:cNvSpPr/>
            <p:nvPr/>
          </p:nvSpPr>
          <p:spPr>
            <a:xfrm>
              <a:off x="7075398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6CD824FA-B189-E68A-9F0C-5BD300678241}"/>
                </a:ext>
              </a:extLst>
            </p:cNvPr>
            <p:cNvSpPr/>
            <p:nvPr/>
          </p:nvSpPr>
          <p:spPr>
            <a:xfrm>
              <a:off x="7164676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A26A4093-61F3-7329-C236-2F5846E29D41}"/>
                </a:ext>
              </a:extLst>
            </p:cNvPr>
            <p:cNvSpPr/>
            <p:nvPr/>
          </p:nvSpPr>
          <p:spPr>
            <a:xfrm>
              <a:off x="725395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F13A0D70-7F42-6303-A5A7-DA70899354C2}"/>
                </a:ext>
              </a:extLst>
            </p:cNvPr>
            <p:cNvSpPr/>
            <p:nvPr/>
          </p:nvSpPr>
          <p:spPr>
            <a:xfrm>
              <a:off x="7343233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DAD0D5B3-C9E3-85B2-90D8-EE8A9B1E299F}"/>
                </a:ext>
              </a:extLst>
            </p:cNvPr>
            <p:cNvSpPr/>
            <p:nvPr/>
          </p:nvSpPr>
          <p:spPr>
            <a:xfrm>
              <a:off x="7432512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7527CFBA-F981-212B-8DF9-CA7C246C99DB}"/>
                </a:ext>
              </a:extLst>
            </p:cNvPr>
            <p:cNvSpPr/>
            <p:nvPr/>
          </p:nvSpPr>
          <p:spPr>
            <a:xfrm>
              <a:off x="752188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C633C890-FEA5-71AB-AE2C-7A1BFE914570}"/>
                </a:ext>
              </a:extLst>
            </p:cNvPr>
            <p:cNvSpPr/>
            <p:nvPr/>
          </p:nvSpPr>
          <p:spPr>
            <a:xfrm>
              <a:off x="685210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64F3635B-954C-B790-151B-515798854197}"/>
                </a:ext>
              </a:extLst>
            </p:cNvPr>
            <p:cNvSpPr/>
            <p:nvPr/>
          </p:nvSpPr>
          <p:spPr>
            <a:xfrm>
              <a:off x="689684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4688EFC3-7CB0-490F-7EC3-7C26CDC8638B}"/>
                </a:ext>
              </a:extLst>
            </p:cNvPr>
            <p:cNvSpPr/>
            <p:nvPr/>
          </p:nvSpPr>
          <p:spPr>
            <a:xfrm>
              <a:off x="7030758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0AE26F97-98D8-98CB-8FC9-332DDB825491}"/>
                </a:ext>
              </a:extLst>
            </p:cNvPr>
            <p:cNvSpPr/>
            <p:nvPr/>
          </p:nvSpPr>
          <p:spPr>
            <a:xfrm>
              <a:off x="716467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FD401CD6-8BEF-0D3D-90B8-1DE72EAE81F2}"/>
                </a:ext>
              </a:extLst>
            </p:cNvPr>
            <p:cNvSpPr/>
            <p:nvPr/>
          </p:nvSpPr>
          <p:spPr>
            <a:xfrm>
              <a:off x="747715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E965B668-DAC7-7FEF-EF26-71632A11900F}"/>
                </a:ext>
              </a:extLst>
            </p:cNvPr>
            <p:cNvSpPr/>
            <p:nvPr/>
          </p:nvSpPr>
          <p:spPr>
            <a:xfrm>
              <a:off x="7521885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176661F1-D8EB-FA6D-4DF5-6F491C89B86D}"/>
                </a:ext>
              </a:extLst>
            </p:cNvPr>
            <p:cNvSpPr/>
            <p:nvPr/>
          </p:nvSpPr>
          <p:spPr>
            <a:xfrm>
              <a:off x="653963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652D957F-FAC9-7FFC-B03A-98B3383FA630}"/>
                </a:ext>
              </a:extLst>
            </p:cNvPr>
            <p:cNvSpPr/>
            <p:nvPr/>
          </p:nvSpPr>
          <p:spPr>
            <a:xfrm>
              <a:off x="667354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5DC9D1A1-D776-66AC-D57B-302B297FAD1E}"/>
                </a:ext>
              </a:extLst>
            </p:cNvPr>
            <p:cNvSpPr/>
            <p:nvPr/>
          </p:nvSpPr>
          <p:spPr>
            <a:xfrm>
              <a:off x="671818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E8BFA029-8542-BBB5-5090-02FF7963C522}"/>
                </a:ext>
              </a:extLst>
            </p:cNvPr>
            <p:cNvSpPr/>
            <p:nvPr/>
          </p:nvSpPr>
          <p:spPr>
            <a:xfrm>
              <a:off x="676282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Полилиния 103">
              <a:extLst>
                <a:ext uri="{FF2B5EF4-FFF2-40B4-BE49-F238E27FC236}">
                  <a16:creationId xmlns:a16="http://schemas.microsoft.com/office/drawing/2014/main" id="{AB4AA159-6533-D322-C8CC-FC1F91B1EA44}"/>
                </a:ext>
              </a:extLst>
            </p:cNvPr>
            <p:cNvSpPr/>
            <p:nvPr/>
          </p:nvSpPr>
          <p:spPr>
            <a:xfrm>
              <a:off x="680746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" name="Полилиния 104">
              <a:extLst>
                <a:ext uri="{FF2B5EF4-FFF2-40B4-BE49-F238E27FC236}">
                  <a16:creationId xmlns:a16="http://schemas.microsoft.com/office/drawing/2014/main" id="{05BF4988-5D0C-6AF9-3AB1-9B74F64004B4}"/>
                </a:ext>
              </a:extLst>
            </p:cNvPr>
            <p:cNvSpPr/>
            <p:nvPr/>
          </p:nvSpPr>
          <p:spPr>
            <a:xfrm>
              <a:off x="689684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" name="Полилиния 105">
              <a:extLst>
                <a:ext uri="{FF2B5EF4-FFF2-40B4-BE49-F238E27FC236}">
                  <a16:creationId xmlns:a16="http://schemas.microsoft.com/office/drawing/2014/main" id="{754645E9-A58F-6E9A-1051-13322880A14A}"/>
                </a:ext>
              </a:extLst>
            </p:cNvPr>
            <p:cNvSpPr/>
            <p:nvPr/>
          </p:nvSpPr>
          <p:spPr>
            <a:xfrm>
              <a:off x="703075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" name="Полилиния 106">
              <a:extLst>
                <a:ext uri="{FF2B5EF4-FFF2-40B4-BE49-F238E27FC236}">
                  <a16:creationId xmlns:a16="http://schemas.microsoft.com/office/drawing/2014/main" id="{44AE3059-5919-62C4-144A-7201255FAA9B}"/>
                </a:ext>
              </a:extLst>
            </p:cNvPr>
            <p:cNvSpPr/>
            <p:nvPr/>
          </p:nvSpPr>
          <p:spPr>
            <a:xfrm>
              <a:off x="712003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" name="Полилиния 107">
              <a:extLst>
                <a:ext uri="{FF2B5EF4-FFF2-40B4-BE49-F238E27FC236}">
                  <a16:creationId xmlns:a16="http://schemas.microsoft.com/office/drawing/2014/main" id="{1BF1589F-676A-A714-78F6-3F22435DED82}"/>
                </a:ext>
              </a:extLst>
            </p:cNvPr>
            <p:cNvSpPr/>
            <p:nvPr/>
          </p:nvSpPr>
          <p:spPr>
            <a:xfrm>
              <a:off x="7164676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" name="Полилиния 108">
              <a:extLst>
                <a:ext uri="{FF2B5EF4-FFF2-40B4-BE49-F238E27FC236}">
                  <a16:creationId xmlns:a16="http://schemas.microsoft.com/office/drawing/2014/main" id="{E5D3A95E-D8CE-8B40-D5DA-CF1589EB2181}"/>
                </a:ext>
              </a:extLst>
            </p:cNvPr>
            <p:cNvSpPr/>
            <p:nvPr/>
          </p:nvSpPr>
          <p:spPr>
            <a:xfrm>
              <a:off x="720931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" name="Полилиния 109">
              <a:extLst>
                <a:ext uri="{FF2B5EF4-FFF2-40B4-BE49-F238E27FC236}">
                  <a16:creationId xmlns:a16="http://schemas.microsoft.com/office/drawing/2014/main" id="{20328D4E-9196-FC3D-94E9-7903317E2963}"/>
                </a:ext>
              </a:extLst>
            </p:cNvPr>
            <p:cNvSpPr/>
            <p:nvPr/>
          </p:nvSpPr>
          <p:spPr>
            <a:xfrm>
              <a:off x="725395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" name="Полилиния 110">
              <a:extLst>
                <a:ext uri="{FF2B5EF4-FFF2-40B4-BE49-F238E27FC236}">
                  <a16:creationId xmlns:a16="http://schemas.microsoft.com/office/drawing/2014/main" id="{05861AE1-98B2-D6DB-C1C4-26D298503A8A}"/>
                </a:ext>
              </a:extLst>
            </p:cNvPr>
            <p:cNvSpPr/>
            <p:nvPr/>
          </p:nvSpPr>
          <p:spPr>
            <a:xfrm>
              <a:off x="734323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" name="Полилиния 111">
              <a:extLst>
                <a:ext uri="{FF2B5EF4-FFF2-40B4-BE49-F238E27FC236}">
                  <a16:creationId xmlns:a16="http://schemas.microsoft.com/office/drawing/2014/main" id="{393C4112-AC62-934D-E668-AA1B5A4F3CCA}"/>
                </a:ext>
              </a:extLst>
            </p:cNvPr>
            <p:cNvSpPr/>
            <p:nvPr/>
          </p:nvSpPr>
          <p:spPr>
            <a:xfrm>
              <a:off x="7566524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" name="Полилиния 112">
              <a:extLst>
                <a:ext uri="{FF2B5EF4-FFF2-40B4-BE49-F238E27FC236}">
                  <a16:creationId xmlns:a16="http://schemas.microsoft.com/office/drawing/2014/main" id="{73A096AB-7010-FC80-ADB4-BB7ED2AD92C6}"/>
                </a:ext>
              </a:extLst>
            </p:cNvPr>
            <p:cNvSpPr/>
            <p:nvPr/>
          </p:nvSpPr>
          <p:spPr>
            <a:xfrm>
              <a:off x="765580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" name="Полилиния 113">
              <a:extLst>
                <a:ext uri="{FF2B5EF4-FFF2-40B4-BE49-F238E27FC236}">
                  <a16:creationId xmlns:a16="http://schemas.microsoft.com/office/drawing/2014/main" id="{3A785189-D0FB-B548-7393-F3D443FBECBB}"/>
                </a:ext>
              </a:extLst>
            </p:cNvPr>
            <p:cNvSpPr/>
            <p:nvPr/>
          </p:nvSpPr>
          <p:spPr>
            <a:xfrm>
              <a:off x="7700442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" name="Полилиния 114">
              <a:extLst>
                <a:ext uri="{FF2B5EF4-FFF2-40B4-BE49-F238E27FC236}">
                  <a16:creationId xmlns:a16="http://schemas.microsoft.com/office/drawing/2014/main" id="{8825FBE5-F988-15A5-9A99-291F74B3AA83}"/>
                </a:ext>
              </a:extLst>
            </p:cNvPr>
            <p:cNvSpPr/>
            <p:nvPr/>
          </p:nvSpPr>
          <p:spPr>
            <a:xfrm>
              <a:off x="774508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" name="Полилиния 115">
              <a:extLst>
                <a:ext uri="{FF2B5EF4-FFF2-40B4-BE49-F238E27FC236}">
                  <a16:creationId xmlns:a16="http://schemas.microsoft.com/office/drawing/2014/main" id="{A5FD7387-E0CC-4520-831A-B9A350370A5F}"/>
                </a:ext>
              </a:extLst>
            </p:cNvPr>
            <p:cNvSpPr/>
            <p:nvPr/>
          </p:nvSpPr>
          <p:spPr>
            <a:xfrm>
              <a:off x="778972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 116">
              <a:extLst>
                <a:ext uri="{FF2B5EF4-FFF2-40B4-BE49-F238E27FC236}">
                  <a16:creationId xmlns:a16="http://schemas.microsoft.com/office/drawing/2014/main" id="{E32EFB0C-E777-DCD7-1910-5BBEEEF748DC}"/>
                </a:ext>
              </a:extLst>
            </p:cNvPr>
            <p:cNvSpPr/>
            <p:nvPr/>
          </p:nvSpPr>
          <p:spPr>
            <a:xfrm>
              <a:off x="7834360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" name="Полилиния 117">
              <a:extLst>
                <a:ext uri="{FF2B5EF4-FFF2-40B4-BE49-F238E27FC236}">
                  <a16:creationId xmlns:a16="http://schemas.microsoft.com/office/drawing/2014/main" id="{A37C3103-445F-76E7-C110-DE718BA7886B}"/>
                </a:ext>
              </a:extLst>
            </p:cNvPr>
            <p:cNvSpPr/>
            <p:nvPr/>
          </p:nvSpPr>
          <p:spPr>
            <a:xfrm>
              <a:off x="649499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" name="Полилиния 118">
              <a:extLst>
                <a:ext uri="{FF2B5EF4-FFF2-40B4-BE49-F238E27FC236}">
                  <a16:creationId xmlns:a16="http://schemas.microsoft.com/office/drawing/2014/main" id="{E91CDF4B-5DF0-FA59-05CA-4CA9E998E1F1}"/>
                </a:ext>
              </a:extLst>
            </p:cNvPr>
            <p:cNvSpPr/>
            <p:nvPr/>
          </p:nvSpPr>
          <p:spPr>
            <a:xfrm>
              <a:off x="653963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" name="Полилиния 119">
              <a:extLst>
                <a:ext uri="{FF2B5EF4-FFF2-40B4-BE49-F238E27FC236}">
                  <a16:creationId xmlns:a16="http://schemas.microsoft.com/office/drawing/2014/main" id="{96AC3E34-BE5F-DBB9-202B-A09BE2AC5C01}"/>
                </a:ext>
              </a:extLst>
            </p:cNvPr>
            <p:cNvSpPr/>
            <p:nvPr/>
          </p:nvSpPr>
          <p:spPr>
            <a:xfrm>
              <a:off x="667354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" name="Полилиния 120">
              <a:extLst>
                <a:ext uri="{FF2B5EF4-FFF2-40B4-BE49-F238E27FC236}">
                  <a16:creationId xmlns:a16="http://schemas.microsoft.com/office/drawing/2014/main" id="{253BCCA3-44D5-A068-3D46-CB5803C037D7}"/>
                </a:ext>
              </a:extLst>
            </p:cNvPr>
            <p:cNvSpPr/>
            <p:nvPr/>
          </p:nvSpPr>
          <p:spPr>
            <a:xfrm>
              <a:off x="6852106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" name="Полилиния 121">
              <a:extLst>
                <a:ext uri="{FF2B5EF4-FFF2-40B4-BE49-F238E27FC236}">
                  <a16:creationId xmlns:a16="http://schemas.microsoft.com/office/drawing/2014/main" id="{10DCEF63-1601-EE77-F159-2CE408E2806F}"/>
                </a:ext>
              </a:extLst>
            </p:cNvPr>
            <p:cNvSpPr/>
            <p:nvPr/>
          </p:nvSpPr>
          <p:spPr>
            <a:xfrm>
              <a:off x="6941480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" name="Полилиния 122">
              <a:extLst>
                <a:ext uri="{FF2B5EF4-FFF2-40B4-BE49-F238E27FC236}">
                  <a16:creationId xmlns:a16="http://schemas.microsoft.com/office/drawing/2014/main" id="{348BEF39-51CE-A449-ECC2-B1FCBC670624}"/>
                </a:ext>
              </a:extLst>
            </p:cNvPr>
            <p:cNvSpPr/>
            <p:nvPr/>
          </p:nvSpPr>
          <p:spPr>
            <a:xfrm>
              <a:off x="7030758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" name="Полилиния 123">
              <a:extLst>
                <a:ext uri="{FF2B5EF4-FFF2-40B4-BE49-F238E27FC236}">
                  <a16:creationId xmlns:a16="http://schemas.microsoft.com/office/drawing/2014/main" id="{16DA196F-990D-46F0-0C51-12A205B6D812}"/>
                </a:ext>
              </a:extLst>
            </p:cNvPr>
            <p:cNvSpPr/>
            <p:nvPr/>
          </p:nvSpPr>
          <p:spPr>
            <a:xfrm>
              <a:off x="720931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" name="Полилиния 124">
              <a:extLst>
                <a:ext uri="{FF2B5EF4-FFF2-40B4-BE49-F238E27FC236}">
                  <a16:creationId xmlns:a16="http://schemas.microsoft.com/office/drawing/2014/main" id="{973A7080-9CB8-511A-3629-1A598831CA67}"/>
                </a:ext>
              </a:extLst>
            </p:cNvPr>
            <p:cNvSpPr/>
            <p:nvPr/>
          </p:nvSpPr>
          <p:spPr>
            <a:xfrm>
              <a:off x="725395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" name="Полилиния 125">
              <a:extLst>
                <a:ext uri="{FF2B5EF4-FFF2-40B4-BE49-F238E27FC236}">
                  <a16:creationId xmlns:a16="http://schemas.microsoft.com/office/drawing/2014/main" id="{09DBBB45-6442-C72B-377C-C5EEB2BF4056}"/>
                </a:ext>
              </a:extLst>
            </p:cNvPr>
            <p:cNvSpPr/>
            <p:nvPr/>
          </p:nvSpPr>
          <p:spPr>
            <a:xfrm>
              <a:off x="729859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" name="Полилиния 126">
              <a:extLst>
                <a:ext uri="{FF2B5EF4-FFF2-40B4-BE49-F238E27FC236}">
                  <a16:creationId xmlns:a16="http://schemas.microsoft.com/office/drawing/2014/main" id="{764C86E6-FD18-658E-E880-54AC0A02F78E}"/>
                </a:ext>
              </a:extLst>
            </p:cNvPr>
            <p:cNvSpPr/>
            <p:nvPr/>
          </p:nvSpPr>
          <p:spPr>
            <a:xfrm>
              <a:off x="7432512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" name="Полилиния 127">
              <a:extLst>
                <a:ext uri="{FF2B5EF4-FFF2-40B4-BE49-F238E27FC236}">
                  <a16:creationId xmlns:a16="http://schemas.microsoft.com/office/drawing/2014/main" id="{7E5A7A40-4D81-DA7A-4E1C-8026F6387F47}"/>
                </a:ext>
              </a:extLst>
            </p:cNvPr>
            <p:cNvSpPr/>
            <p:nvPr/>
          </p:nvSpPr>
          <p:spPr>
            <a:xfrm>
              <a:off x="747715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" name="Полилиния 128">
              <a:extLst>
                <a:ext uri="{FF2B5EF4-FFF2-40B4-BE49-F238E27FC236}">
                  <a16:creationId xmlns:a16="http://schemas.microsoft.com/office/drawing/2014/main" id="{55B36C43-9698-6F50-A863-ED38BB763E7D}"/>
                </a:ext>
              </a:extLst>
            </p:cNvPr>
            <p:cNvSpPr/>
            <p:nvPr/>
          </p:nvSpPr>
          <p:spPr>
            <a:xfrm>
              <a:off x="752188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" name="Полилиния 129">
              <a:extLst>
                <a:ext uri="{FF2B5EF4-FFF2-40B4-BE49-F238E27FC236}">
                  <a16:creationId xmlns:a16="http://schemas.microsoft.com/office/drawing/2014/main" id="{CB4C7803-5557-AC36-671F-DC6A81D56931}"/>
                </a:ext>
              </a:extLst>
            </p:cNvPr>
            <p:cNvSpPr/>
            <p:nvPr/>
          </p:nvSpPr>
          <p:spPr>
            <a:xfrm>
              <a:off x="756652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" name="Полилиния 130">
              <a:extLst>
                <a:ext uri="{FF2B5EF4-FFF2-40B4-BE49-F238E27FC236}">
                  <a16:creationId xmlns:a16="http://schemas.microsoft.com/office/drawing/2014/main" id="{CF4CE090-C845-C874-368D-FE01F9E6F8B5}"/>
                </a:ext>
              </a:extLst>
            </p:cNvPr>
            <p:cNvSpPr/>
            <p:nvPr/>
          </p:nvSpPr>
          <p:spPr>
            <a:xfrm>
              <a:off x="761116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" name="Полилиния 131">
              <a:extLst>
                <a:ext uri="{FF2B5EF4-FFF2-40B4-BE49-F238E27FC236}">
                  <a16:creationId xmlns:a16="http://schemas.microsoft.com/office/drawing/2014/main" id="{C32CA1FA-831E-BE25-8768-98F393AAE0E0}"/>
                </a:ext>
              </a:extLst>
            </p:cNvPr>
            <p:cNvSpPr/>
            <p:nvPr/>
          </p:nvSpPr>
          <p:spPr>
            <a:xfrm>
              <a:off x="765580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" name="Полилиния 132">
              <a:extLst>
                <a:ext uri="{FF2B5EF4-FFF2-40B4-BE49-F238E27FC236}">
                  <a16:creationId xmlns:a16="http://schemas.microsoft.com/office/drawing/2014/main" id="{EFFF860C-07B2-655D-B89C-40B69A1D58D4}"/>
                </a:ext>
              </a:extLst>
            </p:cNvPr>
            <p:cNvSpPr/>
            <p:nvPr/>
          </p:nvSpPr>
          <p:spPr>
            <a:xfrm>
              <a:off x="774508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" name="Полилиния 133">
              <a:extLst>
                <a:ext uri="{FF2B5EF4-FFF2-40B4-BE49-F238E27FC236}">
                  <a16:creationId xmlns:a16="http://schemas.microsoft.com/office/drawing/2014/main" id="{8D2F1159-D070-1DBA-4217-AC5FC8011E1F}"/>
                </a:ext>
              </a:extLst>
            </p:cNvPr>
            <p:cNvSpPr/>
            <p:nvPr/>
          </p:nvSpPr>
          <p:spPr>
            <a:xfrm>
              <a:off x="787899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" name="Полилиния 134">
              <a:extLst>
                <a:ext uri="{FF2B5EF4-FFF2-40B4-BE49-F238E27FC236}">
                  <a16:creationId xmlns:a16="http://schemas.microsoft.com/office/drawing/2014/main" id="{3C5E7457-133E-48B3-1809-CA1914EC9FE6}"/>
                </a:ext>
              </a:extLst>
            </p:cNvPr>
            <p:cNvSpPr/>
            <p:nvPr/>
          </p:nvSpPr>
          <p:spPr>
            <a:xfrm>
              <a:off x="671818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" name="Полилиния 135">
              <a:extLst>
                <a:ext uri="{FF2B5EF4-FFF2-40B4-BE49-F238E27FC236}">
                  <a16:creationId xmlns:a16="http://schemas.microsoft.com/office/drawing/2014/main" id="{62BAFD93-6172-D4AD-7A5B-E2226CEAAF83}"/>
                </a:ext>
              </a:extLst>
            </p:cNvPr>
            <p:cNvSpPr/>
            <p:nvPr/>
          </p:nvSpPr>
          <p:spPr>
            <a:xfrm>
              <a:off x="676282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" name="Полилиния 136">
              <a:extLst>
                <a:ext uri="{FF2B5EF4-FFF2-40B4-BE49-F238E27FC236}">
                  <a16:creationId xmlns:a16="http://schemas.microsoft.com/office/drawing/2014/main" id="{D9064AD5-686E-9D90-C412-1A71E0383775}"/>
                </a:ext>
              </a:extLst>
            </p:cNvPr>
            <p:cNvSpPr/>
            <p:nvPr/>
          </p:nvSpPr>
          <p:spPr>
            <a:xfrm>
              <a:off x="685210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" name="Полилиния 137">
              <a:extLst>
                <a:ext uri="{FF2B5EF4-FFF2-40B4-BE49-F238E27FC236}">
                  <a16:creationId xmlns:a16="http://schemas.microsoft.com/office/drawing/2014/main" id="{E2DEF5D6-4CD9-5544-B9C9-3FABB37F010F}"/>
                </a:ext>
              </a:extLst>
            </p:cNvPr>
            <p:cNvSpPr/>
            <p:nvPr/>
          </p:nvSpPr>
          <p:spPr>
            <a:xfrm>
              <a:off x="694148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" name="Полилиния 138">
              <a:extLst>
                <a:ext uri="{FF2B5EF4-FFF2-40B4-BE49-F238E27FC236}">
                  <a16:creationId xmlns:a16="http://schemas.microsoft.com/office/drawing/2014/main" id="{259D6511-F9C6-003E-2023-D73419BF80FD}"/>
                </a:ext>
              </a:extLst>
            </p:cNvPr>
            <p:cNvSpPr/>
            <p:nvPr/>
          </p:nvSpPr>
          <p:spPr>
            <a:xfrm>
              <a:off x="703075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" name="Полилиния 139">
              <a:extLst>
                <a:ext uri="{FF2B5EF4-FFF2-40B4-BE49-F238E27FC236}">
                  <a16:creationId xmlns:a16="http://schemas.microsoft.com/office/drawing/2014/main" id="{5C280713-6F1D-7334-EC09-D3FF77246591}"/>
                </a:ext>
              </a:extLst>
            </p:cNvPr>
            <p:cNvSpPr/>
            <p:nvPr/>
          </p:nvSpPr>
          <p:spPr>
            <a:xfrm>
              <a:off x="707539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" name="Полилиния 140">
              <a:extLst>
                <a:ext uri="{FF2B5EF4-FFF2-40B4-BE49-F238E27FC236}">
                  <a16:creationId xmlns:a16="http://schemas.microsoft.com/office/drawing/2014/main" id="{3DCD2A8D-DA55-4594-39A4-9DF3F549B20B}"/>
                </a:ext>
              </a:extLst>
            </p:cNvPr>
            <p:cNvSpPr/>
            <p:nvPr/>
          </p:nvSpPr>
          <p:spPr>
            <a:xfrm>
              <a:off x="7120037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" name="Полилиния 141">
              <a:extLst>
                <a:ext uri="{FF2B5EF4-FFF2-40B4-BE49-F238E27FC236}">
                  <a16:creationId xmlns:a16="http://schemas.microsoft.com/office/drawing/2014/main" id="{0B207389-5281-F539-B275-E23EE298D212}"/>
                </a:ext>
              </a:extLst>
            </p:cNvPr>
            <p:cNvSpPr/>
            <p:nvPr/>
          </p:nvSpPr>
          <p:spPr>
            <a:xfrm>
              <a:off x="716467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" name="Полилиния 142">
              <a:extLst>
                <a:ext uri="{FF2B5EF4-FFF2-40B4-BE49-F238E27FC236}">
                  <a16:creationId xmlns:a16="http://schemas.microsoft.com/office/drawing/2014/main" id="{7CCC54D2-A69E-3C17-EEC4-20295B08E67A}"/>
                </a:ext>
              </a:extLst>
            </p:cNvPr>
            <p:cNvSpPr/>
            <p:nvPr/>
          </p:nvSpPr>
          <p:spPr>
            <a:xfrm>
              <a:off x="7209315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" name="Полилиния 143">
              <a:extLst>
                <a:ext uri="{FF2B5EF4-FFF2-40B4-BE49-F238E27FC236}">
                  <a16:creationId xmlns:a16="http://schemas.microsoft.com/office/drawing/2014/main" id="{96723457-89AB-7D31-6532-E6E4A0A09E53}"/>
                </a:ext>
              </a:extLst>
            </p:cNvPr>
            <p:cNvSpPr/>
            <p:nvPr/>
          </p:nvSpPr>
          <p:spPr>
            <a:xfrm>
              <a:off x="729859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" name="Полилиния 144">
              <a:extLst>
                <a:ext uri="{FF2B5EF4-FFF2-40B4-BE49-F238E27FC236}">
                  <a16:creationId xmlns:a16="http://schemas.microsoft.com/office/drawing/2014/main" id="{BE2E41EE-92C0-26B6-1A1D-A67469F6CA07}"/>
                </a:ext>
              </a:extLst>
            </p:cNvPr>
            <p:cNvSpPr/>
            <p:nvPr/>
          </p:nvSpPr>
          <p:spPr>
            <a:xfrm>
              <a:off x="734323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" name="Полилиния 145">
              <a:extLst>
                <a:ext uri="{FF2B5EF4-FFF2-40B4-BE49-F238E27FC236}">
                  <a16:creationId xmlns:a16="http://schemas.microsoft.com/office/drawing/2014/main" id="{EEE8C9D9-940C-BE11-6B66-EC63A2552D1E}"/>
                </a:ext>
              </a:extLst>
            </p:cNvPr>
            <p:cNvSpPr/>
            <p:nvPr/>
          </p:nvSpPr>
          <p:spPr>
            <a:xfrm>
              <a:off x="738787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" name="Полилиния 146">
              <a:extLst>
                <a:ext uri="{FF2B5EF4-FFF2-40B4-BE49-F238E27FC236}">
                  <a16:creationId xmlns:a16="http://schemas.microsoft.com/office/drawing/2014/main" id="{E8734CF1-4B40-7CF9-839A-A2BCCD170D7C}"/>
                </a:ext>
              </a:extLst>
            </p:cNvPr>
            <p:cNvSpPr/>
            <p:nvPr/>
          </p:nvSpPr>
          <p:spPr>
            <a:xfrm>
              <a:off x="743251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" name="Полилиния 147">
              <a:extLst>
                <a:ext uri="{FF2B5EF4-FFF2-40B4-BE49-F238E27FC236}">
                  <a16:creationId xmlns:a16="http://schemas.microsoft.com/office/drawing/2014/main" id="{CBBDA2C7-75F2-9026-D0DB-B86E0DE8EE50}"/>
                </a:ext>
              </a:extLst>
            </p:cNvPr>
            <p:cNvSpPr/>
            <p:nvPr/>
          </p:nvSpPr>
          <p:spPr>
            <a:xfrm>
              <a:off x="747715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" name="Полилиния 148">
              <a:extLst>
                <a:ext uri="{FF2B5EF4-FFF2-40B4-BE49-F238E27FC236}">
                  <a16:creationId xmlns:a16="http://schemas.microsoft.com/office/drawing/2014/main" id="{81372B50-8191-3C5C-D661-2850D30F97F9}"/>
                </a:ext>
              </a:extLst>
            </p:cNvPr>
            <p:cNvSpPr/>
            <p:nvPr/>
          </p:nvSpPr>
          <p:spPr>
            <a:xfrm>
              <a:off x="761116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" name="Полилиния 149">
              <a:extLst>
                <a:ext uri="{FF2B5EF4-FFF2-40B4-BE49-F238E27FC236}">
                  <a16:creationId xmlns:a16="http://schemas.microsoft.com/office/drawing/2014/main" id="{CE656A6A-FF10-F2FD-7834-8D42DA052BDF}"/>
                </a:ext>
              </a:extLst>
            </p:cNvPr>
            <p:cNvSpPr/>
            <p:nvPr/>
          </p:nvSpPr>
          <p:spPr>
            <a:xfrm>
              <a:off x="765580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Полилиния 150">
              <a:extLst>
                <a:ext uri="{FF2B5EF4-FFF2-40B4-BE49-F238E27FC236}">
                  <a16:creationId xmlns:a16="http://schemas.microsoft.com/office/drawing/2014/main" id="{EE30700B-6F07-D0F1-FEBA-D9E97AB0F7D8}"/>
                </a:ext>
              </a:extLst>
            </p:cNvPr>
            <p:cNvSpPr/>
            <p:nvPr/>
          </p:nvSpPr>
          <p:spPr>
            <a:xfrm>
              <a:off x="770044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" name="Полилиния 151">
              <a:extLst>
                <a:ext uri="{FF2B5EF4-FFF2-40B4-BE49-F238E27FC236}">
                  <a16:creationId xmlns:a16="http://schemas.microsoft.com/office/drawing/2014/main" id="{AFBF9584-C0A9-42AE-54AA-76B4E56113B2}"/>
                </a:ext>
              </a:extLst>
            </p:cNvPr>
            <p:cNvSpPr/>
            <p:nvPr/>
          </p:nvSpPr>
          <p:spPr>
            <a:xfrm>
              <a:off x="774508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" name="Полилиния 152">
              <a:extLst>
                <a:ext uri="{FF2B5EF4-FFF2-40B4-BE49-F238E27FC236}">
                  <a16:creationId xmlns:a16="http://schemas.microsoft.com/office/drawing/2014/main" id="{D807A1C6-14FF-A588-A2F4-FD15632908FE}"/>
                </a:ext>
              </a:extLst>
            </p:cNvPr>
            <p:cNvSpPr/>
            <p:nvPr/>
          </p:nvSpPr>
          <p:spPr>
            <a:xfrm>
              <a:off x="778972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" name="Полилиния 153">
              <a:extLst>
                <a:ext uri="{FF2B5EF4-FFF2-40B4-BE49-F238E27FC236}">
                  <a16:creationId xmlns:a16="http://schemas.microsoft.com/office/drawing/2014/main" id="{50465C9A-6C0A-07C2-FB7D-B7CFF99E326A}"/>
                </a:ext>
              </a:extLst>
            </p:cNvPr>
            <p:cNvSpPr/>
            <p:nvPr/>
          </p:nvSpPr>
          <p:spPr>
            <a:xfrm>
              <a:off x="783436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" name="Полилиния 154">
              <a:extLst>
                <a:ext uri="{FF2B5EF4-FFF2-40B4-BE49-F238E27FC236}">
                  <a16:creationId xmlns:a16="http://schemas.microsoft.com/office/drawing/2014/main" id="{5776D4D3-D8E6-0199-4A4B-320287057ED4}"/>
                </a:ext>
              </a:extLst>
            </p:cNvPr>
            <p:cNvSpPr/>
            <p:nvPr/>
          </p:nvSpPr>
          <p:spPr>
            <a:xfrm>
              <a:off x="787899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" name="Полилиния 155">
              <a:extLst>
                <a:ext uri="{FF2B5EF4-FFF2-40B4-BE49-F238E27FC236}">
                  <a16:creationId xmlns:a16="http://schemas.microsoft.com/office/drawing/2014/main" id="{75C68EF0-4EC5-B389-532C-4E61E12C39AB}"/>
                </a:ext>
              </a:extLst>
            </p:cNvPr>
            <p:cNvSpPr/>
            <p:nvPr/>
          </p:nvSpPr>
          <p:spPr>
            <a:xfrm>
              <a:off x="649499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" name="Полилиния 156">
              <a:extLst>
                <a:ext uri="{FF2B5EF4-FFF2-40B4-BE49-F238E27FC236}">
                  <a16:creationId xmlns:a16="http://schemas.microsoft.com/office/drawing/2014/main" id="{4C6B3290-0827-6358-B2E3-5ABB5083497C}"/>
                </a:ext>
              </a:extLst>
            </p:cNvPr>
            <p:cNvSpPr/>
            <p:nvPr/>
          </p:nvSpPr>
          <p:spPr>
            <a:xfrm>
              <a:off x="653963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" name="Полилиния 157">
              <a:extLst>
                <a:ext uri="{FF2B5EF4-FFF2-40B4-BE49-F238E27FC236}">
                  <a16:creationId xmlns:a16="http://schemas.microsoft.com/office/drawing/2014/main" id="{92C7A409-0A61-C89C-9CF9-ED189AD0E729}"/>
                </a:ext>
              </a:extLst>
            </p:cNvPr>
            <p:cNvSpPr/>
            <p:nvPr/>
          </p:nvSpPr>
          <p:spPr>
            <a:xfrm>
              <a:off x="6628910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" name="Полилиния 158">
              <a:extLst>
                <a:ext uri="{FF2B5EF4-FFF2-40B4-BE49-F238E27FC236}">
                  <a16:creationId xmlns:a16="http://schemas.microsoft.com/office/drawing/2014/main" id="{D9C9FDBA-AA64-E084-00D0-F6342BEADF89}"/>
                </a:ext>
              </a:extLst>
            </p:cNvPr>
            <p:cNvSpPr/>
            <p:nvPr/>
          </p:nvSpPr>
          <p:spPr>
            <a:xfrm>
              <a:off x="667354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" name="Полилиния 159">
              <a:extLst>
                <a:ext uri="{FF2B5EF4-FFF2-40B4-BE49-F238E27FC236}">
                  <a16:creationId xmlns:a16="http://schemas.microsoft.com/office/drawing/2014/main" id="{D00AFAA6-1353-2B8B-9DD9-1E80436376E0}"/>
                </a:ext>
              </a:extLst>
            </p:cNvPr>
            <p:cNvSpPr/>
            <p:nvPr/>
          </p:nvSpPr>
          <p:spPr>
            <a:xfrm>
              <a:off x="685210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" name="Полилиния 160">
              <a:extLst>
                <a:ext uri="{FF2B5EF4-FFF2-40B4-BE49-F238E27FC236}">
                  <a16:creationId xmlns:a16="http://schemas.microsoft.com/office/drawing/2014/main" id="{F0D4895A-059E-87BB-DA9D-51711FB07321}"/>
                </a:ext>
              </a:extLst>
            </p:cNvPr>
            <p:cNvSpPr/>
            <p:nvPr/>
          </p:nvSpPr>
          <p:spPr>
            <a:xfrm>
              <a:off x="698611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" name="Полилиния 161">
              <a:extLst>
                <a:ext uri="{FF2B5EF4-FFF2-40B4-BE49-F238E27FC236}">
                  <a16:creationId xmlns:a16="http://schemas.microsoft.com/office/drawing/2014/main" id="{96B6FBDB-23B2-4930-5AF6-C4886BF9A64C}"/>
                </a:ext>
              </a:extLst>
            </p:cNvPr>
            <p:cNvSpPr/>
            <p:nvPr/>
          </p:nvSpPr>
          <p:spPr>
            <a:xfrm>
              <a:off x="7030758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" name="Полилиния 162">
              <a:extLst>
                <a:ext uri="{FF2B5EF4-FFF2-40B4-BE49-F238E27FC236}">
                  <a16:creationId xmlns:a16="http://schemas.microsoft.com/office/drawing/2014/main" id="{C0976B56-8B08-DFE9-3B98-CDD511FC4D61}"/>
                </a:ext>
              </a:extLst>
            </p:cNvPr>
            <p:cNvSpPr/>
            <p:nvPr/>
          </p:nvSpPr>
          <p:spPr>
            <a:xfrm>
              <a:off x="716467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" name="Полилиния 163">
              <a:extLst>
                <a:ext uri="{FF2B5EF4-FFF2-40B4-BE49-F238E27FC236}">
                  <a16:creationId xmlns:a16="http://schemas.microsoft.com/office/drawing/2014/main" id="{10BE8E9D-E8A1-27A0-8389-9801B5F9CB01}"/>
                </a:ext>
              </a:extLst>
            </p:cNvPr>
            <p:cNvSpPr/>
            <p:nvPr/>
          </p:nvSpPr>
          <p:spPr>
            <a:xfrm>
              <a:off x="720931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" name="Полилиния 164">
              <a:extLst>
                <a:ext uri="{FF2B5EF4-FFF2-40B4-BE49-F238E27FC236}">
                  <a16:creationId xmlns:a16="http://schemas.microsoft.com/office/drawing/2014/main" id="{1B402CEA-4A6A-828E-15E8-F5AE47126653}"/>
                </a:ext>
              </a:extLst>
            </p:cNvPr>
            <p:cNvSpPr/>
            <p:nvPr/>
          </p:nvSpPr>
          <p:spPr>
            <a:xfrm>
              <a:off x="725395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" name="Полилиния 165">
              <a:extLst>
                <a:ext uri="{FF2B5EF4-FFF2-40B4-BE49-F238E27FC236}">
                  <a16:creationId xmlns:a16="http://schemas.microsoft.com/office/drawing/2014/main" id="{86739307-9909-7B0D-F70D-BBE108EA8043}"/>
                </a:ext>
              </a:extLst>
            </p:cNvPr>
            <p:cNvSpPr/>
            <p:nvPr/>
          </p:nvSpPr>
          <p:spPr>
            <a:xfrm>
              <a:off x="729859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" name="Полилиния 166">
              <a:extLst>
                <a:ext uri="{FF2B5EF4-FFF2-40B4-BE49-F238E27FC236}">
                  <a16:creationId xmlns:a16="http://schemas.microsoft.com/office/drawing/2014/main" id="{2136FBEE-CEAC-986A-6BC7-002A8A5FD3F1}"/>
                </a:ext>
              </a:extLst>
            </p:cNvPr>
            <p:cNvSpPr/>
            <p:nvPr/>
          </p:nvSpPr>
          <p:spPr>
            <a:xfrm>
              <a:off x="734323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8" name="Полилиния 167">
              <a:extLst>
                <a:ext uri="{FF2B5EF4-FFF2-40B4-BE49-F238E27FC236}">
                  <a16:creationId xmlns:a16="http://schemas.microsoft.com/office/drawing/2014/main" id="{3378F68C-26DB-7C6A-5774-88DAD5766CEC}"/>
                </a:ext>
              </a:extLst>
            </p:cNvPr>
            <p:cNvSpPr/>
            <p:nvPr/>
          </p:nvSpPr>
          <p:spPr>
            <a:xfrm>
              <a:off x="7432512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9" name="Полилиния 168">
              <a:extLst>
                <a:ext uri="{FF2B5EF4-FFF2-40B4-BE49-F238E27FC236}">
                  <a16:creationId xmlns:a16="http://schemas.microsoft.com/office/drawing/2014/main" id="{4FB8F570-72EC-A69B-F910-92E7AC6766E3}"/>
                </a:ext>
              </a:extLst>
            </p:cNvPr>
            <p:cNvSpPr/>
            <p:nvPr/>
          </p:nvSpPr>
          <p:spPr>
            <a:xfrm>
              <a:off x="756652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0" name="Полилиния 169">
              <a:extLst>
                <a:ext uri="{FF2B5EF4-FFF2-40B4-BE49-F238E27FC236}">
                  <a16:creationId xmlns:a16="http://schemas.microsoft.com/office/drawing/2014/main" id="{93D006B0-B519-9D18-F4D6-5D7FF9344161}"/>
                </a:ext>
              </a:extLst>
            </p:cNvPr>
            <p:cNvSpPr/>
            <p:nvPr/>
          </p:nvSpPr>
          <p:spPr>
            <a:xfrm>
              <a:off x="765580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1" name="Полилиния 170">
              <a:extLst>
                <a:ext uri="{FF2B5EF4-FFF2-40B4-BE49-F238E27FC236}">
                  <a16:creationId xmlns:a16="http://schemas.microsoft.com/office/drawing/2014/main" id="{E1688A47-6600-9AEB-E2C3-BAFF46A44712}"/>
                </a:ext>
              </a:extLst>
            </p:cNvPr>
            <p:cNvSpPr/>
            <p:nvPr/>
          </p:nvSpPr>
          <p:spPr>
            <a:xfrm>
              <a:off x="774508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2" name="Полилиния 171">
              <a:extLst>
                <a:ext uri="{FF2B5EF4-FFF2-40B4-BE49-F238E27FC236}">
                  <a16:creationId xmlns:a16="http://schemas.microsoft.com/office/drawing/2014/main" id="{DFB65C79-1E28-80D7-C064-9E020E53E321}"/>
                </a:ext>
              </a:extLst>
            </p:cNvPr>
            <p:cNvSpPr/>
            <p:nvPr/>
          </p:nvSpPr>
          <p:spPr>
            <a:xfrm>
              <a:off x="649499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3" name="Полилиния 172">
              <a:extLst>
                <a:ext uri="{FF2B5EF4-FFF2-40B4-BE49-F238E27FC236}">
                  <a16:creationId xmlns:a16="http://schemas.microsoft.com/office/drawing/2014/main" id="{5688806E-EFD3-5F2E-E3CF-53381C13CCA8}"/>
                </a:ext>
              </a:extLst>
            </p:cNvPr>
            <p:cNvSpPr/>
            <p:nvPr/>
          </p:nvSpPr>
          <p:spPr>
            <a:xfrm>
              <a:off x="658427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4" name="Полилиния 173">
              <a:extLst>
                <a:ext uri="{FF2B5EF4-FFF2-40B4-BE49-F238E27FC236}">
                  <a16:creationId xmlns:a16="http://schemas.microsoft.com/office/drawing/2014/main" id="{0387C885-C534-4237-4187-F58D1384350D}"/>
                </a:ext>
              </a:extLst>
            </p:cNvPr>
            <p:cNvSpPr/>
            <p:nvPr/>
          </p:nvSpPr>
          <p:spPr>
            <a:xfrm>
              <a:off x="662891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5" name="Полилиния 174">
              <a:extLst>
                <a:ext uri="{FF2B5EF4-FFF2-40B4-BE49-F238E27FC236}">
                  <a16:creationId xmlns:a16="http://schemas.microsoft.com/office/drawing/2014/main" id="{F2B5746E-2410-BA3D-C160-AC1E49574E69}"/>
                </a:ext>
              </a:extLst>
            </p:cNvPr>
            <p:cNvSpPr/>
            <p:nvPr/>
          </p:nvSpPr>
          <p:spPr>
            <a:xfrm>
              <a:off x="667354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6" name="Полилиния 175">
              <a:extLst>
                <a:ext uri="{FF2B5EF4-FFF2-40B4-BE49-F238E27FC236}">
                  <a16:creationId xmlns:a16="http://schemas.microsoft.com/office/drawing/2014/main" id="{F96CC817-B386-74DF-25EE-8A26276681A7}"/>
                </a:ext>
              </a:extLst>
            </p:cNvPr>
            <p:cNvSpPr/>
            <p:nvPr/>
          </p:nvSpPr>
          <p:spPr>
            <a:xfrm>
              <a:off x="671818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7" name="Полилиния 176">
              <a:extLst>
                <a:ext uri="{FF2B5EF4-FFF2-40B4-BE49-F238E27FC236}">
                  <a16:creationId xmlns:a16="http://schemas.microsoft.com/office/drawing/2014/main" id="{958DDC3F-3485-E5A9-8461-52EEF2425AFE}"/>
                </a:ext>
              </a:extLst>
            </p:cNvPr>
            <p:cNvSpPr/>
            <p:nvPr/>
          </p:nvSpPr>
          <p:spPr>
            <a:xfrm>
              <a:off x="676282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8" name="Полилиния 177">
              <a:extLst>
                <a:ext uri="{FF2B5EF4-FFF2-40B4-BE49-F238E27FC236}">
                  <a16:creationId xmlns:a16="http://schemas.microsoft.com/office/drawing/2014/main" id="{099B7DB0-1D9F-2455-26A4-208B86B1C0FC}"/>
                </a:ext>
              </a:extLst>
            </p:cNvPr>
            <p:cNvSpPr/>
            <p:nvPr/>
          </p:nvSpPr>
          <p:spPr>
            <a:xfrm>
              <a:off x="694148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9" name="Полилиния 178">
              <a:extLst>
                <a:ext uri="{FF2B5EF4-FFF2-40B4-BE49-F238E27FC236}">
                  <a16:creationId xmlns:a16="http://schemas.microsoft.com/office/drawing/2014/main" id="{F4C67200-5C16-776D-60DA-9F88193DD135}"/>
                </a:ext>
              </a:extLst>
            </p:cNvPr>
            <p:cNvSpPr/>
            <p:nvPr/>
          </p:nvSpPr>
          <p:spPr>
            <a:xfrm>
              <a:off x="698611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0" name="Полилиния 179">
              <a:extLst>
                <a:ext uri="{FF2B5EF4-FFF2-40B4-BE49-F238E27FC236}">
                  <a16:creationId xmlns:a16="http://schemas.microsoft.com/office/drawing/2014/main" id="{FE98A9B2-1D99-81D2-91E7-40F21262215A}"/>
                </a:ext>
              </a:extLst>
            </p:cNvPr>
            <p:cNvSpPr/>
            <p:nvPr/>
          </p:nvSpPr>
          <p:spPr>
            <a:xfrm>
              <a:off x="703075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1" name="Полилиния 180">
              <a:extLst>
                <a:ext uri="{FF2B5EF4-FFF2-40B4-BE49-F238E27FC236}">
                  <a16:creationId xmlns:a16="http://schemas.microsoft.com/office/drawing/2014/main" id="{7A5CBED9-D735-B5DB-A2E4-0B0FD287FFC0}"/>
                </a:ext>
              </a:extLst>
            </p:cNvPr>
            <p:cNvSpPr/>
            <p:nvPr/>
          </p:nvSpPr>
          <p:spPr>
            <a:xfrm>
              <a:off x="7120037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2" name="Полилиния 181">
              <a:extLst>
                <a:ext uri="{FF2B5EF4-FFF2-40B4-BE49-F238E27FC236}">
                  <a16:creationId xmlns:a16="http://schemas.microsoft.com/office/drawing/2014/main" id="{4BC307EE-7B7A-C215-8ADF-16D50069D92C}"/>
                </a:ext>
              </a:extLst>
            </p:cNvPr>
            <p:cNvSpPr/>
            <p:nvPr/>
          </p:nvSpPr>
          <p:spPr>
            <a:xfrm>
              <a:off x="7209315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" name="Полилиния 182">
              <a:extLst>
                <a:ext uri="{FF2B5EF4-FFF2-40B4-BE49-F238E27FC236}">
                  <a16:creationId xmlns:a16="http://schemas.microsoft.com/office/drawing/2014/main" id="{62791FB7-B328-928E-BAB0-B2385B632B1B}"/>
                </a:ext>
              </a:extLst>
            </p:cNvPr>
            <p:cNvSpPr/>
            <p:nvPr/>
          </p:nvSpPr>
          <p:spPr>
            <a:xfrm>
              <a:off x="738787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4" name="Полилиния 183">
              <a:extLst>
                <a:ext uri="{FF2B5EF4-FFF2-40B4-BE49-F238E27FC236}">
                  <a16:creationId xmlns:a16="http://schemas.microsoft.com/office/drawing/2014/main" id="{5170AB40-2AC5-1869-911A-FBAF3825A98F}"/>
                </a:ext>
              </a:extLst>
            </p:cNvPr>
            <p:cNvSpPr/>
            <p:nvPr/>
          </p:nvSpPr>
          <p:spPr>
            <a:xfrm>
              <a:off x="743251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5" name="Полилиния 184">
              <a:extLst>
                <a:ext uri="{FF2B5EF4-FFF2-40B4-BE49-F238E27FC236}">
                  <a16:creationId xmlns:a16="http://schemas.microsoft.com/office/drawing/2014/main" id="{E8D5B912-58A6-178E-3429-701406F9A2EC}"/>
                </a:ext>
              </a:extLst>
            </p:cNvPr>
            <p:cNvSpPr/>
            <p:nvPr/>
          </p:nvSpPr>
          <p:spPr>
            <a:xfrm>
              <a:off x="747715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6" name="Полилиния 185">
              <a:extLst>
                <a:ext uri="{FF2B5EF4-FFF2-40B4-BE49-F238E27FC236}">
                  <a16:creationId xmlns:a16="http://schemas.microsoft.com/office/drawing/2014/main" id="{D0B5AB8C-F821-F204-CAB4-556807F376A9}"/>
                </a:ext>
              </a:extLst>
            </p:cNvPr>
            <p:cNvSpPr/>
            <p:nvPr/>
          </p:nvSpPr>
          <p:spPr>
            <a:xfrm>
              <a:off x="756652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7" name="Полилиния 186">
              <a:extLst>
                <a:ext uri="{FF2B5EF4-FFF2-40B4-BE49-F238E27FC236}">
                  <a16:creationId xmlns:a16="http://schemas.microsoft.com/office/drawing/2014/main" id="{3B7E88F4-32A1-0DC9-7E3E-74C577AFEB76}"/>
                </a:ext>
              </a:extLst>
            </p:cNvPr>
            <p:cNvSpPr/>
            <p:nvPr/>
          </p:nvSpPr>
          <p:spPr>
            <a:xfrm>
              <a:off x="761116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8" name="Полилиния 187">
              <a:extLst>
                <a:ext uri="{FF2B5EF4-FFF2-40B4-BE49-F238E27FC236}">
                  <a16:creationId xmlns:a16="http://schemas.microsoft.com/office/drawing/2014/main" id="{A1E7C260-F29F-62AD-9D55-5D2FCE3AB39F}"/>
                </a:ext>
              </a:extLst>
            </p:cNvPr>
            <p:cNvSpPr/>
            <p:nvPr/>
          </p:nvSpPr>
          <p:spPr>
            <a:xfrm>
              <a:off x="765580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9" name="Полилиния 188">
              <a:extLst>
                <a:ext uri="{FF2B5EF4-FFF2-40B4-BE49-F238E27FC236}">
                  <a16:creationId xmlns:a16="http://schemas.microsoft.com/office/drawing/2014/main" id="{C8AB9071-2C5E-ED43-760D-CD0877B16A2C}"/>
                </a:ext>
              </a:extLst>
            </p:cNvPr>
            <p:cNvSpPr/>
            <p:nvPr/>
          </p:nvSpPr>
          <p:spPr>
            <a:xfrm>
              <a:off x="770044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0" name="Полилиния 189">
              <a:extLst>
                <a:ext uri="{FF2B5EF4-FFF2-40B4-BE49-F238E27FC236}">
                  <a16:creationId xmlns:a16="http://schemas.microsoft.com/office/drawing/2014/main" id="{9EE3B8F9-8C3B-998C-7B3B-58BAB27238E5}"/>
                </a:ext>
              </a:extLst>
            </p:cNvPr>
            <p:cNvSpPr/>
            <p:nvPr/>
          </p:nvSpPr>
          <p:spPr>
            <a:xfrm>
              <a:off x="774508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1" name="Полилиния 190">
              <a:extLst>
                <a:ext uri="{FF2B5EF4-FFF2-40B4-BE49-F238E27FC236}">
                  <a16:creationId xmlns:a16="http://schemas.microsoft.com/office/drawing/2014/main" id="{0524E18B-DACE-13DB-8215-C3E6CAA68700}"/>
                </a:ext>
              </a:extLst>
            </p:cNvPr>
            <p:cNvSpPr/>
            <p:nvPr/>
          </p:nvSpPr>
          <p:spPr>
            <a:xfrm>
              <a:off x="787899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2" name="Полилиния 191">
              <a:extLst>
                <a:ext uri="{FF2B5EF4-FFF2-40B4-BE49-F238E27FC236}">
                  <a16:creationId xmlns:a16="http://schemas.microsoft.com/office/drawing/2014/main" id="{4BC13619-8F22-BE47-7356-7B2A479A5E83}"/>
                </a:ext>
              </a:extLst>
            </p:cNvPr>
            <p:cNvSpPr/>
            <p:nvPr/>
          </p:nvSpPr>
          <p:spPr>
            <a:xfrm>
              <a:off x="645035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3" name="Полилиния 192">
              <a:extLst>
                <a:ext uri="{FF2B5EF4-FFF2-40B4-BE49-F238E27FC236}">
                  <a16:creationId xmlns:a16="http://schemas.microsoft.com/office/drawing/2014/main" id="{57BAA716-0CF8-ABCD-AFD1-05AF0C52475A}"/>
                </a:ext>
              </a:extLst>
            </p:cNvPr>
            <p:cNvSpPr/>
            <p:nvPr/>
          </p:nvSpPr>
          <p:spPr>
            <a:xfrm>
              <a:off x="6941480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4" name="Полилиния 193">
              <a:extLst>
                <a:ext uri="{FF2B5EF4-FFF2-40B4-BE49-F238E27FC236}">
                  <a16:creationId xmlns:a16="http://schemas.microsoft.com/office/drawing/2014/main" id="{AE173D05-DFE5-A8A2-C267-494C3A33120D}"/>
                </a:ext>
              </a:extLst>
            </p:cNvPr>
            <p:cNvSpPr/>
            <p:nvPr/>
          </p:nvSpPr>
          <p:spPr>
            <a:xfrm>
              <a:off x="698611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5" name="Полилиния 194">
              <a:extLst>
                <a:ext uri="{FF2B5EF4-FFF2-40B4-BE49-F238E27FC236}">
                  <a16:creationId xmlns:a16="http://schemas.microsoft.com/office/drawing/2014/main" id="{2F77A747-A8B2-3493-D4E7-CFC26E8D6D63}"/>
                </a:ext>
              </a:extLst>
            </p:cNvPr>
            <p:cNvSpPr/>
            <p:nvPr/>
          </p:nvSpPr>
          <p:spPr>
            <a:xfrm>
              <a:off x="703075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6" name="Полилиния 195">
              <a:extLst>
                <a:ext uri="{FF2B5EF4-FFF2-40B4-BE49-F238E27FC236}">
                  <a16:creationId xmlns:a16="http://schemas.microsoft.com/office/drawing/2014/main" id="{7ABA9A1D-FD0C-83DF-1CFB-9AF56148AC5B}"/>
                </a:ext>
              </a:extLst>
            </p:cNvPr>
            <p:cNvSpPr/>
            <p:nvPr/>
          </p:nvSpPr>
          <p:spPr>
            <a:xfrm>
              <a:off x="707539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7" name="Полилиния 196">
              <a:extLst>
                <a:ext uri="{FF2B5EF4-FFF2-40B4-BE49-F238E27FC236}">
                  <a16:creationId xmlns:a16="http://schemas.microsoft.com/office/drawing/2014/main" id="{AFFF6306-7B4E-D27B-3445-1CA9796C8FAB}"/>
                </a:ext>
              </a:extLst>
            </p:cNvPr>
            <p:cNvSpPr/>
            <p:nvPr/>
          </p:nvSpPr>
          <p:spPr>
            <a:xfrm>
              <a:off x="7164676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8" name="Полилиния 197">
              <a:extLst>
                <a:ext uri="{FF2B5EF4-FFF2-40B4-BE49-F238E27FC236}">
                  <a16:creationId xmlns:a16="http://schemas.microsoft.com/office/drawing/2014/main" id="{21D1D9BB-3C00-1496-5A0A-CB3AA4259DAB}"/>
                </a:ext>
              </a:extLst>
            </p:cNvPr>
            <p:cNvSpPr/>
            <p:nvPr/>
          </p:nvSpPr>
          <p:spPr>
            <a:xfrm>
              <a:off x="720931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9" name="Полилиния 198">
              <a:extLst>
                <a:ext uri="{FF2B5EF4-FFF2-40B4-BE49-F238E27FC236}">
                  <a16:creationId xmlns:a16="http://schemas.microsoft.com/office/drawing/2014/main" id="{AB5F44F0-D14E-1EA2-D582-BE3521EA184D}"/>
                </a:ext>
              </a:extLst>
            </p:cNvPr>
            <p:cNvSpPr/>
            <p:nvPr/>
          </p:nvSpPr>
          <p:spPr>
            <a:xfrm>
              <a:off x="725395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0" name="Полилиния 199">
              <a:extLst>
                <a:ext uri="{FF2B5EF4-FFF2-40B4-BE49-F238E27FC236}">
                  <a16:creationId xmlns:a16="http://schemas.microsoft.com/office/drawing/2014/main" id="{BAA31D16-D3C9-B4A7-9BBE-EB8CCBE1F3AD}"/>
                </a:ext>
              </a:extLst>
            </p:cNvPr>
            <p:cNvSpPr/>
            <p:nvPr/>
          </p:nvSpPr>
          <p:spPr>
            <a:xfrm>
              <a:off x="729859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1" name="Полилиния 200">
              <a:extLst>
                <a:ext uri="{FF2B5EF4-FFF2-40B4-BE49-F238E27FC236}">
                  <a16:creationId xmlns:a16="http://schemas.microsoft.com/office/drawing/2014/main" id="{D320B377-FB95-9CFB-A59B-3EACF448868D}"/>
                </a:ext>
              </a:extLst>
            </p:cNvPr>
            <p:cNvSpPr/>
            <p:nvPr/>
          </p:nvSpPr>
          <p:spPr>
            <a:xfrm>
              <a:off x="734323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2" name="Полилиния 201">
              <a:extLst>
                <a:ext uri="{FF2B5EF4-FFF2-40B4-BE49-F238E27FC236}">
                  <a16:creationId xmlns:a16="http://schemas.microsoft.com/office/drawing/2014/main" id="{D2505CC1-F467-B3A5-5E38-A17570D73E7A}"/>
                </a:ext>
              </a:extLst>
            </p:cNvPr>
            <p:cNvSpPr/>
            <p:nvPr/>
          </p:nvSpPr>
          <p:spPr>
            <a:xfrm>
              <a:off x="738787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3" name="Полилиния 202">
              <a:extLst>
                <a:ext uri="{FF2B5EF4-FFF2-40B4-BE49-F238E27FC236}">
                  <a16:creationId xmlns:a16="http://schemas.microsoft.com/office/drawing/2014/main" id="{77FB350B-F9BF-4AE9-EE46-F8E493C89E64}"/>
                </a:ext>
              </a:extLst>
            </p:cNvPr>
            <p:cNvSpPr/>
            <p:nvPr/>
          </p:nvSpPr>
          <p:spPr>
            <a:xfrm>
              <a:off x="743251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4" name="Полилиния 203">
              <a:extLst>
                <a:ext uri="{FF2B5EF4-FFF2-40B4-BE49-F238E27FC236}">
                  <a16:creationId xmlns:a16="http://schemas.microsoft.com/office/drawing/2014/main" id="{C6862E07-936E-8B31-C006-703535E17B04}"/>
                </a:ext>
              </a:extLst>
            </p:cNvPr>
            <p:cNvSpPr/>
            <p:nvPr/>
          </p:nvSpPr>
          <p:spPr>
            <a:xfrm>
              <a:off x="747715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5" name="Полилиния 204">
              <a:extLst>
                <a:ext uri="{FF2B5EF4-FFF2-40B4-BE49-F238E27FC236}">
                  <a16:creationId xmlns:a16="http://schemas.microsoft.com/office/drawing/2014/main" id="{4D75FB46-5A81-2B71-75C2-E8175B811925}"/>
                </a:ext>
              </a:extLst>
            </p:cNvPr>
            <p:cNvSpPr/>
            <p:nvPr/>
          </p:nvSpPr>
          <p:spPr>
            <a:xfrm>
              <a:off x="752188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6" name="Полилиния 205">
              <a:extLst>
                <a:ext uri="{FF2B5EF4-FFF2-40B4-BE49-F238E27FC236}">
                  <a16:creationId xmlns:a16="http://schemas.microsoft.com/office/drawing/2014/main" id="{5E58B157-12E1-E818-74E3-0FB3E755938F}"/>
                </a:ext>
              </a:extLst>
            </p:cNvPr>
            <p:cNvSpPr/>
            <p:nvPr/>
          </p:nvSpPr>
          <p:spPr>
            <a:xfrm>
              <a:off x="761116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7" name="Полилиния 206">
              <a:extLst>
                <a:ext uri="{FF2B5EF4-FFF2-40B4-BE49-F238E27FC236}">
                  <a16:creationId xmlns:a16="http://schemas.microsoft.com/office/drawing/2014/main" id="{EA6CAEF7-D3CC-3976-5F18-EF4492EE96B7}"/>
                </a:ext>
              </a:extLst>
            </p:cNvPr>
            <p:cNvSpPr/>
            <p:nvPr/>
          </p:nvSpPr>
          <p:spPr>
            <a:xfrm>
              <a:off x="774508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8" name="Полилиния 207">
              <a:extLst>
                <a:ext uri="{FF2B5EF4-FFF2-40B4-BE49-F238E27FC236}">
                  <a16:creationId xmlns:a16="http://schemas.microsoft.com/office/drawing/2014/main" id="{DABB295D-A09A-40BC-EC16-535B48EF16B2}"/>
                </a:ext>
              </a:extLst>
            </p:cNvPr>
            <p:cNvSpPr/>
            <p:nvPr/>
          </p:nvSpPr>
          <p:spPr>
            <a:xfrm>
              <a:off x="787899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9" name="Полилиния 208">
              <a:extLst>
                <a:ext uri="{FF2B5EF4-FFF2-40B4-BE49-F238E27FC236}">
                  <a16:creationId xmlns:a16="http://schemas.microsoft.com/office/drawing/2014/main" id="{44C01F2C-778B-FBFA-CE29-FCFE94BA8F8C}"/>
                </a:ext>
              </a:extLst>
            </p:cNvPr>
            <p:cNvSpPr/>
            <p:nvPr/>
          </p:nvSpPr>
          <p:spPr>
            <a:xfrm>
              <a:off x="649499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0" name="Полилиния 209">
              <a:extLst>
                <a:ext uri="{FF2B5EF4-FFF2-40B4-BE49-F238E27FC236}">
                  <a16:creationId xmlns:a16="http://schemas.microsoft.com/office/drawing/2014/main" id="{BEA11414-7F52-47D7-3A22-65631170CF9A}"/>
                </a:ext>
              </a:extLst>
            </p:cNvPr>
            <p:cNvSpPr/>
            <p:nvPr/>
          </p:nvSpPr>
          <p:spPr>
            <a:xfrm>
              <a:off x="653963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1" name="Полилиния 210">
              <a:extLst>
                <a:ext uri="{FF2B5EF4-FFF2-40B4-BE49-F238E27FC236}">
                  <a16:creationId xmlns:a16="http://schemas.microsoft.com/office/drawing/2014/main" id="{72407101-2706-A001-A664-E3E4EF8ED531}"/>
                </a:ext>
              </a:extLst>
            </p:cNvPr>
            <p:cNvSpPr/>
            <p:nvPr/>
          </p:nvSpPr>
          <p:spPr>
            <a:xfrm>
              <a:off x="658427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2" name="Полилиния 211">
              <a:extLst>
                <a:ext uri="{FF2B5EF4-FFF2-40B4-BE49-F238E27FC236}">
                  <a16:creationId xmlns:a16="http://schemas.microsoft.com/office/drawing/2014/main" id="{43FB7881-681B-251C-8C82-999532E04E8A}"/>
                </a:ext>
              </a:extLst>
            </p:cNvPr>
            <p:cNvSpPr/>
            <p:nvPr/>
          </p:nvSpPr>
          <p:spPr>
            <a:xfrm>
              <a:off x="6628910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3" name="Полилиния 212">
              <a:extLst>
                <a:ext uri="{FF2B5EF4-FFF2-40B4-BE49-F238E27FC236}">
                  <a16:creationId xmlns:a16="http://schemas.microsoft.com/office/drawing/2014/main" id="{26511C41-5B94-F6F7-337B-5CD00E85475E}"/>
                </a:ext>
              </a:extLst>
            </p:cNvPr>
            <p:cNvSpPr/>
            <p:nvPr/>
          </p:nvSpPr>
          <p:spPr>
            <a:xfrm>
              <a:off x="671818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4" name="Полилиния 213">
              <a:extLst>
                <a:ext uri="{FF2B5EF4-FFF2-40B4-BE49-F238E27FC236}">
                  <a16:creationId xmlns:a16="http://schemas.microsoft.com/office/drawing/2014/main" id="{D334D12A-5AA5-DCA2-559D-8D5EC664B5C1}"/>
                </a:ext>
              </a:extLst>
            </p:cNvPr>
            <p:cNvSpPr/>
            <p:nvPr/>
          </p:nvSpPr>
          <p:spPr>
            <a:xfrm>
              <a:off x="676282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5" name="Полилиния 214">
              <a:extLst>
                <a:ext uri="{FF2B5EF4-FFF2-40B4-BE49-F238E27FC236}">
                  <a16:creationId xmlns:a16="http://schemas.microsoft.com/office/drawing/2014/main" id="{A0D3FA9F-6399-2545-2331-BDCE16DBED84}"/>
                </a:ext>
              </a:extLst>
            </p:cNvPr>
            <p:cNvSpPr/>
            <p:nvPr/>
          </p:nvSpPr>
          <p:spPr>
            <a:xfrm>
              <a:off x="698611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6" name="Полилиния 215">
              <a:extLst>
                <a:ext uri="{FF2B5EF4-FFF2-40B4-BE49-F238E27FC236}">
                  <a16:creationId xmlns:a16="http://schemas.microsoft.com/office/drawing/2014/main" id="{F5FD6456-158C-D169-0265-5A98B2329EA7}"/>
                </a:ext>
              </a:extLst>
            </p:cNvPr>
            <p:cNvSpPr/>
            <p:nvPr/>
          </p:nvSpPr>
          <p:spPr>
            <a:xfrm>
              <a:off x="707539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7" name="Полилиния 216">
              <a:extLst>
                <a:ext uri="{FF2B5EF4-FFF2-40B4-BE49-F238E27FC236}">
                  <a16:creationId xmlns:a16="http://schemas.microsoft.com/office/drawing/2014/main" id="{A8DB75FC-D3CB-2629-4538-7B08669A75ED}"/>
                </a:ext>
              </a:extLst>
            </p:cNvPr>
            <p:cNvSpPr/>
            <p:nvPr/>
          </p:nvSpPr>
          <p:spPr>
            <a:xfrm>
              <a:off x="7120037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8" name="Полилиния 217">
              <a:extLst>
                <a:ext uri="{FF2B5EF4-FFF2-40B4-BE49-F238E27FC236}">
                  <a16:creationId xmlns:a16="http://schemas.microsoft.com/office/drawing/2014/main" id="{9EECB70B-A297-E1C0-7BEE-CFDAEE5E3B0F}"/>
                </a:ext>
              </a:extLst>
            </p:cNvPr>
            <p:cNvSpPr/>
            <p:nvPr/>
          </p:nvSpPr>
          <p:spPr>
            <a:xfrm>
              <a:off x="7164676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9" name="Полилиния 218">
              <a:extLst>
                <a:ext uri="{FF2B5EF4-FFF2-40B4-BE49-F238E27FC236}">
                  <a16:creationId xmlns:a16="http://schemas.microsoft.com/office/drawing/2014/main" id="{D2CEC86A-F82F-5600-CCBC-F014003EAD16}"/>
                </a:ext>
              </a:extLst>
            </p:cNvPr>
            <p:cNvSpPr/>
            <p:nvPr/>
          </p:nvSpPr>
          <p:spPr>
            <a:xfrm>
              <a:off x="720931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0" name="Полилиния 219">
              <a:extLst>
                <a:ext uri="{FF2B5EF4-FFF2-40B4-BE49-F238E27FC236}">
                  <a16:creationId xmlns:a16="http://schemas.microsoft.com/office/drawing/2014/main" id="{344BF45B-1E00-7E5F-557D-DC1C1567405D}"/>
                </a:ext>
              </a:extLst>
            </p:cNvPr>
            <p:cNvSpPr/>
            <p:nvPr/>
          </p:nvSpPr>
          <p:spPr>
            <a:xfrm>
              <a:off x="725395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1" name="Полилиния 220">
              <a:extLst>
                <a:ext uri="{FF2B5EF4-FFF2-40B4-BE49-F238E27FC236}">
                  <a16:creationId xmlns:a16="http://schemas.microsoft.com/office/drawing/2014/main" id="{2EBBC00F-0C15-B376-B4CD-74126CB983DA}"/>
                </a:ext>
              </a:extLst>
            </p:cNvPr>
            <p:cNvSpPr/>
            <p:nvPr/>
          </p:nvSpPr>
          <p:spPr>
            <a:xfrm>
              <a:off x="734323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2" name="Полилиния 221">
              <a:extLst>
                <a:ext uri="{FF2B5EF4-FFF2-40B4-BE49-F238E27FC236}">
                  <a16:creationId xmlns:a16="http://schemas.microsoft.com/office/drawing/2014/main" id="{6AE8D584-DB17-7338-9A3E-F9887332999A}"/>
                </a:ext>
              </a:extLst>
            </p:cNvPr>
            <p:cNvSpPr/>
            <p:nvPr/>
          </p:nvSpPr>
          <p:spPr>
            <a:xfrm>
              <a:off x="747715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3" name="Полилиния 222">
              <a:extLst>
                <a:ext uri="{FF2B5EF4-FFF2-40B4-BE49-F238E27FC236}">
                  <a16:creationId xmlns:a16="http://schemas.microsoft.com/office/drawing/2014/main" id="{9DE64A35-9E19-8E73-0912-CB8902CC778F}"/>
                </a:ext>
              </a:extLst>
            </p:cNvPr>
            <p:cNvSpPr/>
            <p:nvPr/>
          </p:nvSpPr>
          <p:spPr>
            <a:xfrm>
              <a:off x="7566524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4" name="Полилиния 223">
              <a:extLst>
                <a:ext uri="{FF2B5EF4-FFF2-40B4-BE49-F238E27FC236}">
                  <a16:creationId xmlns:a16="http://schemas.microsoft.com/office/drawing/2014/main" id="{537C2437-9424-8F4B-9E04-D6F93B67B757}"/>
                </a:ext>
              </a:extLst>
            </p:cNvPr>
            <p:cNvSpPr/>
            <p:nvPr/>
          </p:nvSpPr>
          <p:spPr>
            <a:xfrm>
              <a:off x="778972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5" name="Полилиния 224">
              <a:extLst>
                <a:ext uri="{FF2B5EF4-FFF2-40B4-BE49-F238E27FC236}">
                  <a16:creationId xmlns:a16="http://schemas.microsoft.com/office/drawing/2014/main" id="{104151B3-606E-EB61-EB87-7007923E1F56}"/>
                </a:ext>
              </a:extLst>
            </p:cNvPr>
            <p:cNvSpPr/>
            <p:nvPr/>
          </p:nvSpPr>
          <p:spPr>
            <a:xfrm>
              <a:off x="787899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6" name="Полилиния 225">
              <a:extLst>
                <a:ext uri="{FF2B5EF4-FFF2-40B4-BE49-F238E27FC236}">
                  <a16:creationId xmlns:a16="http://schemas.microsoft.com/office/drawing/2014/main" id="{E7ACC6BE-304E-15F9-D47A-9F53906C2829}"/>
                </a:ext>
              </a:extLst>
            </p:cNvPr>
            <p:cNvSpPr/>
            <p:nvPr/>
          </p:nvSpPr>
          <p:spPr>
            <a:xfrm>
              <a:off x="645035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7" name="Полилиния 226">
              <a:extLst>
                <a:ext uri="{FF2B5EF4-FFF2-40B4-BE49-F238E27FC236}">
                  <a16:creationId xmlns:a16="http://schemas.microsoft.com/office/drawing/2014/main" id="{AC6390AD-2178-ED39-173A-45845F7812BF}"/>
                </a:ext>
              </a:extLst>
            </p:cNvPr>
            <p:cNvSpPr/>
            <p:nvPr/>
          </p:nvSpPr>
          <p:spPr>
            <a:xfrm>
              <a:off x="649499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8" name="Полилиния 227">
              <a:extLst>
                <a:ext uri="{FF2B5EF4-FFF2-40B4-BE49-F238E27FC236}">
                  <a16:creationId xmlns:a16="http://schemas.microsoft.com/office/drawing/2014/main" id="{F95F8BE8-F25D-8FB9-3602-4882820B17D8}"/>
                </a:ext>
              </a:extLst>
            </p:cNvPr>
            <p:cNvSpPr/>
            <p:nvPr/>
          </p:nvSpPr>
          <p:spPr>
            <a:xfrm>
              <a:off x="653963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9" name="Полилиния 228">
              <a:extLst>
                <a:ext uri="{FF2B5EF4-FFF2-40B4-BE49-F238E27FC236}">
                  <a16:creationId xmlns:a16="http://schemas.microsoft.com/office/drawing/2014/main" id="{B756CF05-39D0-05C8-1D36-101F04C3E666}"/>
                </a:ext>
              </a:extLst>
            </p:cNvPr>
            <p:cNvSpPr/>
            <p:nvPr/>
          </p:nvSpPr>
          <p:spPr>
            <a:xfrm>
              <a:off x="658427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0" name="Полилиния 229">
              <a:extLst>
                <a:ext uri="{FF2B5EF4-FFF2-40B4-BE49-F238E27FC236}">
                  <a16:creationId xmlns:a16="http://schemas.microsoft.com/office/drawing/2014/main" id="{3B1B314B-E48F-6415-8273-E01F1BC4F9E7}"/>
                </a:ext>
              </a:extLst>
            </p:cNvPr>
            <p:cNvSpPr/>
            <p:nvPr/>
          </p:nvSpPr>
          <p:spPr>
            <a:xfrm>
              <a:off x="662891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1" name="Полилиния 230">
              <a:extLst>
                <a:ext uri="{FF2B5EF4-FFF2-40B4-BE49-F238E27FC236}">
                  <a16:creationId xmlns:a16="http://schemas.microsoft.com/office/drawing/2014/main" id="{ADE858D7-AB68-4E47-71A4-6B3EC4A1315F}"/>
                </a:ext>
              </a:extLst>
            </p:cNvPr>
            <p:cNvSpPr/>
            <p:nvPr/>
          </p:nvSpPr>
          <p:spPr>
            <a:xfrm>
              <a:off x="676282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2" name="Полилиния 231">
              <a:extLst>
                <a:ext uri="{FF2B5EF4-FFF2-40B4-BE49-F238E27FC236}">
                  <a16:creationId xmlns:a16="http://schemas.microsoft.com/office/drawing/2014/main" id="{2C6F10E5-6907-D466-6C97-C83C200949B4}"/>
                </a:ext>
              </a:extLst>
            </p:cNvPr>
            <p:cNvSpPr/>
            <p:nvPr/>
          </p:nvSpPr>
          <p:spPr>
            <a:xfrm>
              <a:off x="680746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3" name="Полилиния 232">
              <a:extLst>
                <a:ext uri="{FF2B5EF4-FFF2-40B4-BE49-F238E27FC236}">
                  <a16:creationId xmlns:a16="http://schemas.microsoft.com/office/drawing/2014/main" id="{CC2C53B7-95D4-F851-410E-7F702FBECEAB}"/>
                </a:ext>
              </a:extLst>
            </p:cNvPr>
            <p:cNvSpPr/>
            <p:nvPr/>
          </p:nvSpPr>
          <p:spPr>
            <a:xfrm>
              <a:off x="689684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4" name="Полилиния 233">
              <a:extLst>
                <a:ext uri="{FF2B5EF4-FFF2-40B4-BE49-F238E27FC236}">
                  <a16:creationId xmlns:a16="http://schemas.microsoft.com/office/drawing/2014/main" id="{AABA3CE8-B0A8-7488-2F1F-AF4B66C5DE6B}"/>
                </a:ext>
              </a:extLst>
            </p:cNvPr>
            <p:cNvSpPr/>
            <p:nvPr/>
          </p:nvSpPr>
          <p:spPr>
            <a:xfrm>
              <a:off x="703075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5" name="Полилиния 234">
              <a:extLst>
                <a:ext uri="{FF2B5EF4-FFF2-40B4-BE49-F238E27FC236}">
                  <a16:creationId xmlns:a16="http://schemas.microsoft.com/office/drawing/2014/main" id="{FD46958A-5172-FEAA-1B4D-C2CA64E4F8A2}"/>
                </a:ext>
              </a:extLst>
            </p:cNvPr>
            <p:cNvSpPr/>
            <p:nvPr/>
          </p:nvSpPr>
          <p:spPr>
            <a:xfrm>
              <a:off x="712003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6" name="Полилиния 235">
              <a:extLst>
                <a:ext uri="{FF2B5EF4-FFF2-40B4-BE49-F238E27FC236}">
                  <a16:creationId xmlns:a16="http://schemas.microsoft.com/office/drawing/2014/main" id="{4BBA19C9-F20B-D134-37C4-FCDDFECBD706}"/>
                </a:ext>
              </a:extLst>
            </p:cNvPr>
            <p:cNvSpPr/>
            <p:nvPr/>
          </p:nvSpPr>
          <p:spPr>
            <a:xfrm>
              <a:off x="720931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7" name="Полилиния 236">
              <a:extLst>
                <a:ext uri="{FF2B5EF4-FFF2-40B4-BE49-F238E27FC236}">
                  <a16:creationId xmlns:a16="http://schemas.microsoft.com/office/drawing/2014/main" id="{05B72AC1-8F03-000F-3E5C-8A2E43F73E9E}"/>
                </a:ext>
              </a:extLst>
            </p:cNvPr>
            <p:cNvSpPr/>
            <p:nvPr/>
          </p:nvSpPr>
          <p:spPr>
            <a:xfrm>
              <a:off x="725395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8" name="Полилиния 237">
              <a:extLst>
                <a:ext uri="{FF2B5EF4-FFF2-40B4-BE49-F238E27FC236}">
                  <a16:creationId xmlns:a16="http://schemas.microsoft.com/office/drawing/2014/main" id="{0500F979-8B20-9A42-1BAC-3A754A20A31B}"/>
                </a:ext>
              </a:extLst>
            </p:cNvPr>
            <p:cNvSpPr/>
            <p:nvPr/>
          </p:nvSpPr>
          <p:spPr>
            <a:xfrm>
              <a:off x="729859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9" name="Полилиния 238">
              <a:extLst>
                <a:ext uri="{FF2B5EF4-FFF2-40B4-BE49-F238E27FC236}">
                  <a16:creationId xmlns:a16="http://schemas.microsoft.com/office/drawing/2014/main" id="{B1DAFB58-A51F-DD05-1F51-46600EB34A57}"/>
                </a:ext>
              </a:extLst>
            </p:cNvPr>
            <p:cNvSpPr/>
            <p:nvPr/>
          </p:nvSpPr>
          <p:spPr>
            <a:xfrm>
              <a:off x="7432512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0" name="Полилиния 239">
              <a:extLst>
                <a:ext uri="{FF2B5EF4-FFF2-40B4-BE49-F238E27FC236}">
                  <a16:creationId xmlns:a16="http://schemas.microsoft.com/office/drawing/2014/main" id="{59273736-9760-79BD-11D8-6CBE219829DE}"/>
                </a:ext>
              </a:extLst>
            </p:cNvPr>
            <p:cNvSpPr/>
            <p:nvPr/>
          </p:nvSpPr>
          <p:spPr>
            <a:xfrm>
              <a:off x="747715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1" name="Полилиния 240">
              <a:extLst>
                <a:ext uri="{FF2B5EF4-FFF2-40B4-BE49-F238E27FC236}">
                  <a16:creationId xmlns:a16="http://schemas.microsoft.com/office/drawing/2014/main" id="{9732A1E7-E311-E12A-EB87-4EC3DCF60DC3}"/>
                </a:ext>
              </a:extLst>
            </p:cNvPr>
            <p:cNvSpPr/>
            <p:nvPr/>
          </p:nvSpPr>
          <p:spPr>
            <a:xfrm>
              <a:off x="756652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2" name="Полилиния 241">
              <a:extLst>
                <a:ext uri="{FF2B5EF4-FFF2-40B4-BE49-F238E27FC236}">
                  <a16:creationId xmlns:a16="http://schemas.microsoft.com/office/drawing/2014/main" id="{6B8B44D5-057B-F514-FA63-915572785A7B}"/>
                </a:ext>
              </a:extLst>
            </p:cNvPr>
            <p:cNvSpPr/>
            <p:nvPr/>
          </p:nvSpPr>
          <p:spPr>
            <a:xfrm>
              <a:off x="774508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3" name="Полилиния 242">
              <a:extLst>
                <a:ext uri="{FF2B5EF4-FFF2-40B4-BE49-F238E27FC236}">
                  <a16:creationId xmlns:a16="http://schemas.microsoft.com/office/drawing/2014/main" id="{EF46FAA5-BDFE-9459-C1D9-C43E96BC4C2E}"/>
                </a:ext>
              </a:extLst>
            </p:cNvPr>
            <p:cNvSpPr/>
            <p:nvPr/>
          </p:nvSpPr>
          <p:spPr>
            <a:xfrm>
              <a:off x="783436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4" name="Полилиния 243">
              <a:extLst>
                <a:ext uri="{FF2B5EF4-FFF2-40B4-BE49-F238E27FC236}">
                  <a16:creationId xmlns:a16="http://schemas.microsoft.com/office/drawing/2014/main" id="{7FD4A76F-6B11-91AA-216B-D60C1F084BE4}"/>
                </a:ext>
              </a:extLst>
            </p:cNvPr>
            <p:cNvSpPr/>
            <p:nvPr/>
          </p:nvSpPr>
          <p:spPr>
            <a:xfrm>
              <a:off x="653963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5" name="Полилиния 244">
              <a:extLst>
                <a:ext uri="{FF2B5EF4-FFF2-40B4-BE49-F238E27FC236}">
                  <a16:creationId xmlns:a16="http://schemas.microsoft.com/office/drawing/2014/main" id="{AF50FBF3-F5D6-AEA2-2752-E9E19BF93704}"/>
                </a:ext>
              </a:extLst>
            </p:cNvPr>
            <p:cNvSpPr/>
            <p:nvPr/>
          </p:nvSpPr>
          <p:spPr>
            <a:xfrm>
              <a:off x="6628910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6" name="Полилиния 245">
              <a:extLst>
                <a:ext uri="{FF2B5EF4-FFF2-40B4-BE49-F238E27FC236}">
                  <a16:creationId xmlns:a16="http://schemas.microsoft.com/office/drawing/2014/main" id="{4E7C4459-33DD-D2B3-DA7B-738EEEFA9D3A}"/>
                </a:ext>
              </a:extLst>
            </p:cNvPr>
            <p:cNvSpPr/>
            <p:nvPr/>
          </p:nvSpPr>
          <p:spPr>
            <a:xfrm>
              <a:off x="667354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7" name="Полилиния 246">
              <a:extLst>
                <a:ext uri="{FF2B5EF4-FFF2-40B4-BE49-F238E27FC236}">
                  <a16:creationId xmlns:a16="http://schemas.microsoft.com/office/drawing/2014/main" id="{059FCA12-EDEF-87F3-5BEC-5C22165C5C19}"/>
                </a:ext>
              </a:extLst>
            </p:cNvPr>
            <p:cNvSpPr/>
            <p:nvPr/>
          </p:nvSpPr>
          <p:spPr>
            <a:xfrm>
              <a:off x="671818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8" name="Полилиния 247">
              <a:extLst>
                <a:ext uri="{FF2B5EF4-FFF2-40B4-BE49-F238E27FC236}">
                  <a16:creationId xmlns:a16="http://schemas.microsoft.com/office/drawing/2014/main" id="{183983F3-014D-7AB7-41F7-6D02053AFABD}"/>
                </a:ext>
              </a:extLst>
            </p:cNvPr>
            <p:cNvSpPr/>
            <p:nvPr/>
          </p:nvSpPr>
          <p:spPr>
            <a:xfrm>
              <a:off x="6852106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35FC6A1E-7A44-DBE6-1D09-119454D1689E}"/>
                </a:ext>
              </a:extLst>
            </p:cNvPr>
            <p:cNvSpPr/>
            <p:nvPr/>
          </p:nvSpPr>
          <p:spPr>
            <a:xfrm>
              <a:off x="7253955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0" name="Полилиния 249">
              <a:extLst>
                <a:ext uri="{FF2B5EF4-FFF2-40B4-BE49-F238E27FC236}">
                  <a16:creationId xmlns:a16="http://schemas.microsoft.com/office/drawing/2014/main" id="{524126F1-325C-03D4-C1E7-15E695D3FD50}"/>
                </a:ext>
              </a:extLst>
            </p:cNvPr>
            <p:cNvSpPr/>
            <p:nvPr/>
          </p:nvSpPr>
          <p:spPr>
            <a:xfrm>
              <a:off x="7432512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1" name="Полилиния 250">
              <a:extLst>
                <a:ext uri="{FF2B5EF4-FFF2-40B4-BE49-F238E27FC236}">
                  <a16:creationId xmlns:a16="http://schemas.microsoft.com/office/drawing/2014/main" id="{7F41BAD4-779E-CC6F-1DD1-B5A7D32E03E2}"/>
                </a:ext>
              </a:extLst>
            </p:cNvPr>
            <p:cNvSpPr/>
            <p:nvPr/>
          </p:nvSpPr>
          <p:spPr>
            <a:xfrm>
              <a:off x="747715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2" name="Полилиния 251">
              <a:extLst>
                <a:ext uri="{FF2B5EF4-FFF2-40B4-BE49-F238E27FC236}">
                  <a16:creationId xmlns:a16="http://schemas.microsoft.com/office/drawing/2014/main" id="{60039CEB-D415-48F4-4D07-40617F9E4421}"/>
                </a:ext>
              </a:extLst>
            </p:cNvPr>
            <p:cNvSpPr/>
            <p:nvPr/>
          </p:nvSpPr>
          <p:spPr>
            <a:xfrm>
              <a:off x="7611164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3" name="Полилиния 252">
              <a:extLst>
                <a:ext uri="{FF2B5EF4-FFF2-40B4-BE49-F238E27FC236}">
                  <a16:creationId xmlns:a16="http://schemas.microsoft.com/office/drawing/2014/main" id="{AC065DEE-F192-D388-0A75-C476B546E838}"/>
                </a:ext>
              </a:extLst>
            </p:cNvPr>
            <p:cNvSpPr/>
            <p:nvPr/>
          </p:nvSpPr>
          <p:spPr>
            <a:xfrm>
              <a:off x="649499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90DC3D24-7D2A-8823-5C27-FD29AD5F7CB8}"/>
                </a:ext>
              </a:extLst>
            </p:cNvPr>
            <p:cNvSpPr/>
            <p:nvPr/>
          </p:nvSpPr>
          <p:spPr>
            <a:xfrm>
              <a:off x="6628910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5" name="Полилиния 254">
              <a:extLst>
                <a:ext uri="{FF2B5EF4-FFF2-40B4-BE49-F238E27FC236}">
                  <a16:creationId xmlns:a16="http://schemas.microsoft.com/office/drawing/2014/main" id="{E838DC94-DAB5-5842-0E5B-78E3C2BD8003}"/>
                </a:ext>
              </a:extLst>
            </p:cNvPr>
            <p:cNvSpPr/>
            <p:nvPr/>
          </p:nvSpPr>
          <p:spPr>
            <a:xfrm>
              <a:off x="667354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6" name="Полилиния 255">
              <a:extLst>
                <a:ext uri="{FF2B5EF4-FFF2-40B4-BE49-F238E27FC236}">
                  <a16:creationId xmlns:a16="http://schemas.microsoft.com/office/drawing/2014/main" id="{32E90591-8E35-C875-70BF-2E3F9EF5B07D}"/>
                </a:ext>
              </a:extLst>
            </p:cNvPr>
            <p:cNvSpPr/>
            <p:nvPr/>
          </p:nvSpPr>
          <p:spPr>
            <a:xfrm>
              <a:off x="685210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7" name="Полилиния 256">
              <a:extLst>
                <a:ext uri="{FF2B5EF4-FFF2-40B4-BE49-F238E27FC236}">
                  <a16:creationId xmlns:a16="http://schemas.microsoft.com/office/drawing/2014/main" id="{8DB18D4E-8564-E1C5-DD45-8475306F6598}"/>
                </a:ext>
              </a:extLst>
            </p:cNvPr>
            <p:cNvSpPr/>
            <p:nvPr/>
          </p:nvSpPr>
          <p:spPr>
            <a:xfrm>
              <a:off x="689684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8" name="Полилиния 257">
              <a:extLst>
                <a:ext uri="{FF2B5EF4-FFF2-40B4-BE49-F238E27FC236}">
                  <a16:creationId xmlns:a16="http://schemas.microsoft.com/office/drawing/2014/main" id="{51C197F2-EBE9-F6CB-64F8-9D67A411A151}"/>
                </a:ext>
              </a:extLst>
            </p:cNvPr>
            <p:cNvSpPr/>
            <p:nvPr/>
          </p:nvSpPr>
          <p:spPr>
            <a:xfrm>
              <a:off x="7075398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53458AC1-9D90-E5D2-1793-1367D89FB8E7}"/>
                </a:ext>
              </a:extLst>
            </p:cNvPr>
            <p:cNvSpPr/>
            <p:nvPr/>
          </p:nvSpPr>
          <p:spPr>
            <a:xfrm>
              <a:off x="716467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0" name="Полилиния 259">
              <a:extLst>
                <a:ext uri="{FF2B5EF4-FFF2-40B4-BE49-F238E27FC236}">
                  <a16:creationId xmlns:a16="http://schemas.microsoft.com/office/drawing/2014/main" id="{5A361043-605C-B74D-C8AE-FB873770DE41}"/>
                </a:ext>
              </a:extLst>
            </p:cNvPr>
            <p:cNvSpPr/>
            <p:nvPr/>
          </p:nvSpPr>
          <p:spPr>
            <a:xfrm>
              <a:off x="7209315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" name="Полилиния 260">
              <a:extLst>
                <a:ext uri="{FF2B5EF4-FFF2-40B4-BE49-F238E27FC236}">
                  <a16:creationId xmlns:a16="http://schemas.microsoft.com/office/drawing/2014/main" id="{7EECA926-E9C3-672F-D4F0-CB459F154CC0}"/>
                </a:ext>
              </a:extLst>
            </p:cNvPr>
            <p:cNvSpPr/>
            <p:nvPr/>
          </p:nvSpPr>
          <p:spPr>
            <a:xfrm>
              <a:off x="734323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" name="Полилиния 261">
              <a:extLst>
                <a:ext uri="{FF2B5EF4-FFF2-40B4-BE49-F238E27FC236}">
                  <a16:creationId xmlns:a16="http://schemas.microsoft.com/office/drawing/2014/main" id="{49E80F46-D50B-C3FF-EEDE-8B75CC37DE0E}"/>
                </a:ext>
              </a:extLst>
            </p:cNvPr>
            <p:cNvSpPr/>
            <p:nvPr/>
          </p:nvSpPr>
          <p:spPr>
            <a:xfrm>
              <a:off x="747715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" name="Полилиния 262">
              <a:extLst>
                <a:ext uri="{FF2B5EF4-FFF2-40B4-BE49-F238E27FC236}">
                  <a16:creationId xmlns:a16="http://schemas.microsoft.com/office/drawing/2014/main" id="{AE115DB8-056E-2D5C-76CE-5B3501CBB7A4}"/>
                </a:ext>
              </a:extLst>
            </p:cNvPr>
            <p:cNvSpPr/>
            <p:nvPr/>
          </p:nvSpPr>
          <p:spPr>
            <a:xfrm>
              <a:off x="7566524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" name="Полилиния 263">
              <a:extLst>
                <a:ext uri="{FF2B5EF4-FFF2-40B4-BE49-F238E27FC236}">
                  <a16:creationId xmlns:a16="http://schemas.microsoft.com/office/drawing/2014/main" id="{79E1BD6B-3691-990A-D8E4-43DF7B27ADB4}"/>
                </a:ext>
              </a:extLst>
            </p:cNvPr>
            <p:cNvSpPr/>
            <p:nvPr/>
          </p:nvSpPr>
          <p:spPr>
            <a:xfrm>
              <a:off x="765580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" name="Полилиния 264">
              <a:extLst>
                <a:ext uri="{FF2B5EF4-FFF2-40B4-BE49-F238E27FC236}">
                  <a16:creationId xmlns:a16="http://schemas.microsoft.com/office/drawing/2014/main" id="{85135A52-11C1-9032-AB41-49F1EFAD6FBE}"/>
                </a:ext>
              </a:extLst>
            </p:cNvPr>
            <p:cNvSpPr/>
            <p:nvPr/>
          </p:nvSpPr>
          <p:spPr>
            <a:xfrm>
              <a:off x="778972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" name="Полилиния 265">
              <a:extLst>
                <a:ext uri="{FF2B5EF4-FFF2-40B4-BE49-F238E27FC236}">
                  <a16:creationId xmlns:a16="http://schemas.microsoft.com/office/drawing/2014/main" id="{73BB7657-5F35-E3CC-3F90-1A53544B2211}"/>
                </a:ext>
              </a:extLst>
            </p:cNvPr>
            <p:cNvSpPr/>
            <p:nvPr/>
          </p:nvSpPr>
          <p:spPr>
            <a:xfrm>
              <a:off x="787899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" name="Полилиния 266">
              <a:extLst>
                <a:ext uri="{FF2B5EF4-FFF2-40B4-BE49-F238E27FC236}">
                  <a16:creationId xmlns:a16="http://schemas.microsoft.com/office/drawing/2014/main" id="{81C60136-6303-2E3B-1957-411F250B6BCB}"/>
                </a:ext>
              </a:extLst>
            </p:cNvPr>
            <p:cNvSpPr/>
            <p:nvPr/>
          </p:nvSpPr>
          <p:spPr>
            <a:xfrm>
              <a:off x="645035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" name="Полилиния 268">
              <a:extLst>
                <a:ext uri="{FF2B5EF4-FFF2-40B4-BE49-F238E27FC236}">
                  <a16:creationId xmlns:a16="http://schemas.microsoft.com/office/drawing/2014/main" id="{6E40ECCF-545A-6F8C-B6EE-5B16F682C98A}"/>
                </a:ext>
              </a:extLst>
            </p:cNvPr>
            <p:cNvSpPr/>
            <p:nvPr/>
          </p:nvSpPr>
          <p:spPr>
            <a:xfrm>
              <a:off x="653963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" name="Полилиния 269">
              <a:extLst>
                <a:ext uri="{FF2B5EF4-FFF2-40B4-BE49-F238E27FC236}">
                  <a16:creationId xmlns:a16="http://schemas.microsoft.com/office/drawing/2014/main" id="{2FE0B9DA-B7E1-B6D8-BA81-89420AC64F41}"/>
                </a:ext>
              </a:extLst>
            </p:cNvPr>
            <p:cNvSpPr/>
            <p:nvPr/>
          </p:nvSpPr>
          <p:spPr>
            <a:xfrm>
              <a:off x="658427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" name="Полилиния 270">
              <a:extLst>
                <a:ext uri="{FF2B5EF4-FFF2-40B4-BE49-F238E27FC236}">
                  <a16:creationId xmlns:a16="http://schemas.microsoft.com/office/drawing/2014/main" id="{5EAAFC26-E1C9-A55E-800A-69E941B5DD17}"/>
                </a:ext>
              </a:extLst>
            </p:cNvPr>
            <p:cNvSpPr/>
            <p:nvPr/>
          </p:nvSpPr>
          <p:spPr>
            <a:xfrm>
              <a:off x="662891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" name="Полилиния 271">
              <a:extLst>
                <a:ext uri="{FF2B5EF4-FFF2-40B4-BE49-F238E27FC236}">
                  <a16:creationId xmlns:a16="http://schemas.microsoft.com/office/drawing/2014/main" id="{E6FBDAD6-F532-A406-D2D4-370D1EEEA63C}"/>
                </a:ext>
              </a:extLst>
            </p:cNvPr>
            <p:cNvSpPr/>
            <p:nvPr/>
          </p:nvSpPr>
          <p:spPr>
            <a:xfrm>
              <a:off x="667354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3" name="Полилиния 272">
              <a:extLst>
                <a:ext uri="{FF2B5EF4-FFF2-40B4-BE49-F238E27FC236}">
                  <a16:creationId xmlns:a16="http://schemas.microsoft.com/office/drawing/2014/main" id="{C0A5DBDB-8510-4AC1-B8FB-D18EF5BDFCE3}"/>
                </a:ext>
              </a:extLst>
            </p:cNvPr>
            <p:cNvSpPr/>
            <p:nvPr/>
          </p:nvSpPr>
          <p:spPr>
            <a:xfrm>
              <a:off x="671818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" name="Полилиния 273">
              <a:extLst>
                <a:ext uri="{FF2B5EF4-FFF2-40B4-BE49-F238E27FC236}">
                  <a16:creationId xmlns:a16="http://schemas.microsoft.com/office/drawing/2014/main" id="{84D4ECA7-2A6F-4754-FC8C-6A19F5DA7D8A}"/>
                </a:ext>
              </a:extLst>
            </p:cNvPr>
            <p:cNvSpPr/>
            <p:nvPr/>
          </p:nvSpPr>
          <p:spPr>
            <a:xfrm>
              <a:off x="6762828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" name="Полилиния 274">
              <a:extLst>
                <a:ext uri="{FF2B5EF4-FFF2-40B4-BE49-F238E27FC236}">
                  <a16:creationId xmlns:a16="http://schemas.microsoft.com/office/drawing/2014/main" id="{45B9FFBA-5F8A-9238-D438-3608178154DC}"/>
                </a:ext>
              </a:extLst>
            </p:cNvPr>
            <p:cNvSpPr/>
            <p:nvPr/>
          </p:nvSpPr>
          <p:spPr>
            <a:xfrm>
              <a:off x="680746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" name="Полилиния 275">
              <a:extLst>
                <a:ext uri="{FF2B5EF4-FFF2-40B4-BE49-F238E27FC236}">
                  <a16:creationId xmlns:a16="http://schemas.microsoft.com/office/drawing/2014/main" id="{5F35FE0A-6CCD-BD53-F291-6D75D3534A95}"/>
                </a:ext>
              </a:extLst>
            </p:cNvPr>
            <p:cNvSpPr/>
            <p:nvPr/>
          </p:nvSpPr>
          <p:spPr>
            <a:xfrm>
              <a:off x="6852106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7" name="Полилиния 276">
              <a:extLst>
                <a:ext uri="{FF2B5EF4-FFF2-40B4-BE49-F238E27FC236}">
                  <a16:creationId xmlns:a16="http://schemas.microsoft.com/office/drawing/2014/main" id="{A388393E-E985-1853-0D1D-6CE8481CCFDE}"/>
                </a:ext>
              </a:extLst>
            </p:cNvPr>
            <p:cNvSpPr/>
            <p:nvPr/>
          </p:nvSpPr>
          <p:spPr>
            <a:xfrm>
              <a:off x="689684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8" name="Полилиния 277">
              <a:extLst>
                <a:ext uri="{FF2B5EF4-FFF2-40B4-BE49-F238E27FC236}">
                  <a16:creationId xmlns:a16="http://schemas.microsoft.com/office/drawing/2014/main" id="{CFD71F9A-1995-86A0-54E8-1BDA41362F4C}"/>
                </a:ext>
              </a:extLst>
            </p:cNvPr>
            <p:cNvSpPr/>
            <p:nvPr/>
          </p:nvSpPr>
          <p:spPr>
            <a:xfrm>
              <a:off x="694148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" name="Полилиния 278">
              <a:extLst>
                <a:ext uri="{FF2B5EF4-FFF2-40B4-BE49-F238E27FC236}">
                  <a16:creationId xmlns:a16="http://schemas.microsoft.com/office/drawing/2014/main" id="{E7D393AF-B993-F1AB-33AD-FA256DE5936B}"/>
                </a:ext>
              </a:extLst>
            </p:cNvPr>
            <p:cNvSpPr/>
            <p:nvPr/>
          </p:nvSpPr>
          <p:spPr>
            <a:xfrm>
              <a:off x="712003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" name="Полилиния 279">
              <a:extLst>
                <a:ext uri="{FF2B5EF4-FFF2-40B4-BE49-F238E27FC236}">
                  <a16:creationId xmlns:a16="http://schemas.microsoft.com/office/drawing/2014/main" id="{69D7C069-4768-D88B-C1E5-C5F5C70B141A}"/>
                </a:ext>
              </a:extLst>
            </p:cNvPr>
            <p:cNvSpPr/>
            <p:nvPr/>
          </p:nvSpPr>
          <p:spPr>
            <a:xfrm>
              <a:off x="734323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" name="Полилиния 280">
              <a:extLst>
                <a:ext uri="{FF2B5EF4-FFF2-40B4-BE49-F238E27FC236}">
                  <a16:creationId xmlns:a16="http://schemas.microsoft.com/office/drawing/2014/main" id="{3EC1055A-22D1-AB4D-5396-725649AC965A}"/>
                </a:ext>
              </a:extLst>
            </p:cNvPr>
            <p:cNvSpPr/>
            <p:nvPr/>
          </p:nvSpPr>
          <p:spPr>
            <a:xfrm>
              <a:off x="7432512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2" name="Полилиния 281">
              <a:extLst>
                <a:ext uri="{FF2B5EF4-FFF2-40B4-BE49-F238E27FC236}">
                  <a16:creationId xmlns:a16="http://schemas.microsoft.com/office/drawing/2014/main" id="{2E6BE152-02DF-4543-A164-E65F8BD5D4BE}"/>
                </a:ext>
              </a:extLst>
            </p:cNvPr>
            <p:cNvSpPr/>
            <p:nvPr/>
          </p:nvSpPr>
          <p:spPr>
            <a:xfrm>
              <a:off x="747715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3" name="Полилиния 282">
              <a:extLst>
                <a:ext uri="{FF2B5EF4-FFF2-40B4-BE49-F238E27FC236}">
                  <a16:creationId xmlns:a16="http://schemas.microsoft.com/office/drawing/2014/main" id="{0163304B-D849-C2C3-85F4-D89F649F75D5}"/>
                </a:ext>
              </a:extLst>
            </p:cNvPr>
            <p:cNvSpPr/>
            <p:nvPr/>
          </p:nvSpPr>
          <p:spPr>
            <a:xfrm>
              <a:off x="774508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" name="Полилиния 283">
              <a:extLst>
                <a:ext uri="{FF2B5EF4-FFF2-40B4-BE49-F238E27FC236}">
                  <a16:creationId xmlns:a16="http://schemas.microsoft.com/office/drawing/2014/main" id="{152DFD4B-A198-29DD-9B00-DBA612EC2F1A}"/>
                </a:ext>
              </a:extLst>
            </p:cNvPr>
            <p:cNvSpPr/>
            <p:nvPr/>
          </p:nvSpPr>
          <p:spPr>
            <a:xfrm>
              <a:off x="778972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" name="Полилиния 284">
              <a:extLst>
                <a:ext uri="{FF2B5EF4-FFF2-40B4-BE49-F238E27FC236}">
                  <a16:creationId xmlns:a16="http://schemas.microsoft.com/office/drawing/2014/main" id="{AD5697D2-95DD-12EF-160F-F6E1F3D5406E}"/>
                </a:ext>
              </a:extLst>
            </p:cNvPr>
            <p:cNvSpPr/>
            <p:nvPr/>
          </p:nvSpPr>
          <p:spPr>
            <a:xfrm>
              <a:off x="787899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" name="Полилиния 285">
              <a:extLst>
                <a:ext uri="{FF2B5EF4-FFF2-40B4-BE49-F238E27FC236}">
                  <a16:creationId xmlns:a16="http://schemas.microsoft.com/office/drawing/2014/main" id="{60C2B5A1-B702-61AE-2354-902612AB9B49}"/>
                </a:ext>
              </a:extLst>
            </p:cNvPr>
            <p:cNvSpPr/>
            <p:nvPr/>
          </p:nvSpPr>
          <p:spPr>
            <a:xfrm>
              <a:off x="649499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7" name="Полилиния 286">
              <a:extLst>
                <a:ext uri="{FF2B5EF4-FFF2-40B4-BE49-F238E27FC236}">
                  <a16:creationId xmlns:a16="http://schemas.microsoft.com/office/drawing/2014/main" id="{21C29BC4-81C2-0679-8AB6-087DCADE4BEB}"/>
                </a:ext>
              </a:extLst>
            </p:cNvPr>
            <p:cNvSpPr/>
            <p:nvPr/>
          </p:nvSpPr>
          <p:spPr>
            <a:xfrm>
              <a:off x="653963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8" name="Полилиния 287">
              <a:extLst>
                <a:ext uri="{FF2B5EF4-FFF2-40B4-BE49-F238E27FC236}">
                  <a16:creationId xmlns:a16="http://schemas.microsoft.com/office/drawing/2014/main" id="{22991EDE-592B-892D-80DB-16694D1FB74F}"/>
                </a:ext>
              </a:extLst>
            </p:cNvPr>
            <p:cNvSpPr/>
            <p:nvPr/>
          </p:nvSpPr>
          <p:spPr>
            <a:xfrm>
              <a:off x="667354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" name="Полилиния 288">
              <a:extLst>
                <a:ext uri="{FF2B5EF4-FFF2-40B4-BE49-F238E27FC236}">
                  <a16:creationId xmlns:a16="http://schemas.microsoft.com/office/drawing/2014/main" id="{17CA6753-ECF2-1545-31E6-75112DC5F3F3}"/>
                </a:ext>
              </a:extLst>
            </p:cNvPr>
            <p:cNvSpPr/>
            <p:nvPr/>
          </p:nvSpPr>
          <p:spPr>
            <a:xfrm>
              <a:off x="676282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" name="Полилиния 289">
              <a:extLst>
                <a:ext uri="{FF2B5EF4-FFF2-40B4-BE49-F238E27FC236}">
                  <a16:creationId xmlns:a16="http://schemas.microsoft.com/office/drawing/2014/main" id="{99CC0304-2A93-3D8A-46FE-6268A5929EE7}"/>
                </a:ext>
              </a:extLst>
            </p:cNvPr>
            <p:cNvSpPr/>
            <p:nvPr/>
          </p:nvSpPr>
          <p:spPr>
            <a:xfrm>
              <a:off x="689684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" name="Полилиния 290">
              <a:extLst>
                <a:ext uri="{FF2B5EF4-FFF2-40B4-BE49-F238E27FC236}">
                  <a16:creationId xmlns:a16="http://schemas.microsoft.com/office/drawing/2014/main" id="{C9B55BE2-33A5-8ACB-3A42-F4EAA316A4FC}"/>
                </a:ext>
              </a:extLst>
            </p:cNvPr>
            <p:cNvSpPr/>
            <p:nvPr/>
          </p:nvSpPr>
          <p:spPr>
            <a:xfrm>
              <a:off x="6941480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" name="Полилиния 291">
              <a:extLst>
                <a:ext uri="{FF2B5EF4-FFF2-40B4-BE49-F238E27FC236}">
                  <a16:creationId xmlns:a16="http://schemas.microsoft.com/office/drawing/2014/main" id="{2A7DBB42-4D3E-C3C5-C873-0750BE5CDF79}"/>
                </a:ext>
              </a:extLst>
            </p:cNvPr>
            <p:cNvSpPr/>
            <p:nvPr/>
          </p:nvSpPr>
          <p:spPr>
            <a:xfrm>
              <a:off x="707539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3" name="Полилиния 292">
              <a:extLst>
                <a:ext uri="{FF2B5EF4-FFF2-40B4-BE49-F238E27FC236}">
                  <a16:creationId xmlns:a16="http://schemas.microsoft.com/office/drawing/2014/main" id="{F976CED7-F5CF-5B71-6025-B17B79B7436C}"/>
                </a:ext>
              </a:extLst>
            </p:cNvPr>
            <p:cNvSpPr/>
            <p:nvPr/>
          </p:nvSpPr>
          <p:spPr>
            <a:xfrm>
              <a:off x="7120037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" name="Полилиния 293">
              <a:extLst>
                <a:ext uri="{FF2B5EF4-FFF2-40B4-BE49-F238E27FC236}">
                  <a16:creationId xmlns:a16="http://schemas.microsoft.com/office/drawing/2014/main" id="{13D6E029-BB33-3B26-3112-AC1F1DD8233E}"/>
                </a:ext>
              </a:extLst>
            </p:cNvPr>
            <p:cNvSpPr/>
            <p:nvPr/>
          </p:nvSpPr>
          <p:spPr>
            <a:xfrm>
              <a:off x="7209315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" name="Полилиния 294">
              <a:extLst>
                <a:ext uri="{FF2B5EF4-FFF2-40B4-BE49-F238E27FC236}">
                  <a16:creationId xmlns:a16="http://schemas.microsoft.com/office/drawing/2014/main" id="{FCFA5420-DF70-1189-D06A-D5451C4257E7}"/>
                </a:ext>
              </a:extLst>
            </p:cNvPr>
            <p:cNvSpPr/>
            <p:nvPr/>
          </p:nvSpPr>
          <p:spPr>
            <a:xfrm>
              <a:off x="734323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" name="Полилиния 295">
              <a:extLst>
                <a:ext uri="{FF2B5EF4-FFF2-40B4-BE49-F238E27FC236}">
                  <a16:creationId xmlns:a16="http://schemas.microsoft.com/office/drawing/2014/main" id="{047DF1E4-2A83-4CFB-8CEB-555EBA002D87}"/>
                </a:ext>
              </a:extLst>
            </p:cNvPr>
            <p:cNvSpPr/>
            <p:nvPr/>
          </p:nvSpPr>
          <p:spPr>
            <a:xfrm>
              <a:off x="747715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" name="Полилиния 296">
              <a:extLst>
                <a:ext uri="{FF2B5EF4-FFF2-40B4-BE49-F238E27FC236}">
                  <a16:creationId xmlns:a16="http://schemas.microsoft.com/office/drawing/2014/main" id="{531174F2-7A12-E986-CD67-5F59506F95B3}"/>
                </a:ext>
              </a:extLst>
            </p:cNvPr>
            <p:cNvSpPr/>
            <p:nvPr/>
          </p:nvSpPr>
          <p:spPr>
            <a:xfrm>
              <a:off x="7611164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" name="Полилиния 297">
              <a:extLst>
                <a:ext uri="{FF2B5EF4-FFF2-40B4-BE49-F238E27FC236}">
                  <a16:creationId xmlns:a16="http://schemas.microsoft.com/office/drawing/2014/main" id="{A95E30B6-7B6A-87D0-74BA-46C02616F307}"/>
                </a:ext>
              </a:extLst>
            </p:cNvPr>
            <p:cNvSpPr/>
            <p:nvPr/>
          </p:nvSpPr>
          <p:spPr>
            <a:xfrm>
              <a:off x="765580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" name="Полилиния 298">
              <a:extLst>
                <a:ext uri="{FF2B5EF4-FFF2-40B4-BE49-F238E27FC236}">
                  <a16:creationId xmlns:a16="http://schemas.microsoft.com/office/drawing/2014/main" id="{CD107D46-05A2-B366-3B34-921C34720A90}"/>
                </a:ext>
              </a:extLst>
            </p:cNvPr>
            <p:cNvSpPr/>
            <p:nvPr/>
          </p:nvSpPr>
          <p:spPr>
            <a:xfrm>
              <a:off x="774508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" name="Полилиния 299">
              <a:extLst>
                <a:ext uri="{FF2B5EF4-FFF2-40B4-BE49-F238E27FC236}">
                  <a16:creationId xmlns:a16="http://schemas.microsoft.com/office/drawing/2014/main" id="{6D8193DE-DE73-DAF5-01C2-73B9CEC34E06}"/>
                </a:ext>
              </a:extLst>
            </p:cNvPr>
            <p:cNvSpPr/>
            <p:nvPr/>
          </p:nvSpPr>
          <p:spPr>
            <a:xfrm>
              <a:off x="787899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" name="Полилиния 300">
              <a:extLst>
                <a:ext uri="{FF2B5EF4-FFF2-40B4-BE49-F238E27FC236}">
                  <a16:creationId xmlns:a16="http://schemas.microsoft.com/office/drawing/2014/main" id="{B9FB7AD4-D396-9277-9413-36336499C727}"/>
                </a:ext>
              </a:extLst>
            </p:cNvPr>
            <p:cNvSpPr/>
            <p:nvPr/>
          </p:nvSpPr>
          <p:spPr>
            <a:xfrm>
              <a:off x="645035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" name="Полилиния 301">
              <a:extLst>
                <a:ext uri="{FF2B5EF4-FFF2-40B4-BE49-F238E27FC236}">
                  <a16:creationId xmlns:a16="http://schemas.microsoft.com/office/drawing/2014/main" id="{CBCA8733-5354-C4DB-F412-7479A7E83432}"/>
                </a:ext>
              </a:extLst>
            </p:cNvPr>
            <p:cNvSpPr/>
            <p:nvPr/>
          </p:nvSpPr>
          <p:spPr>
            <a:xfrm>
              <a:off x="649499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" name="Полилиния 302">
              <a:extLst>
                <a:ext uri="{FF2B5EF4-FFF2-40B4-BE49-F238E27FC236}">
                  <a16:creationId xmlns:a16="http://schemas.microsoft.com/office/drawing/2014/main" id="{F67D543E-51F2-1FEC-5EB1-C97E43B2B74A}"/>
                </a:ext>
              </a:extLst>
            </p:cNvPr>
            <p:cNvSpPr/>
            <p:nvPr/>
          </p:nvSpPr>
          <p:spPr>
            <a:xfrm>
              <a:off x="658427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" name="Полилиния 303">
              <a:extLst>
                <a:ext uri="{FF2B5EF4-FFF2-40B4-BE49-F238E27FC236}">
                  <a16:creationId xmlns:a16="http://schemas.microsoft.com/office/drawing/2014/main" id="{98D01845-0925-1657-D5B6-F2EEC3DB2E75}"/>
                </a:ext>
              </a:extLst>
            </p:cNvPr>
            <p:cNvSpPr/>
            <p:nvPr/>
          </p:nvSpPr>
          <p:spPr>
            <a:xfrm>
              <a:off x="662891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" name="Полилиния 304">
              <a:extLst>
                <a:ext uri="{FF2B5EF4-FFF2-40B4-BE49-F238E27FC236}">
                  <a16:creationId xmlns:a16="http://schemas.microsoft.com/office/drawing/2014/main" id="{DF832845-A475-B3B0-21C4-745C1BF5E251}"/>
                </a:ext>
              </a:extLst>
            </p:cNvPr>
            <p:cNvSpPr/>
            <p:nvPr/>
          </p:nvSpPr>
          <p:spPr>
            <a:xfrm>
              <a:off x="667354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" name="Полилиния 305">
              <a:extLst>
                <a:ext uri="{FF2B5EF4-FFF2-40B4-BE49-F238E27FC236}">
                  <a16:creationId xmlns:a16="http://schemas.microsoft.com/office/drawing/2014/main" id="{5D492ADB-14B4-E2FF-9586-84B64F665DAF}"/>
                </a:ext>
              </a:extLst>
            </p:cNvPr>
            <p:cNvSpPr/>
            <p:nvPr/>
          </p:nvSpPr>
          <p:spPr>
            <a:xfrm>
              <a:off x="671818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" name="Полилиния 306">
              <a:extLst>
                <a:ext uri="{FF2B5EF4-FFF2-40B4-BE49-F238E27FC236}">
                  <a16:creationId xmlns:a16="http://schemas.microsoft.com/office/drawing/2014/main" id="{807693DE-4EED-1619-7112-78C59E94B6F3}"/>
                </a:ext>
              </a:extLst>
            </p:cNvPr>
            <p:cNvSpPr/>
            <p:nvPr/>
          </p:nvSpPr>
          <p:spPr>
            <a:xfrm>
              <a:off x="680746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" name="Полилиния 307">
              <a:extLst>
                <a:ext uri="{FF2B5EF4-FFF2-40B4-BE49-F238E27FC236}">
                  <a16:creationId xmlns:a16="http://schemas.microsoft.com/office/drawing/2014/main" id="{3034FD9F-2167-6065-A890-F63DFC2495C2}"/>
                </a:ext>
              </a:extLst>
            </p:cNvPr>
            <p:cNvSpPr/>
            <p:nvPr/>
          </p:nvSpPr>
          <p:spPr>
            <a:xfrm>
              <a:off x="689684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" name="Полилиния 308">
              <a:extLst>
                <a:ext uri="{FF2B5EF4-FFF2-40B4-BE49-F238E27FC236}">
                  <a16:creationId xmlns:a16="http://schemas.microsoft.com/office/drawing/2014/main" id="{B1A238E2-ACA8-0CF6-0508-BA65A8AF1DD8}"/>
                </a:ext>
              </a:extLst>
            </p:cNvPr>
            <p:cNvSpPr/>
            <p:nvPr/>
          </p:nvSpPr>
          <p:spPr>
            <a:xfrm>
              <a:off x="694148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" name="Полилиния 309">
              <a:extLst>
                <a:ext uri="{FF2B5EF4-FFF2-40B4-BE49-F238E27FC236}">
                  <a16:creationId xmlns:a16="http://schemas.microsoft.com/office/drawing/2014/main" id="{73384646-97A8-21BB-09D4-06E15B19C016}"/>
                </a:ext>
              </a:extLst>
            </p:cNvPr>
            <p:cNvSpPr/>
            <p:nvPr/>
          </p:nvSpPr>
          <p:spPr>
            <a:xfrm>
              <a:off x="7030758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" name="Полилиния 310">
              <a:extLst>
                <a:ext uri="{FF2B5EF4-FFF2-40B4-BE49-F238E27FC236}">
                  <a16:creationId xmlns:a16="http://schemas.microsoft.com/office/drawing/2014/main" id="{443670A1-57DD-30EE-51D2-8C324608873D}"/>
                </a:ext>
              </a:extLst>
            </p:cNvPr>
            <p:cNvSpPr/>
            <p:nvPr/>
          </p:nvSpPr>
          <p:spPr>
            <a:xfrm>
              <a:off x="712003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" name="Полилиния 311">
              <a:extLst>
                <a:ext uri="{FF2B5EF4-FFF2-40B4-BE49-F238E27FC236}">
                  <a16:creationId xmlns:a16="http://schemas.microsoft.com/office/drawing/2014/main" id="{BF05D027-10B4-A9DD-F31C-7BD77BAFA800}"/>
                </a:ext>
              </a:extLst>
            </p:cNvPr>
            <p:cNvSpPr/>
            <p:nvPr/>
          </p:nvSpPr>
          <p:spPr>
            <a:xfrm>
              <a:off x="7253955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" name="Полилиния 312">
              <a:extLst>
                <a:ext uri="{FF2B5EF4-FFF2-40B4-BE49-F238E27FC236}">
                  <a16:creationId xmlns:a16="http://schemas.microsoft.com/office/drawing/2014/main" id="{681F96B3-EC74-1A50-6FD5-95558101E376}"/>
                </a:ext>
              </a:extLst>
            </p:cNvPr>
            <p:cNvSpPr/>
            <p:nvPr/>
          </p:nvSpPr>
          <p:spPr>
            <a:xfrm>
              <a:off x="7298594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" name="Полилиния 313">
              <a:extLst>
                <a:ext uri="{FF2B5EF4-FFF2-40B4-BE49-F238E27FC236}">
                  <a16:creationId xmlns:a16="http://schemas.microsoft.com/office/drawing/2014/main" id="{4E324197-4564-6C30-B4D4-78560504C6C4}"/>
                </a:ext>
              </a:extLst>
            </p:cNvPr>
            <p:cNvSpPr/>
            <p:nvPr/>
          </p:nvSpPr>
          <p:spPr>
            <a:xfrm>
              <a:off x="734323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" name="Полилиния 314">
              <a:extLst>
                <a:ext uri="{FF2B5EF4-FFF2-40B4-BE49-F238E27FC236}">
                  <a16:creationId xmlns:a16="http://schemas.microsoft.com/office/drawing/2014/main" id="{F90F2086-7FB1-BF37-FC25-ED1F64ACE0EB}"/>
                </a:ext>
              </a:extLst>
            </p:cNvPr>
            <p:cNvSpPr/>
            <p:nvPr/>
          </p:nvSpPr>
          <p:spPr>
            <a:xfrm>
              <a:off x="747715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" name="Полилиния 315">
              <a:extLst>
                <a:ext uri="{FF2B5EF4-FFF2-40B4-BE49-F238E27FC236}">
                  <a16:creationId xmlns:a16="http://schemas.microsoft.com/office/drawing/2014/main" id="{A902C540-54A0-D19D-CE99-7DF900B61BDE}"/>
                </a:ext>
              </a:extLst>
            </p:cNvPr>
            <p:cNvSpPr/>
            <p:nvPr/>
          </p:nvSpPr>
          <p:spPr>
            <a:xfrm>
              <a:off x="765580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" name="Полилиния 316">
              <a:extLst>
                <a:ext uri="{FF2B5EF4-FFF2-40B4-BE49-F238E27FC236}">
                  <a16:creationId xmlns:a16="http://schemas.microsoft.com/office/drawing/2014/main" id="{394D5420-A563-14FA-63A6-639F7B8ED4AC}"/>
                </a:ext>
              </a:extLst>
            </p:cNvPr>
            <p:cNvSpPr/>
            <p:nvPr/>
          </p:nvSpPr>
          <p:spPr>
            <a:xfrm>
              <a:off x="649499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" name="Полилиния 317">
              <a:extLst>
                <a:ext uri="{FF2B5EF4-FFF2-40B4-BE49-F238E27FC236}">
                  <a16:creationId xmlns:a16="http://schemas.microsoft.com/office/drawing/2014/main" id="{EF7C7AEE-66AD-62AD-A4EA-91DC6B8F2154}"/>
                </a:ext>
              </a:extLst>
            </p:cNvPr>
            <p:cNvSpPr/>
            <p:nvPr/>
          </p:nvSpPr>
          <p:spPr>
            <a:xfrm>
              <a:off x="653963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" name="Полилиния 318">
              <a:extLst>
                <a:ext uri="{FF2B5EF4-FFF2-40B4-BE49-F238E27FC236}">
                  <a16:creationId xmlns:a16="http://schemas.microsoft.com/office/drawing/2014/main" id="{4E9897C5-5E83-C727-732E-A4BAC99C2449}"/>
                </a:ext>
              </a:extLst>
            </p:cNvPr>
            <p:cNvSpPr/>
            <p:nvPr/>
          </p:nvSpPr>
          <p:spPr>
            <a:xfrm>
              <a:off x="658427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" name="Полилиния 319">
              <a:extLst>
                <a:ext uri="{FF2B5EF4-FFF2-40B4-BE49-F238E27FC236}">
                  <a16:creationId xmlns:a16="http://schemas.microsoft.com/office/drawing/2014/main" id="{6587FBF1-6216-F1C9-90AD-566807CD375B}"/>
                </a:ext>
              </a:extLst>
            </p:cNvPr>
            <p:cNvSpPr/>
            <p:nvPr/>
          </p:nvSpPr>
          <p:spPr>
            <a:xfrm>
              <a:off x="667354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" name="Полилиния 320">
              <a:extLst>
                <a:ext uri="{FF2B5EF4-FFF2-40B4-BE49-F238E27FC236}">
                  <a16:creationId xmlns:a16="http://schemas.microsoft.com/office/drawing/2014/main" id="{02660714-21A6-A613-910A-57FA15EBF3A9}"/>
                </a:ext>
              </a:extLst>
            </p:cNvPr>
            <p:cNvSpPr/>
            <p:nvPr/>
          </p:nvSpPr>
          <p:spPr>
            <a:xfrm>
              <a:off x="676282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" name="Полилиния 321">
              <a:extLst>
                <a:ext uri="{FF2B5EF4-FFF2-40B4-BE49-F238E27FC236}">
                  <a16:creationId xmlns:a16="http://schemas.microsoft.com/office/drawing/2014/main" id="{2ECA0B2F-3FFB-2E56-A719-9AEF8D09C369}"/>
                </a:ext>
              </a:extLst>
            </p:cNvPr>
            <p:cNvSpPr/>
            <p:nvPr/>
          </p:nvSpPr>
          <p:spPr>
            <a:xfrm>
              <a:off x="6807467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" name="Полилиния 322">
              <a:extLst>
                <a:ext uri="{FF2B5EF4-FFF2-40B4-BE49-F238E27FC236}">
                  <a16:creationId xmlns:a16="http://schemas.microsoft.com/office/drawing/2014/main" id="{3E8FD7AE-BEBF-2CD9-7B1E-9E3E8A4D5DA3}"/>
                </a:ext>
              </a:extLst>
            </p:cNvPr>
            <p:cNvSpPr/>
            <p:nvPr/>
          </p:nvSpPr>
          <p:spPr>
            <a:xfrm>
              <a:off x="685210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" name="Полилиния 323">
              <a:extLst>
                <a:ext uri="{FF2B5EF4-FFF2-40B4-BE49-F238E27FC236}">
                  <a16:creationId xmlns:a16="http://schemas.microsoft.com/office/drawing/2014/main" id="{218E5B38-AE6D-1BB5-6C38-000EFA7535EA}"/>
                </a:ext>
              </a:extLst>
            </p:cNvPr>
            <p:cNvSpPr/>
            <p:nvPr/>
          </p:nvSpPr>
          <p:spPr>
            <a:xfrm>
              <a:off x="703075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" name="Полилиния 324">
              <a:extLst>
                <a:ext uri="{FF2B5EF4-FFF2-40B4-BE49-F238E27FC236}">
                  <a16:creationId xmlns:a16="http://schemas.microsoft.com/office/drawing/2014/main" id="{A0C4D864-0421-1C1E-577A-A08FBBF8D108}"/>
                </a:ext>
              </a:extLst>
            </p:cNvPr>
            <p:cNvSpPr/>
            <p:nvPr/>
          </p:nvSpPr>
          <p:spPr>
            <a:xfrm>
              <a:off x="707539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" name="Полилиния 325">
              <a:extLst>
                <a:ext uri="{FF2B5EF4-FFF2-40B4-BE49-F238E27FC236}">
                  <a16:creationId xmlns:a16="http://schemas.microsoft.com/office/drawing/2014/main" id="{EE443848-11C4-F80D-13D5-05448B9FEE95}"/>
                </a:ext>
              </a:extLst>
            </p:cNvPr>
            <p:cNvSpPr/>
            <p:nvPr/>
          </p:nvSpPr>
          <p:spPr>
            <a:xfrm>
              <a:off x="716467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" name="Полилиния 326">
              <a:extLst>
                <a:ext uri="{FF2B5EF4-FFF2-40B4-BE49-F238E27FC236}">
                  <a16:creationId xmlns:a16="http://schemas.microsoft.com/office/drawing/2014/main" id="{314501DA-B082-2549-7137-A1F1E9306AFE}"/>
                </a:ext>
              </a:extLst>
            </p:cNvPr>
            <p:cNvSpPr/>
            <p:nvPr/>
          </p:nvSpPr>
          <p:spPr>
            <a:xfrm>
              <a:off x="720931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" name="Полилиния 327">
              <a:extLst>
                <a:ext uri="{FF2B5EF4-FFF2-40B4-BE49-F238E27FC236}">
                  <a16:creationId xmlns:a16="http://schemas.microsoft.com/office/drawing/2014/main" id="{2012FEFE-BD26-BA99-B108-3736AE6CFF10}"/>
                </a:ext>
              </a:extLst>
            </p:cNvPr>
            <p:cNvSpPr/>
            <p:nvPr/>
          </p:nvSpPr>
          <p:spPr>
            <a:xfrm>
              <a:off x="725395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" name="Полилиния 328">
              <a:extLst>
                <a:ext uri="{FF2B5EF4-FFF2-40B4-BE49-F238E27FC236}">
                  <a16:creationId xmlns:a16="http://schemas.microsoft.com/office/drawing/2014/main" id="{CD0C4F9C-B916-7AE6-1FF5-FFE99DEB08E6}"/>
                </a:ext>
              </a:extLst>
            </p:cNvPr>
            <p:cNvSpPr/>
            <p:nvPr/>
          </p:nvSpPr>
          <p:spPr>
            <a:xfrm>
              <a:off x="765580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" name="Полилиния 329">
              <a:extLst>
                <a:ext uri="{FF2B5EF4-FFF2-40B4-BE49-F238E27FC236}">
                  <a16:creationId xmlns:a16="http://schemas.microsoft.com/office/drawing/2014/main" id="{43D048B3-9390-21FC-0A94-5F4D221CDA43}"/>
                </a:ext>
              </a:extLst>
            </p:cNvPr>
            <p:cNvSpPr/>
            <p:nvPr/>
          </p:nvSpPr>
          <p:spPr>
            <a:xfrm>
              <a:off x="774508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" name="Полилиния 330">
              <a:extLst>
                <a:ext uri="{FF2B5EF4-FFF2-40B4-BE49-F238E27FC236}">
                  <a16:creationId xmlns:a16="http://schemas.microsoft.com/office/drawing/2014/main" id="{B1C063D4-D982-5FC7-FDEC-268E79514ABE}"/>
                </a:ext>
              </a:extLst>
            </p:cNvPr>
            <p:cNvSpPr/>
            <p:nvPr/>
          </p:nvSpPr>
          <p:spPr>
            <a:xfrm>
              <a:off x="778972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" name="Полилиния 331">
              <a:extLst>
                <a:ext uri="{FF2B5EF4-FFF2-40B4-BE49-F238E27FC236}">
                  <a16:creationId xmlns:a16="http://schemas.microsoft.com/office/drawing/2014/main" id="{AEF038B3-025D-5779-611B-4E13B1A9B8CE}"/>
                </a:ext>
              </a:extLst>
            </p:cNvPr>
            <p:cNvSpPr/>
            <p:nvPr/>
          </p:nvSpPr>
          <p:spPr>
            <a:xfrm>
              <a:off x="7834360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" name="Полилиния 332">
              <a:extLst>
                <a:ext uri="{FF2B5EF4-FFF2-40B4-BE49-F238E27FC236}">
                  <a16:creationId xmlns:a16="http://schemas.microsoft.com/office/drawing/2014/main" id="{2DB6B9D0-5C2D-4D71-E3FC-F0D881A446E4}"/>
                </a:ext>
              </a:extLst>
            </p:cNvPr>
            <p:cNvSpPr/>
            <p:nvPr/>
          </p:nvSpPr>
          <p:spPr>
            <a:xfrm>
              <a:off x="787899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" name="Полилиния 333">
              <a:extLst>
                <a:ext uri="{FF2B5EF4-FFF2-40B4-BE49-F238E27FC236}">
                  <a16:creationId xmlns:a16="http://schemas.microsoft.com/office/drawing/2014/main" id="{41B367E5-4CE1-6BA6-D4F3-2FF9661E742A}"/>
                </a:ext>
              </a:extLst>
            </p:cNvPr>
            <p:cNvSpPr/>
            <p:nvPr/>
          </p:nvSpPr>
          <p:spPr>
            <a:xfrm>
              <a:off x="645035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" name="Полилиния 334">
              <a:extLst>
                <a:ext uri="{FF2B5EF4-FFF2-40B4-BE49-F238E27FC236}">
                  <a16:creationId xmlns:a16="http://schemas.microsoft.com/office/drawing/2014/main" id="{6E0B7A81-0D2B-1D37-6475-34E08304019B}"/>
                </a:ext>
              </a:extLst>
            </p:cNvPr>
            <p:cNvSpPr/>
            <p:nvPr/>
          </p:nvSpPr>
          <p:spPr>
            <a:xfrm>
              <a:off x="649499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" name="Полилиния 335">
              <a:extLst>
                <a:ext uri="{FF2B5EF4-FFF2-40B4-BE49-F238E27FC236}">
                  <a16:creationId xmlns:a16="http://schemas.microsoft.com/office/drawing/2014/main" id="{494AB906-EACA-A4C7-2861-2C93736D58F3}"/>
                </a:ext>
              </a:extLst>
            </p:cNvPr>
            <p:cNvSpPr/>
            <p:nvPr/>
          </p:nvSpPr>
          <p:spPr>
            <a:xfrm>
              <a:off x="658427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" name="Полилиния 336">
              <a:extLst>
                <a:ext uri="{FF2B5EF4-FFF2-40B4-BE49-F238E27FC236}">
                  <a16:creationId xmlns:a16="http://schemas.microsoft.com/office/drawing/2014/main" id="{E996BAD6-6E6C-AC78-6CBE-9ADC531329E1}"/>
                </a:ext>
              </a:extLst>
            </p:cNvPr>
            <p:cNvSpPr/>
            <p:nvPr/>
          </p:nvSpPr>
          <p:spPr>
            <a:xfrm>
              <a:off x="667354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" name="Полилиния 337">
              <a:extLst>
                <a:ext uri="{FF2B5EF4-FFF2-40B4-BE49-F238E27FC236}">
                  <a16:creationId xmlns:a16="http://schemas.microsoft.com/office/drawing/2014/main" id="{8047F53A-C018-BC98-D2C3-CF7404DD7654}"/>
                </a:ext>
              </a:extLst>
            </p:cNvPr>
            <p:cNvSpPr/>
            <p:nvPr/>
          </p:nvSpPr>
          <p:spPr>
            <a:xfrm>
              <a:off x="671818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" name="Полилиния 338">
              <a:extLst>
                <a:ext uri="{FF2B5EF4-FFF2-40B4-BE49-F238E27FC236}">
                  <a16:creationId xmlns:a16="http://schemas.microsoft.com/office/drawing/2014/main" id="{DDDA5FF5-845B-9934-2887-221D2E7F96CA}"/>
                </a:ext>
              </a:extLst>
            </p:cNvPr>
            <p:cNvSpPr/>
            <p:nvPr/>
          </p:nvSpPr>
          <p:spPr>
            <a:xfrm>
              <a:off x="685210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" name="Полилиния 339">
              <a:extLst>
                <a:ext uri="{FF2B5EF4-FFF2-40B4-BE49-F238E27FC236}">
                  <a16:creationId xmlns:a16="http://schemas.microsoft.com/office/drawing/2014/main" id="{D71998AF-51B1-B901-51AF-388C36D546DE}"/>
                </a:ext>
              </a:extLst>
            </p:cNvPr>
            <p:cNvSpPr/>
            <p:nvPr/>
          </p:nvSpPr>
          <p:spPr>
            <a:xfrm>
              <a:off x="689684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" name="Полилиния 340">
              <a:extLst>
                <a:ext uri="{FF2B5EF4-FFF2-40B4-BE49-F238E27FC236}">
                  <a16:creationId xmlns:a16="http://schemas.microsoft.com/office/drawing/2014/main" id="{8B02C068-9722-7C6A-DE8F-ACC6B55E2F8B}"/>
                </a:ext>
              </a:extLst>
            </p:cNvPr>
            <p:cNvSpPr/>
            <p:nvPr/>
          </p:nvSpPr>
          <p:spPr>
            <a:xfrm>
              <a:off x="716467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" name="Полилиния 341">
              <a:extLst>
                <a:ext uri="{FF2B5EF4-FFF2-40B4-BE49-F238E27FC236}">
                  <a16:creationId xmlns:a16="http://schemas.microsoft.com/office/drawing/2014/main" id="{5AEA93B7-F875-CE45-289C-0FDD7C7B7378}"/>
                </a:ext>
              </a:extLst>
            </p:cNvPr>
            <p:cNvSpPr/>
            <p:nvPr/>
          </p:nvSpPr>
          <p:spPr>
            <a:xfrm>
              <a:off x="7253955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" name="Полилиния 342">
              <a:extLst>
                <a:ext uri="{FF2B5EF4-FFF2-40B4-BE49-F238E27FC236}">
                  <a16:creationId xmlns:a16="http://schemas.microsoft.com/office/drawing/2014/main" id="{166620B7-DE1C-9DD8-D412-0E2807179B91}"/>
                </a:ext>
              </a:extLst>
            </p:cNvPr>
            <p:cNvSpPr/>
            <p:nvPr/>
          </p:nvSpPr>
          <p:spPr>
            <a:xfrm>
              <a:off x="734323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" name="Полилиния 343">
              <a:extLst>
                <a:ext uri="{FF2B5EF4-FFF2-40B4-BE49-F238E27FC236}">
                  <a16:creationId xmlns:a16="http://schemas.microsoft.com/office/drawing/2014/main" id="{D878C388-9103-E06F-81FA-B103825EE02A}"/>
                </a:ext>
              </a:extLst>
            </p:cNvPr>
            <p:cNvSpPr/>
            <p:nvPr/>
          </p:nvSpPr>
          <p:spPr>
            <a:xfrm>
              <a:off x="738787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" name="Полилиния 344">
              <a:extLst>
                <a:ext uri="{FF2B5EF4-FFF2-40B4-BE49-F238E27FC236}">
                  <a16:creationId xmlns:a16="http://schemas.microsoft.com/office/drawing/2014/main" id="{1C7DD5D7-B0EC-BDBE-BB81-03BC9E4C11E9}"/>
                </a:ext>
              </a:extLst>
            </p:cNvPr>
            <p:cNvSpPr/>
            <p:nvPr/>
          </p:nvSpPr>
          <p:spPr>
            <a:xfrm>
              <a:off x="747715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" name="Полилиния 345">
              <a:extLst>
                <a:ext uri="{FF2B5EF4-FFF2-40B4-BE49-F238E27FC236}">
                  <a16:creationId xmlns:a16="http://schemas.microsoft.com/office/drawing/2014/main" id="{36EE600D-E5AA-E647-24C5-3C4E9DC1F21E}"/>
                </a:ext>
              </a:extLst>
            </p:cNvPr>
            <p:cNvSpPr/>
            <p:nvPr/>
          </p:nvSpPr>
          <p:spPr>
            <a:xfrm>
              <a:off x="756652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" name="Полилиния 346">
              <a:extLst>
                <a:ext uri="{FF2B5EF4-FFF2-40B4-BE49-F238E27FC236}">
                  <a16:creationId xmlns:a16="http://schemas.microsoft.com/office/drawing/2014/main" id="{896E09F0-9F4B-E025-67A2-C37732EA536A}"/>
                </a:ext>
              </a:extLst>
            </p:cNvPr>
            <p:cNvSpPr/>
            <p:nvPr/>
          </p:nvSpPr>
          <p:spPr>
            <a:xfrm>
              <a:off x="761116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" name="Полилиния 347">
              <a:extLst>
                <a:ext uri="{FF2B5EF4-FFF2-40B4-BE49-F238E27FC236}">
                  <a16:creationId xmlns:a16="http://schemas.microsoft.com/office/drawing/2014/main" id="{B48046FA-20FC-BC59-7719-E8CBB83EE42E}"/>
                </a:ext>
              </a:extLst>
            </p:cNvPr>
            <p:cNvSpPr/>
            <p:nvPr/>
          </p:nvSpPr>
          <p:spPr>
            <a:xfrm>
              <a:off x="770044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" name="Полилиния 348">
              <a:extLst>
                <a:ext uri="{FF2B5EF4-FFF2-40B4-BE49-F238E27FC236}">
                  <a16:creationId xmlns:a16="http://schemas.microsoft.com/office/drawing/2014/main" id="{AA53CC91-FA1C-E222-3070-CC9F8B154BAD}"/>
                </a:ext>
              </a:extLst>
            </p:cNvPr>
            <p:cNvSpPr/>
            <p:nvPr/>
          </p:nvSpPr>
          <p:spPr>
            <a:xfrm>
              <a:off x="774508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" name="Полилиния 349">
              <a:extLst>
                <a:ext uri="{FF2B5EF4-FFF2-40B4-BE49-F238E27FC236}">
                  <a16:creationId xmlns:a16="http://schemas.microsoft.com/office/drawing/2014/main" id="{32A097AC-D2D9-7FFE-F8AC-6D057BCFC01D}"/>
                </a:ext>
              </a:extLst>
            </p:cNvPr>
            <p:cNvSpPr/>
            <p:nvPr/>
          </p:nvSpPr>
          <p:spPr>
            <a:xfrm>
              <a:off x="787899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" name="Полилиния 350">
              <a:extLst>
                <a:ext uri="{FF2B5EF4-FFF2-40B4-BE49-F238E27FC236}">
                  <a16:creationId xmlns:a16="http://schemas.microsoft.com/office/drawing/2014/main" id="{E0AED521-08F3-FEF2-CE07-DE29984916C5}"/>
                </a:ext>
              </a:extLst>
            </p:cNvPr>
            <p:cNvSpPr/>
            <p:nvPr/>
          </p:nvSpPr>
          <p:spPr>
            <a:xfrm>
              <a:off x="658427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" name="Полилиния 351">
              <a:extLst>
                <a:ext uri="{FF2B5EF4-FFF2-40B4-BE49-F238E27FC236}">
                  <a16:creationId xmlns:a16="http://schemas.microsoft.com/office/drawing/2014/main" id="{99EB6489-1222-C58A-1271-611BF657A822}"/>
                </a:ext>
              </a:extLst>
            </p:cNvPr>
            <p:cNvSpPr/>
            <p:nvPr/>
          </p:nvSpPr>
          <p:spPr>
            <a:xfrm>
              <a:off x="662891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" name="Полилиния 352">
              <a:extLst>
                <a:ext uri="{FF2B5EF4-FFF2-40B4-BE49-F238E27FC236}">
                  <a16:creationId xmlns:a16="http://schemas.microsoft.com/office/drawing/2014/main" id="{E4698306-7133-3553-2A53-0EE323123E40}"/>
                </a:ext>
              </a:extLst>
            </p:cNvPr>
            <p:cNvSpPr/>
            <p:nvPr/>
          </p:nvSpPr>
          <p:spPr>
            <a:xfrm>
              <a:off x="667354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" name="Полилиния 353">
              <a:extLst>
                <a:ext uri="{FF2B5EF4-FFF2-40B4-BE49-F238E27FC236}">
                  <a16:creationId xmlns:a16="http://schemas.microsoft.com/office/drawing/2014/main" id="{5FCC14CC-2B77-9323-1FA1-9DB6C321DD2C}"/>
                </a:ext>
              </a:extLst>
            </p:cNvPr>
            <p:cNvSpPr/>
            <p:nvPr/>
          </p:nvSpPr>
          <p:spPr>
            <a:xfrm>
              <a:off x="676282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" name="Полилиния 354">
              <a:extLst>
                <a:ext uri="{FF2B5EF4-FFF2-40B4-BE49-F238E27FC236}">
                  <a16:creationId xmlns:a16="http://schemas.microsoft.com/office/drawing/2014/main" id="{7570B6F6-E2BC-2E41-39DF-B1D70FA70237}"/>
                </a:ext>
              </a:extLst>
            </p:cNvPr>
            <p:cNvSpPr/>
            <p:nvPr/>
          </p:nvSpPr>
          <p:spPr>
            <a:xfrm>
              <a:off x="685210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" name="Полилиния 355">
              <a:extLst>
                <a:ext uri="{FF2B5EF4-FFF2-40B4-BE49-F238E27FC236}">
                  <a16:creationId xmlns:a16="http://schemas.microsoft.com/office/drawing/2014/main" id="{5901828D-70DC-B686-9803-AA3721253AFF}"/>
                </a:ext>
              </a:extLst>
            </p:cNvPr>
            <p:cNvSpPr/>
            <p:nvPr/>
          </p:nvSpPr>
          <p:spPr>
            <a:xfrm>
              <a:off x="694148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" name="Полилиния 356">
              <a:extLst>
                <a:ext uri="{FF2B5EF4-FFF2-40B4-BE49-F238E27FC236}">
                  <a16:creationId xmlns:a16="http://schemas.microsoft.com/office/drawing/2014/main" id="{D94CE48B-A278-6303-D34D-878DF1ABAF6A}"/>
                </a:ext>
              </a:extLst>
            </p:cNvPr>
            <p:cNvSpPr/>
            <p:nvPr/>
          </p:nvSpPr>
          <p:spPr>
            <a:xfrm>
              <a:off x="698611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" name="Полилиния 357">
              <a:extLst>
                <a:ext uri="{FF2B5EF4-FFF2-40B4-BE49-F238E27FC236}">
                  <a16:creationId xmlns:a16="http://schemas.microsoft.com/office/drawing/2014/main" id="{9BF8E8E3-19B2-DF1D-ABCB-AB85C2D080DB}"/>
                </a:ext>
              </a:extLst>
            </p:cNvPr>
            <p:cNvSpPr/>
            <p:nvPr/>
          </p:nvSpPr>
          <p:spPr>
            <a:xfrm>
              <a:off x="703075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" name="Полилиния 358">
              <a:extLst>
                <a:ext uri="{FF2B5EF4-FFF2-40B4-BE49-F238E27FC236}">
                  <a16:creationId xmlns:a16="http://schemas.microsoft.com/office/drawing/2014/main" id="{E1816DC2-578B-C588-E97E-4AE0AA0A797E}"/>
                </a:ext>
              </a:extLst>
            </p:cNvPr>
            <p:cNvSpPr/>
            <p:nvPr/>
          </p:nvSpPr>
          <p:spPr>
            <a:xfrm>
              <a:off x="707539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" name="Полилиния 359">
              <a:extLst>
                <a:ext uri="{FF2B5EF4-FFF2-40B4-BE49-F238E27FC236}">
                  <a16:creationId xmlns:a16="http://schemas.microsoft.com/office/drawing/2014/main" id="{E816D02B-79AE-A9C9-AFEC-7B6C4BB040D1}"/>
                </a:ext>
              </a:extLst>
            </p:cNvPr>
            <p:cNvSpPr/>
            <p:nvPr/>
          </p:nvSpPr>
          <p:spPr>
            <a:xfrm>
              <a:off x="7120037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" name="Полилиния 360">
              <a:extLst>
                <a:ext uri="{FF2B5EF4-FFF2-40B4-BE49-F238E27FC236}">
                  <a16:creationId xmlns:a16="http://schemas.microsoft.com/office/drawing/2014/main" id="{B4ACABDD-858B-152C-2B8D-9231867AB767}"/>
                </a:ext>
              </a:extLst>
            </p:cNvPr>
            <p:cNvSpPr/>
            <p:nvPr/>
          </p:nvSpPr>
          <p:spPr>
            <a:xfrm>
              <a:off x="716467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" name="Полилиния 361">
              <a:extLst>
                <a:ext uri="{FF2B5EF4-FFF2-40B4-BE49-F238E27FC236}">
                  <a16:creationId xmlns:a16="http://schemas.microsoft.com/office/drawing/2014/main" id="{AC7B1919-854F-28F3-5A93-B7F377999494}"/>
                </a:ext>
              </a:extLst>
            </p:cNvPr>
            <p:cNvSpPr/>
            <p:nvPr/>
          </p:nvSpPr>
          <p:spPr>
            <a:xfrm>
              <a:off x="7209315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" name="Полилиния 362">
              <a:extLst>
                <a:ext uri="{FF2B5EF4-FFF2-40B4-BE49-F238E27FC236}">
                  <a16:creationId xmlns:a16="http://schemas.microsoft.com/office/drawing/2014/main" id="{865D53BE-3423-936A-5853-A5116AB4FA06}"/>
                </a:ext>
              </a:extLst>
            </p:cNvPr>
            <p:cNvSpPr/>
            <p:nvPr/>
          </p:nvSpPr>
          <p:spPr>
            <a:xfrm>
              <a:off x="7298594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" name="Полилиния 363">
              <a:extLst>
                <a:ext uri="{FF2B5EF4-FFF2-40B4-BE49-F238E27FC236}">
                  <a16:creationId xmlns:a16="http://schemas.microsoft.com/office/drawing/2014/main" id="{978E287E-ED42-5532-61E9-41F166AEBE73}"/>
                </a:ext>
              </a:extLst>
            </p:cNvPr>
            <p:cNvSpPr/>
            <p:nvPr/>
          </p:nvSpPr>
          <p:spPr>
            <a:xfrm>
              <a:off x="7655803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" name="Полилиния 364">
              <a:extLst>
                <a:ext uri="{FF2B5EF4-FFF2-40B4-BE49-F238E27FC236}">
                  <a16:creationId xmlns:a16="http://schemas.microsoft.com/office/drawing/2014/main" id="{329B87C4-5F62-131F-E2DF-3B29750C68DC}"/>
                </a:ext>
              </a:extLst>
            </p:cNvPr>
            <p:cNvSpPr/>
            <p:nvPr/>
          </p:nvSpPr>
          <p:spPr>
            <a:xfrm>
              <a:off x="7700442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" name="Полилиния 365">
              <a:extLst>
                <a:ext uri="{FF2B5EF4-FFF2-40B4-BE49-F238E27FC236}">
                  <a16:creationId xmlns:a16="http://schemas.microsoft.com/office/drawing/2014/main" id="{F8F2B30F-C3C8-41D0-F89E-DDDD2E6E1515}"/>
                </a:ext>
              </a:extLst>
            </p:cNvPr>
            <p:cNvSpPr/>
            <p:nvPr/>
          </p:nvSpPr>
          <p:spPr>
            <a:xfrm>
              <a:off x="774508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" name="Полилиния 366">
              <a:extLst>
                <a:ext uri="{FF2B5EF4-FFF2-40B4-BE49-F238E27FC236}">
                  <a16:creationId xmlns:a16="http://schemas.microsoft.com/office/drawing/2014/main" id="{B1BA1014-91B3-6CAF-2250-C83ABE205740}"/>
                </a:ext>
              </a:extLst>
            </p:cNvPr>
            <p:cNvSpPr/>
            <p:nvPr/>
          </p:nvSpPr>
          <p:spPr>
            <a:xfrm>
              <a:off x="783436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" name="Полилиния 367">
              <a:extLst>
                <a:ext uri="{FF2B5EF4-FFF2-40B4-BE49-F238E27FC236}">
                  <a16:creationId xmlns:a16="http://schemas.microsoft.com/office/drawing/2014/main" id="{9F0C03A4-FD7A-8274-15F2-7D4839F658E0}"/>
                </a:ext>
              </a:extLst>
            </p:cNvPr>
            <p:cNvSpPr/>
            <p:nvPr/>
          </p:nvSpPr>
          <p:spPr>
            <a:xfrm>
              <a:off x="645035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" name="Полилиния 368">
              <a:extLst>
                <a:ext uri="{FF2B5EF4-FFF2-40B4-BE49-F238E27FC236}">
                  <a16:creationId xmlns:a16="http://schemas.microsoft.com/office/drawing/2014/main" id="{670BBCDC-2AE4-4740-DFB4-FD813B1289B7}"/>
                </a:ext>
              </a:extLst>
            </p:cNvPr>
            <p:cNvSpPr/>
            <p:nvPr/>
          </p:nvSpPr>
          <p:spPr>
            <a:xfrm>
              <a:off x="649499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" name="Полилиния 369">
              <a:extLst>
                <a:ext uri="{FF2B5EF4-FFF2-40B4-BE49-F238E27FC236}">
                  <a16:creationId xmlns:a16="http://schemas.microsoft.com/office/drawing/2014/main" id="{DA3DFCD5-FD22-7D08-E548-45D030BD57CF}"/>
                </a:ext>
              </a:extLst>
            </p:cNvPr>
            <p:cNvSpPr/>
            <p:nvPr/>
          </p:nvSpPr>
          <p:spPr>
            <a:xfrm>
              <a:off x="653963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" name="Полилиния 370">
              <a:extLst>
                <a:ext uri="{FF2B5EF4-FFF2-40B4-BE49-F238E27FC236}">
                  <a16:creationId xmlns:a16="http://schemas.microsoft.com/office/drawing/2014/main" id="{8BFDBA06-E4F1-67A7-CAF2-101FD3A8272C}"/>
                </a:ext>
              </a:extLst>
            </p:cNvPr>
            <p:cNvSpPr/>
            <p:nvPr/>
          </p:nvSpPr>
          <p:spPr>
            <a:xfrm>
              <a:off x="658427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" name="Полилиния 371">
              <a:extLst>
                <a:ext uri="{FF2B5EF4-FFF2-40B4-BE49-F238E27FC236}">
                  <a16:creationId xmlns:a16="http://schemas.microsoft.com/office/drawing/2014/main" id="{9EF1F016-659D-3A3E-2830-3936A883ECC8}"/>
                </a:ext>
              </a:extLst>
            </p:cNvPr>
            <p:cNvSpPr/>
            <p:nvPr/>
          </p:nvSpPr>
          <p:spPr>
            <a:xfrm>
              <a:off x="662891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" name="Полилиния 372">
              <a:extLst>
                <a:ext uri="{FF2B5EF4-FFF2-40B4-BE49-F238E27FC236}">
                  <a16:creationId xmlns:a16="http://schemas.microsoft.com/office/drawing/2014/main" id="{F2804DB5-445B-F2C1-9727-546BD51DD1E6}"/>
                </a:ext>
              </a:extLst>
            </p:cNvPr>
            <p:cNvSpPr/>
            <p:nvPr/>
          </p:nvSpPr>
          <p:spPr>
            <a:xfrm>
              <a:off x="671818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" name="Полилиния 373">
              <a:extLst>
                <a:ext uri="{FF2B5EF4-FFF2-40B4-BE49-F238E27FC236}">
                  <a16:creationId xmlns:a16="http://schemas.microsoft.com/office/drawing/2014/main" id="{6802C9D1-ED8D-DA60-635C-1E3AB009ECD1}"/>
                </a:ext>
              </a:extLst>
            </p:cNvPr>
            <p:cNvSpPr/>
            <p:nvPr/>
          </p:nvSpPr>
          <p:spPr>
            <a:xfrm>
              <a:off x="698611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" name="Полилиния 374">
              <a:extLst>
                <a:ext uri="{FF2B5EF4-FFF2-40B4-BE49-F238E27FC236}">
                  <a16:creationId xmlns:a16="http://schemas.microsoft.com/office/drawing/2014/main" id="{C651B77D-A241-209F-E96F-A30912741620}"/>
                </a:ext>
              </a:extLst>
            </p:cNvPr>
            <p:cNvSpPr/>
            <p:nvPr/>
          </p:nvSpPr>
          <p:spPr>
            <a:xfrm>
              <a:off x="7030758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" name="Полилиния 375">
              <a:extLst>
                <a:ext uri="{FF2B5EF4-FFF2-40B4-BE49-F238E27FC236}">
                  <a16:creationId xmlns:a16="http://schemas.microsoft.com/office/drawing/2014/main" id="{79C44ABC-582C-FF2F-B8F1-92C66754E9CB}"/>
                </a:ext>
              </a:extLst>
            </p:cNvPr>
            <p:cNvSpPr/>
            <p:nvPr/>
          </p:nvSpPr>
          <p:spPr>
            <a:xfrm>
              <a:off x="7120037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" name="Полилиния 376">
              <a:extLst>
                <a:ext uri="{FF2B5EF4-FFF2-40B4-BE49-F238E27FC236}">
                  <a16:creationId xmlns:a16="http://schemas.microsoft.com/office/drawing/2014/main" id="{260E2A8A-1420-D3B6-EB6B-23CABC1799AD}"/>
                </a:ext>
              </a:extLst>
            </p:cNvPr>
            <p:cNvSpPr/>
            <p:nvPr/>
          </p:nvSpPr>
          <p:spPr>
            <a:xfrm>
              <a:off x="725395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" name="Полилиния 377">
              <a:extLst>
                <a:ext uri="{FF2B5EF4-FFF2-40B4-BE49-F238E27FC236}">
                  <a16:creationId xmlns:a16="http://schemas.microsoft.com/office/drawing/2014/main" id="{17AADD70-3AE3-4659-2CFA-9D01A96AC036}"/>
                </a:ext>
              </a:extLst>
            </p:cNvPr>
            <p:cNvSpPr/>
            <p:nvPr/>
          </p:nvSpPr>
          <p:spPr>
            <a:xfrm>
              <a:off x="734323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" name="Полилиния 378">
              <a:extLst>
                <a:ext uri="{FF2B5EF4-FFF2-40B4-BE49-F238E27FC236}">
                  <a16:creationId xmlns:a16="http://schemas.microsoft.com/office/drawing/2014/main" id="{605FB15E-3E16-7AF4-358D-CE95542C9844}"/>
                </a:ext>
              </a:extLst>
            </p:cNvPr>
            <p:cNvSpPr/>
            <p:nvPr/>
          </p:nvSpPr>
          <p:spPr>
            <a:xfrm>
              <a:off x="747715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" name="Полилиния 379">
              <a:extLst>
                <a:ext uri="{FF2B5EF4-FFF2-40B4-BE49-F238E27FC236}">
                  <a16:creationId xmlns:a16="http://schemas.microsoft.com/office/drawing/2014/main" id="{7A4CB699-F012-AFF4-6CA3-CFC46A2F9864}"/>
                </a:ext>
              </a:extLst>
            </p:cNvPr>
            <p:cNvSpPr/>
            <p:nvPr/>
          </p:nvSpPr>
          <p:spPr>
            <a:xfrm>
              <a:off x="752188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" name="Полилиния 380">
              <a:extLst>
                <a:ext uri="{FF2B5EF4-FFF2-40B4-BE49-F238E27FC236}">
                  <a16:creationId xmlns:a16="http://schemas.microsoft.com/office/drawing/2014/main" id="{EAB6F394-27EE-7342-6AD4-5B1B3E7DFB15}"/>
                </a:ext>
              </a:extLst>
            </p:cNvPr>
            <p:cNvSpPr/>
            <p:nvPr/>
          </p:nvSpPr>
          <p:spPr>
            <a:xfrm>
              <a:off x="756652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" name="Полилиния 381">
              <a:extLst>
                <a:ext uri="{FF2B5EF4-FFF2-40B4-BE49-F238E27FC236}">
                  <a16:creationId xmlns:a16="http://schemas.microsoft.com/office/drawing/2014/main" id="{CE755D19-9C4F-E3AD-BD9F-5BC53CD13C47}"/>
                </a:ext>
              </a:extLst>
            </p:cNvPr>
            <p:cNvSpPr/>
            <p:nvPr/>
          </p:nvSpPr>
          <p:spPr>
            <a:xfrm>
              <a:off x="761116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" name="Полилиния 382">
              <a:extLst>
                <a:ext uri="{FF2B5EF4-FFF2-40B4-BE49-F238E27FC236}">
                  <a16:creationId xmlns:a16="http://schemas.microsoft.com/office/drawing/2014/main" id="{70F20424-5448-596F-CD56-418FB74CD75A}"/>
                </a:ext>
              </a:extLst>
            </p:cNvPr>
            <p:cNvSpPr/>
            <p:nvPr/>
          </p:nvSpPr>
          <p:spPr>
            <a:xfrm>
              <a:off x="765580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" name="Полилиния 383">
              <a:extLst>
                <a:ext uri="{FF2B5EF4-FFF2-40B4-BE49-F238E27FC236}">
                  <a16:creationId xmlns:a16="http://schemas.microsoft.com/office/drawing/2014/main" id="{64A18BAD-9CF0-C9DB-1CAD-9C4007FEC34A}"/>
                </a:ext>
              </a:extLst>
            </p:cNvPr>
            <p:cNvSpPr/>
            <p:nvPr/>
          </p:nvSpPr>
          <p:spPr>
            <a:xfrm>
              <a:off x="7700442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" name="Полилиния 384">
              <a:extLst>
                <a:ext uri="{FF2B5EF4-FFF2-40B4-BE49-F238E27FC236}">
                  <a16:creationId xmlns:a16="http://schemas.microsoft.com/office/drawing/2014/main" id="{7EE9647A-DC12-0AD6-3C99-39A764ABB04D}"/>
                </a:ext>
              </a:extLst>
            </p:cNvPr>
            <p:cNvSpPr/>
            <p:nvPr/>
          </p:nvSpPr>
          <p:spPr>
            <a:xfrm>
              <a:off x="774508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" name="Полилиния 385">
              <a:extLst>
                <a:ext uri="{FF2B5EF4-FFF2-40B4-BE49-F238E27FC236}">
                  <a16:creationId xmlns:a16="http://schemas.microsoft.com/office/drawing/2014/main" id="{652189F6-9F53-046A-EE95-E4471BA2450A}"/>
                </a:ext>
              </a:extLst>
            </p:cNvPr>
            <p:cNvSpPr/>
            <p:nvPr/>
          </p:nvSpPr>
          <p:spPr>
            <a:xfrm>
              <a:off x="783436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" name="Полилиния 386">
              <a:extLst>
                <a:ext uri="{FF2B5EF4-FFF2-40B4-BE49-F238E27FC236}">
                  <a16:creationId xmlns:a16="http://schemas.microsoft.com/office/drawing/2014/main" id="{C3884808-B9CA-74B7-D7E9-B81AED931E49}"/>
                </a:ext>
              </a:extLst>
            </p:cNvPr>
            <p:cNvSpPr/>
            <p:nvPr/>
          </p:nvSpPr>
          <p:spPr>
            <a:xfrm>
              <a:off x="787899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" name="Полилиния 387">
              <a:extLst>
                <a:ext uri="{FF2B5EF4-FFF2-40B4-BE49-F238E27FC236}">
                  <a16:creationId xmlns:a16="http://schemas.microsoft.com/office/drawing/2014/main" id="{038AA901-65D3-0763-7655-B178F29578FC}"/>
                </a:ext>
              </a:extLst>
            </p:cNvPr>
            <p:cNvSpPr/>
            <p:nvPr/>
          </p:nvSpPr>
          <p:spPr>
            <a:xfrm>
              <a:off x="6807467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" name="Полилиния 388">
              <a:extLst>
                <a:ext uri="{FF2B5EF4-FFF2-40B4-BE49-F238E27FC236}">
                  <a16:creationId xmlns:a16="http://schemas.microsoft.com/office/drawing/2014/main" id="{B4B46649-9D5E-7A46-0916-10993369531A}"/>
                </a:ext>
              </a:extLst>
            </p:cNvPr>
            <p:cNvSpPr/>
            <p:nvPr/>
          </p:nvSpPr>
          <p:spPr>
            <a:xfrm>
              <a:off x="7164676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" name="Полилиния 389">
              <a:extLst>
                <a:ext uri="{FF2B5EF4-FFF2-40B4-BE49-F238E27FC236}">
                  <a16:creationId xmlns:a16="http://schemas.microsoft.com/office/drawing/2014/main" id="{1859BE9E-DE29-C9E9-649B-D15E44BBDEC5}"/>
                </a:ext>
              </a:extLst>
            </p:cNvPr>
            <p:cNvSpPr/>
            <p:nvPr/>
          </p:nvSpPr>
          <p:spPr>
            <a:xfrm>
              <a:off x="720931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" name="Полилиния 390">
              <a:extLst>
                <a:ext uri="{FF2B5EF4-FFF2-40B4-BE49-F238E27FC236}">
                  <a16:creationId xmlns:a16="http://schemas.microsoft.com/office/drawing/2014/main" id="{4BDDB241-6507-488C-8386-E962C2C168EF}"/>
                </a:ext>
              </a:extLst>
            </p:cNvPr>
            <p:cNvSpPr/>
            <p:nvPr/>
          </p:nvSpPr>
          <p:spPr>
            <a:xfrm>
              <a:off x="738787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" name="Полилиния 391">
              <a:extLst>
                <a:ext uri="{FF2B5EF4-FFF2-40B4-BE49-F238E27FC236}">
                  <a16:creationId xmlns:a16="http://schemas.microsoft.com/office/drawing/2014/main" id="{FEF302F4-6473-D155-1E82-59934355FC52}"/>
                </a:ext>
              </a:extLst>
            </p:cNvPr>
            <p:cNvSpPr/>
            <p:nvPr/>
          </p:nvSpPr>
          <p:spPr>
            <a:xfrm>
              <a:off x="752188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" name="Полилиния 392">
              <a:extLst>
                <a:ext uri="{FF2B5EF4-FFF2-40B4-BE49-F238E27FC236}">
                  <a16:creationId xmlns:a16="http://schemas.microsoft.com/office/drawing/2014/main" id="{E7BD7EF4-0E23-50C8-2D21-E07CD2D55E9A}"/>
                </a:ext>
              </a:extLst>
            </p:cNvPr>
            <p:cNvSpPr/>
            <p:nvPr/>
          </p:nvSpPr>
          <p:spPr>
            <a:xfrm>
              <a:off x="770044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" name="Полилиния 393">
              <a:extLst>
                <a:ext uri="{FF2B5EF4-FFF2-40B4-BE49-F238E27FC236}">
                  <a16:creationId xmlns:a16="http://schemas.microsoft.com/office/drawing/2014/main" id="{D7AD064F-A458-0365-D15F-CC4CC180452A}"/>
                </a:ext>
              </a:extLst>
            </p:cNvPr>
            <p:cNvSpPr/>
            <p:nvPr/>
          </p:nvSpPr>
          <p:spPr>
            <a:xfrm>
              <a:off x="7745081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" name="Полилиния 394">
              <a:extLst>
                <a:ext uri="{FF2B5EF4-FFF2-40B4-BE49-F238E27FC236}">
                  <a16:creationId xmlns:a16="http://schemas.microsoft.com/office/drawing/2014/main" id="{319893DA-BA1F-D802-E882-6316120C7A6C}"/>
                </a:ext>
              </a:extLst>
            </p:cNvPr>
            <p:cNvSpPr/>
            <p:nvPr/>
          </p:nvSpPr>
          <p:spPr>
            <a:xfrm>
              <a:off x="7834360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" name="Полилиния 395">
              <a:extLst>
                <a:ext uri="{FF2B5EF4-FFF2-40B4-BE49-F238E27FC236}">
                  <a16:creationId xmlns:a16="http://schemas.microsoft.com/office/drawing/2014/main" id="{AE7905F5-E32C-A1DD-99DE-14ED7B8A0DE7}"/>
                </a:ext>
              </a:extLst>
            </p:cNvPr>
            <p:cNvSpPr/>
            <p:nvPr/>
          </p:nvSpPr>
          <p:spPr>
            <a:xfrm>
              <a:off x="7878999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" name="Полилиния 396">
              <a:extLst>
                <a:ext uri="{FF2B5EF4-FFF2-40B4-BE49-F238E27FC236}">
                  <a16:creationId xmlns:a16="http://schemas.microsoft.com/office/drawing/2014/main" id="{776B6160-8DF7-87B2-D776-7AD5ACDA06A4}"/>
                </a:ext>
              </a:extLst>
            </p:cNvPr>
            <p:cNvSpPr/>
            <p:nvPr/>
          </p:nvSpPr>
          <p:spPr>
            <a:xfrm>
              <a:off x="680746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" name="Полилиния 397">
              <a:extLst>
                <a:ext uri="{FF2B5EF4-FFF2-40B4-BE49-F238E27FC236}">
                  <a16:creationId xmlns:a16="http://schemas.microsoft.com/office/drawing/2014/main" id="{8A85AA49-31BF-4274-7D7F-F051958F371C}"/>
                </a:ext>
              </a:extLst>
            </p:cNvPr>
            <p:cNvSpPr/>
            <p:nvPr/>
          </p:nvSpPr>
          <p:spPr>
            <a:xfrm>
              <a:off x="685210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" name="Полилиния 398">
              <a:extLst>
                <a:ext uri="{FF2B5EF4-FFF2-40B4-BE49-F238E27FC236}">
                  <a16:creationId xmlns:a16="http://schemas.microsoft.com/office/drawing/2014/main" id="{E52382B0-EE47-9972-D9EC-2D56CE86E3D3}"/>
                </a:ext>
              </a:extLst>
            </p:cNvPr>
            <p:cNvSpPr/>
            <p:nvPr/>
          </p:nvSpPr>
          <p:spPr>
            <a:xfrm>
              <a:off x="689684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" name="Полилиния 399">
              <a:extLst>
                <a:ext uri="{FF2B5EF4-FFF2-40B4-BE49-F238E27FC236}">
                  <a16:creationId xmlns:a16="http://schemas.microsoft.com/office/drawing/2014/main" id="{439549FB-8CC5-9800-E7F9-523AD5D508E1}"/>
                </a:ext>
              </a:extLst>
            </p:cNvPr>
            <p:cNvSpPr/>
            <p:nvPr/>
          </p:nvSpPr>
          <p:spPr>
            <a:xfrm>
              <a:off x="703075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" name="Полилиния 400">
              <a:extLst>
                <a:ext uri="{FF2B5EF4-FFF2-40B4-BE49-F238E27FC236}">
                  <a16:creationId xmlns:a16="http://schemas.microsoft.com/office/drawing/2014/main" id="{A6D7376B-FEF8-C3E8-E02E-87C0479B01F9}"/>
                </a:ext>
              </a:extLst>
            </p:cNvPr>
            <p:cNvSpPr/>
            <p:nvPr/>
          </p:nvSpPr>
          <p:spPr>
            <a:xfrm>
              <a:off x="707539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" name="Полилиния 401">
              <a:extLst>
                <a:ext uri="{FF2B5EF4-FFF2-40B4-BE49-F238E27FC236}">
                  <a16:creationId xmlns:a16="http://schemas.microsoft.com/office/drawing/2014/main" id="{0A09FC0B-1E17-B9FB-6F45-13C4A06C9CAA}"/>
                </a:ext>
              </a:extLst>
            </p:cNvPr>
            <p:cNvSpPr/>
            <p:nvPr/>
          </p:nvSpPr>
          <p:spPr>
            <a:xfrm>
              <a:off x="712003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" name="Полилиния 402">
              <a:extLst>
                <a:ext uri="{FF2B5EF4-FFF2-40B4-BE49-F238E27FC236}">
                  <a16:creationId xmlns:a16="http://schemas.microsoft.com/office/drawing/2014/main" id="{819602DD-2592-9D91-1821-F5489D2A1DD9}"/>
                </a:ext>
              </a:extLst>
            </p:cNvPr>
            <p:cNvSpPr/>
            <p:nvPr/>
          </p:nvSpPr>
          <p:spPr>
            <a:xfrm>
              <a:off x="716467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" name="Полилиния 403">
              <a:extLst>
                <a:ext uri="{FF2B5EF4-FFF2-40B4-BE49-F238E27FC236}">
                  <a16:creationId xmlns:a16="http://schemas.microsoft.com/office/drawing/2014/main" id="{2CA12039-1DEC-83B3-705B-3C359F3CAD5C}"/>
                </a:ext>
              </a:extLst>
            </p:cNvPr>
            <p:cNvSpPr/>
            <p:nvPr/>
          </p:nvSpPr>
          <p:spPr>
            <a:xfrm>
              <a:off x="729859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" name="Полилиния 404">
              <a:extLst>
                <a:ext uri="{FF2B5EF4-FFF2-40B4-BE49-F238E27FC236}">
                  <a16:creationId xmlns:a16="http://schemas.microsoft.com/office/drawing/2014/main" id="{9D083FDB-98E6-4207-E3CA-66DE3A5604C0}"/>
                </a:ext>
              </a:extLst>
            </p:cNvPr>
            <p:cNvSpPr/>
            <p:nvPr/>
          </p:nvSpPr>
          <p:spPr>
            <a:xfrm>
              <a:off x="7343233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" name="Полилиния 405">
              <a:extLst>
                <a:ext uri="{FF2B5EF4-FFF2-40B4-BE49-F238E27FC236}">
                  <a16:creationId xmlns:a16="http://schemas.microsoft.com/office/drawing/2014/main" id="{D367BEE2-C170-6819-30AF-CA2EC40C5435}"/>
                </a:ext>
              </a:extLst>
            </p:cNvPr>
            <p:cNvSpPr/>
            <p:nvPr/>
          </p:nvSpPr>
          <p:spPr>
            <a:xfrm>
              <a:off x="7521885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" name="Полилиния 406">
              <a:extLst>
                <a:ext uri="{FF2B5EF4-FFF2-40B4-BE49-F238E27FC236}">
                  <a16:creationId xmlns:a16="http://schemas.microsoft.com/office/drawing/2014/main" id="{DF025C0D-E822-6797-92DD-2FE8265860A4}"/>
                </a:ext>
              </a:extLst>
            </p:cNvPr>
            <p:cNvSpPr/>
            <p:nvPr/>
          </p:nvSpPr>
          <p:spPr>
            <a:xfrm>
              <a:off x="761116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" name="Полилиния 407">
              <a:extLst>
                <a:ext uri="{FF2B5EF4-FFF2-40B4-BE49-F238E27FC236}">
                  <a16:creationId xmlns:a16="http://schemas.microsoft.com/office/drawing/2014/main" id="{6880CBCF-38D2-EEF1-2E66-CF7262395857}"/>
                </a:ext>
              </a:extLst>
            </p:cNvPr>
            <p:cNvSpPr/>
            <p:nvPr/>
          </p:nvSpPr>
          <p:spPr>
            <a:xfrm>
              <a:off x="7700442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" name="Полилиния 408">
              <a:extLst>
                <a:ext uri="{FF2B5EF4-FFF2-40B4-BE49-F238E27FC236}">
                  <a16:creationId xmlns:a16="http://schemas.microsoft.com/office/drawing/2014/main" id="{0CBABA19-3DAE-B73B-3C02-E8A30DFA3271}"/>
                </a:ext>
              </a:extLst>
            </p:cNvPr>
            <p:cNvSpPr/>
            <p:nvPr/>
          </p:nvSpPr>
          <p:spPr>
            <a:xfrm>
              <a:off x="778972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0" name="Полилиния 409">
              <a:extLst>
                <a:ext uri="{FF2B5EF4-FFF2-40B4-BE49-F238E27FC236}">
                  <a16:creationId xmlns:a16="http://schemas.microsoft.com/office/drawing/2014/main" id="{A72EA11E-D626-34A6-FCB5-6B62F3D8E185}"/>
                </a:ext>
              </a:extLst>
            </p:cNvPr>
            <p:cNvSpPr/>
            <p:nvPr/>
          </p:nvSpPr>
          <p:spPr>
            <a:xfrm>
              <a:off x="7878999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1" name="Полилиния 410">
              <a:extLst>
                <a:ext uri="{FF2B5EF4-FFF2-40B4-BE49-F238E27FC236}">
                  <a16:creationId xmlns:a16="http://schemas.microsoft.com/office/drawing/2014/main" id="{050BD28F-B4EF-659B-1134-A1BEAD55963F}"/>
                </a:ext>
              </a:extLst>
            </p:cNvPr>
            <p:cNvSpPr/>
            <p:nvPr/>
          </p:nvSpPr>
          <p:spPr>
            <a:xfrm>
              <a:off x="680746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2" name="Полилиния 411">
              <a:extLst>
                <a:ext uri="{FF2B5EF4-FFF2-40B4-BE49-F238E27FC236}">
                  <a16:creationId xmlns:a16="http://schemas.microsoft.com/office/drawing/2014/main" id="{B06EAEA4-AC02-6870-6B63-D123DAEC90D2}"/>
                </a:ext>
              </a:extLst>
            </p:cNvPr>
            <p:cNvSpPr/>
            <p:nvPr/>
          </p:nvSpPr>
          <p:spPr>
            <a:xfrm>
              <a:off x="689684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3" name="Полилиния 412">
              <a:extLst>
                <a:ext uri="{FF2B5EF4-FFF2-40B4-BE49-F238E27FC236}">
                  <a16:creationId xmlns:a16="http://schemas.microsoft.com/office/drawing/2014/main" id="{4C2C5E3B-80F1-CE29-576B-5C59E8264112}"/>
                </a:ext>
              </a:extLst>
            </p:cNvPr>
            <p:cNvSpPr/>
            <p:nvPr/>
          </p:nvSpPr>
          <p:spPr>
            <a:xfrm>
              <a:off x="694148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4" name="Полилиния 413">
              <a:extLst>
                <a:ext uri="{FF2B5EF4-FFF2-40B4-BE49-F238E27FC236}">
                  <a16:creationId xmlns:a16="http://schemas.microsoft.com/office/drawing/2014/main" id="{33CDB23F-3DD8-CB06-2FDB-350613FD6CC5}"/>
                </a:ext>
              </a:extLst>
            </p:cNvPr>
            <p:cNvSpPr/>
            <p:nvPr/>
          </p:nvSpPr>
          <p:spPr>
            <a:xfrm>
              <a:off x="698611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5" name="Полилиния 414">
              <a:extLst>
                <a:ext uri="{FF2B5EF4-FFF2-40B4-BE49-F238E27FC236}">
                  <a16:creationId xmlns:a16="http://schemas.microsoft.com/office/drawing/2014/main" id="{66FB0C7F-719B-11F0-ABD1-12BE99A98393}"/>
                </a:ext>
              </a:extLst>
            </p:cNvPr>
            <p:cNvSpPr/>
            <p:nvPr/>
          </p:nvSpPr>
          <p:spPr>
            <a:xfrm>
              <a:off x="712003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6" name="Полилиния 415">
              <a:extLst>
                <a:ext uri="{FF2B5EF4-FFF2-40B4-BE49-F238E27FC236}">
                  <a16:creationId xmlns:a16="http://schemas.microsoft.com/office/drawing/2014/main" id="{6414F5EE-9E6D-1E8C-C7CE-2B78548395B8}"/>
                </a:ext>
              </a:extLst>
            </p:cNvPr>
            <p:cNvSpPr/>
            <p:nvPr/>
          </p:nvSpPr>
          <p:spPr>
            <a:xfrm>
              <a:off x="720931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7" name="Полилиния 416">
              <a:extLst>
                <a:ext uri="{FF2B5EF4-FFF2-40B4-BE49-F238E27FC236}">
                  <a16:creationId xmlns:a16="http://schemas.microsoft.com/office/drawing/2014/main" id="{D1BC2701-9103-C24C-0303-7D3BDC02AF1A}"/>
                </a:ext>
              </a:extLst>
            </p:cNvPr>
            <p:cNvSpPr/>
            <p:nvPr/>
          </p:nvSpPr>
          <p:spPr>
            <a:xfrm>
              <a:off x="725395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8" name="Полилиния 417">
              <a:extLst>
                <a:ext uri="{FF2B5EF4-FFF2-40B4-BE49-F238E27FC236}">
                  <a16:creationId xmlns:a16="http://schemas.microsoft.com/office/drawing/2014/main" id="{B199777C-B4AF-9257-F00A-78EF4405C7EE}"/>
                </a:ext>
              </a:extLst>
            </p:cNvPr>
            <p:cNvSpPr/>
            <p:nvPr/>
          </p:nvSpPr>
          <p:spPr>
            <a:xfrm>
              <a:off x="738787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9" name="Полилиния 418">
              <a:extLst>
                <a:ext uri="{FF2B5EF4-FFF2-40B4-BE49-F238E27FC236}">
                  <a16:creationId xmlns:a16="http://schemas.microsoft.com/office/drawing/2014/main" id="{ADEA112B-0313-0B94-AA60-9ED222EBBAFB}"/>
                </a:ext>
              </a:extLst>
            </p:cNvPr>
            <p:cNvSpPr/>
            <p:nvPr/>
          </p:nvSpPr>
          <p:spPr>
            <a:xfrm>
              <a:off x="747715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0" name="Полилиния 419">
              <a:extLst>
                <a:ext uri="{FF2B5EF4-FFF2-40B4-BE49-F238E27FC236}">
                  <a16:creationId xmlns:a16="http://schemas.microsoft.com/office/drawing/2014/main" id="{469D89EE-E058-E3A2-A71A-B14A3F0828CA}"/>
                </a:ext>
              </a:extLst>
            </p:cNvPr>
            <p:cNvSpPr/>
            <p:nvPr/>
          </p:nvSpPr>
          <p:spPr>
            <a:xfrm>
              <a:off x="752188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1" name="Полилиния 420">
              <a:extLst>
                <a:ext uri="{FF2B5EF4-FFF2-40B4-BE49-F238E27FC236}">
                  <a16:creationId xmlns:a16="http://schemas.microsoft.com/office/drawing/2014/main" id="{69CA9596-02C2-9503-F66F-BF9CF9D8C64F}"/>
                </a:ext>
              </a:extLst>
            </p:cNvPr>
            <p:cNvSpPr/>
            <p:nvPr/>
          </p:nvSpPr>
          <p:spPr>
            <a:xfrm>
              <a:off x="770044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2" name="Полилиния 421">
              <a:extLst>
                <a:ext uri="{FF2B5EF4-FFF2-40B4-BE49-F238E27FC236}">
                  <a16:creationId xmlns:a16="http://schemas.microsoft.com/office/drawing/2014/main" id="{70683373-0B8D-5DD9-4A9F-4B648A6001C1}"/>
                </a:ext>
              </a:extLst>
            </p:cNvPr>
            <p:cNvSpPr/>
            <p:nvPr/>
          </p:nvSpPr>
          <p:spPr>
            <a:xfrm>
              <a:off x="774508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3" name="Полилиния 422">
              <a:extLst>
                <a:ext uri="{FF2B5EF4-FFF2-40B4-BE49-F238E27FC236}">
                  <a16:creationId xmlns:a16="http://schemas.microsoft.com/office/drawing/2014/main" id="{168E2A53-7613-3129-C17A-9D8177DAD904}"/>
                </a:ext>
              </a:extLst>
            </p:cNvPr>
            <p:cNvSpPr/>
            <p:nvPr/>
          </p:nvSpPr>
          <p:spPr>
            <a:xfrm>
              <a:off x="783436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4" name="Полилиния 423">
              <a:extLst>
                <a:ext uri="{FF2B5EF4-FFF2-40B4-BE49-F238E27FC236}">
                  <a16:creationId xmlns:a16="http://schemas.microsoft.com/office/drawing/2014/main" id="{2E717ABD-302A-4805-9723-30AFD208FE34}"/>
                </a:ext>
              </a:extLst>
            </p:cNvPr>
            <p:cNvSpPr/>
            <p:nvPr/>
          </p:nvSpPr>
          <p:spPr>
            <a:xfrm>
              <a:off x="787899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5" name="Полилиния 424">
              <a:extLst>
                <a:ext uri="{FF2B5EF4-FFF2-40B4-BE49-F238E27FC236}">
                  <a16:creationId xmlns:a16="http://schemas.microsoft.com/office/drawing/2014/main" id="{BC65A916-371F-6276-EB4D-6625E6E8F982}"/>
                </a:ext>
              </a:extLst>
            </p:cNvPr>
            <p:cNvSpPr/>
            <p:nvPr/>
          </p:nvSpPr>
          <p:spPr>
            <a:xfrm>
              <a:off x="689684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6" name="Полилиния 425">
              <a:extLst>
                <a:ext uri="{FF2B5EF4-FFF2-40B4-BE49-F238E27FC236}">
                  <a16:creationId xmlns:a16="http://schemas.microsoft.com/office/drawing/2014/main" id="{EF824ED3-03B4-B149-3E76-82250A011DD0}"/>
                </a:ext>
              </a:extLst>
            </p:cNvPr>
            <p:cNvSpPr/>
            <p:nvPr/>
          </p:nvSpPr>
          <p:spPr>
            <a:xfrm>
              <a:off x="6941480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7" name="Полилиния 426">
              <a:extLst>
                <a:ext uri="{FF2B5EF4-FFF2-40B4-BE49-F238E27FC236}">
                  <a16:creationId xmlns:a16="http://schemas.microsoft.com/office/drawing/2014/main" id="{77085844-EBEB-9823-0864-BB2176DFBE49}"/>
                </a:ext>
              </a:extLst>
            </p:cNvPr>
            <p:cNvSpPr/>
            <p:nvPr/>
          </p:nvSpPr>
          <p:spPr>
            <a:xfrm>
              <a:off x="6986119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8" name="Полилиния 427">
              <a:extLst>
                <a:ext uri="{FF2B5EF4-FFF2-40B4-BE49-F238E27FC236}">
                  <a16:creationId xmlns:a16="http://schemas.microsoft.com/office/drawing/2014/main" id="{0A2EA0DA-AFC7-3F8C-CF2A-993C67DD0613}"/>
                </a:ext>
              </a:extLst>
            </p:cNvPr>
            <p:cNvSpPr/>
            <p:nvPr/>
          </p:nvSpPr>
          <p:spPr>
            <a:xfrm>
              <a:off x="703075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9" name="Полилиния 428">
              <a:extLst>
                <a:ext uri="{FF2B5EF4-FFF2-40B4-BE49-F238E27FC236}">
                  <a16:creationId xmlns:a16="http://schemas.microsoft.com/office/drawing/2014/main" id="{699DB216-AE0E-6E4A-D384-36E22F24831C}"/>
                </a:ext>
              </a:extLst>
            </p:cNvPr>
            <p:cNvSpPr/>
            <p:nvPr/>
          </p:nvSpPr>
          <p:spPr>
            <a:xfrm>
              <a:off x="707539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0" name="Полилиния 429">
              <a:extLst>
                <a:ext uri="{FF2B5EF4-FFF2-40B4-BE49-F238E27FC236}">
                  <a16:creationId xmlns:a16="http://schemas.microsoft.com/office/drawing/2014/main" id="{F24C5D52-FBDE-56A0-7023-21D07DAAE93A}"/>
                </a:ext>
              </a:extLst>
            </p:cNvPr>
            <p:cNvSpPr/>
            <p:nvPr/>
          </p:nvSpPr>
          <p:spPr>
            <a:xfrm>
              <a:off x="7120037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1" name="Полилиния 430">
              <a:extLst>
                <a:ext uri="{FF2B5EF4-FFF2-40B4-BE49-F238E27FC236}">
                  <a16:creationId xmlns:a16="http://schemas.microsoft.com/office/drawing/2014/main" id="{88515D9E-7323-1DF2-18C1-20994A3C2748}"/>
                </a:ext>
              </a:extLst>
            </p:cNvPr>
            <p:cNvSpPr/>
            <p:nvPr/>
          </p:nvSpPr>
          <p:spPr>
            <a:xfrm>
              <a:off x="729859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2" name="Полилиния 431">
              <a:extLst>
                <a:ext uri="{FF2B5EF4-FFF2-40B4-BE49-F238E27FC236}">
                  <a16:creationId xmlns:a16="http://schemas.microsoft.com/office/drawing/2014/main" id="{67CFB4A3-D021-6905-18C0-D70DC5F14C87}"/>
                </a:ext>
              </a:extLst>
            </p:cNvPr>
            <p:cNvSpPr/>
            <p:nvPr/>
          </p:nvSpPr>
          <p:spPr>
            <a:xfrm>
              <a:off x="734323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3" name="Полилиния 432">
              <a:extLst>
                <a:ext uri="{FF2B5EF4-FFF2-40B4-BE49-F238E27FC236}">
                  <a16:creationId xmlns:a16="http://schemas.microsoft.com/office/drawing/2014/main" id="{9520EC7F-BEBA-0E28-B34C-2AFDAB92E819}"/>
                </a:ext>
              </a:extLst>
            </p:cNvPr>
            <p:cNvSpPr/>
            <p:nvPr/>
          </p:nvSpPr>
          <p:spPr>
            <a:xfrm>
              <a:off x="738787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4" name="Полилиния 433">
              <a:extLst>
                <a:ext uri="{FF2B5EF4-FFF2-40B4-BE49-F238E27FC236}">
                  <a16:creationId xmlns:a16="http://schemas.microsoft.com/office/drawing/2014/main" id="{3287127D-0395-1C3C-C601-DDBA7C4E87FB}"/>
                </a:ext>
              </a:extLst>
            </p:cNvPr>
            <p:cNvSpPr/>
            <p:nvPr/>
          </p:nvSpPr>
          <p:spPr>
            <a:xfrm>
              <a:off x="747715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5" name="Полилиния 434">
              <a:extLst>
                <a:ext uri="{FF2B5EF4-FFF2-40B4-BE49-F238E27FC236}">
                  <a16:creationId xmlns:a16="http://schemas.microsoft.com/office/drawing/2014/main" id="{6F59F8CB-BEDD-625D-64B5-2A480062F52C}"/>
                </a:ext>
              </a:extLst>
            </p:cNvPr>
            <p:cNvSpPr/>
            <p:nvPr/>
          </p:nvSpPr>
          <p:spPr>
            <a:xfrm>
              <a:off x="7521885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6" name="Полилиния 435">
              <a:extLst>
                <a:ext uri="{FF2B5EF4-FFF2-40B4-BE49-F238E27FC236}">
                  <a16:creationId xmlns:a16="http://schemas.microsoft.com/office/drawing/2014/main" id="{86D4DBA6-ED01-92B7-5DFE-C444154F6BF1}"/>
                </a:ext>
              </a:extLst>
            </p:cNvPr>
            <p:cNvSpPr/>
            <p:nvPr/>
          </p:nvSpPr>
          <p:spPr>
            <a:xfrm>
              <a:off x="756652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7" name="Полилиния 436">
              <a:extLst>
                <a:ext uri="{FF2B5EF4-FFF2-40B4-BE49-F238E27FC236}">
                  <a16:creationId xmlns:a16="http://schemas.microsoft.com/office/drawing/2014/main" id="{AC6C5763-5942-A2BA-5EDF-B43916AC897B}"/>
                </a:ext>
              </a:extLst>
            </p:cNvPr>
            <p:cNvSpPr/>
            <p:nvPr/>
          </p:nvSpPr>
          <p:spPr>
            <a:xfrm>
              <a:off x="761116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8" name="Полилиния 437">
              <a:extLst>
                <a:ext uri="{FF2B5EF4-FFF2-40B4-BE49-F238E27FC236}">
                  <a16:creationId xmlns:a16="http://schemas.microsoft.com/office/drawing/2014/main" id="{9779FCB5-3680-4E70-D393-E7401F559F94}"/>
                </a:ext>
              </a:extLst>
            </p:cNvPr>
            <p:cNvSpPr/>
            <p:nvPr/>
          </p:nvSpPr>
          <p:spPr>
            <a:xfrm>
              <a:off x="765580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9" name="Полилиния 438">
              <a:extLst>
                <a:ext uri="{FF2B5EF4-FFF2-40B4-BE49-F238E27FC236}">
                  <a16:creationId xmlns:a16="http://schemas.microsoft.com/office/drawing/2014/main" id="{B33AC3EE-E3DB-121B-5D73-ED88592BE5D5}"/>
                </a:ext>
              </a:extLst>
            </p:cNvPr>
            <p:cNvSpPr/>
            <p:nvPr/>
          </p:nvSpPr>
          <p:spPr>
            <a:xfrm>
              <a:off x="770044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0" name="Полилиния 439">
              <a:extLst>
                <a:ext uri="{FF2B5EF4-FFF2-40B4-BE49-F238E27FC236}">
                  <a16:creationId xmlns:a16="http://schemas.microsoft.com/office/drawing/2014/main" id="{75A14463-8DA3-5E1B-C554-823759639842}"/>
                </a:ext>
              </a:extLst>
            </p:cNvPr>
            <p:cNvSpPr/>
            <p:nvPr/>
          </p:nvSpPr>
          <p:spPr>
            <a:xfrm>
              <a:off x="774508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1" name="Полилиния 440">
              <a:extLst>
                <a:ext uri="{FF2B5EF4-FFF2-40B4-BE49-F238E27FC236}">
                  <a16:creationId xmlns:a16="http://schemas.microsoft.com/office/drawing/2014/main" id="{020D1FC4-EA84-F925-9ED5-93E2C0E930A2}"/>
                </a:ext>
              </a:extLst>
            </p:cNvPr>
            <p:cNvSpPr/>
            <p:nvPr/>
          </p:nvSpPr>
          <p:spPr>
            <a:xfrm>
              <a:off x="685210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2" name="Полилиния 441">
              <a:extLst>
                <a:ext uri="{FF2B5EF4-FFF2-40B4-BE49-F238E27FC236}">
                  <a16:creationId xmlns:a16="http://schemas.microsoft.com/office/drawing/2014/main" id="{D7DDFEE9-0DBE-3F06-5CE7-BB150355DFE8}"/>
                </a:ext>
              </a:extLst>
            </p:cNvPr>
            <p:cNvSpPr/>
            <p:nvPr/>
          </p:nvSpPr>
          <p:spPr>
            <a:xfrm>
              <a:off x="6896841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3" name="Полилиния 442">
              <a:extLst>
                <a:ext uri="{FF2B5EF4-FFF2-40B4-BE49-F238E27FC236}">
                  <a16:creationId xmlns:a16="http://schemas.microsoft.com/office/drawing/2014/main" id="{7D80C5B0-DC3F-8DEB-2C62-AF5E9FDBAD10}"/>
                </a:ext>
              </a:extLst>
            </p:cNvPr>
            <p:cNvSpPr/>
            <p:nvPr/>
          </p:nvSpPr>
          <p:spPr>
            <a:xfrm>
              <a:off x="694148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4" name="Полилиния 443">
              <a:extLst>
                <a:ext uri="{FF2B5EF4-FFF2-40B4-BE49-F238E27FC236}">
                  <a16:creationId xmlns:a16="http://schemas.microsoft.com/office/drawing/2014/main" id="{147AEB4B-FA2C-F8B3-3E86-6E4538030E63}"/>
                </a:ext>
              </a:extLst>
            </p:cNvPr>
            <p:cNvSpPr/>
            <p:nvPr/>
          </p:nvSpPr>
          <p:spPr>
            <a:xfrm>
              <a:off x="7030758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5" name="Полилиния 444">
              <a:extLst>
                <a:ext uri="{FF2B5EF4-FFF2-40B4-BE49-F238E27FC236}">
                  <a16:creationId xmlns:a16="http://schemas.microsoft.com/office/drawing/2014/main" id="{93A2112E-77C9-BD11-808A-CB06A221B44C}"/>
                </a:ext>
              </a:extLst>
            </p:cNvPr>
            <p:cNvSpPr/>
            <p:nvPr/>
          </p:nvSpPr>
          <p:spPr>
            <a:xfrm>
              <a:off x="716467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6" name="Полилиния 445">
              <a:extLst>
                <a:ext uri="{FF2B5EF4-FFF2-40B4-BE49-F238E27FC236}">
                  <a16:creationId xmlns:a16="http://schemas.microsoft.com/office/drawing/2014/main" id="{783A3B1B-884B-2E91-4B88-535FE0FD6BA9}"/>
                </a:ext>
              </a:extLst>
            </p:cNvPr>
            <p:cNvSpPr/>
            <p:nvPr/>
          </p:nvSpPr>
          <p:spPr>
            <a:xfrm>
              <a:off x="7209315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7" name="Полилиния 446">
              <a:extLst>
                <a:ext uri="{FF2B5EF4-FFF2-40B4-BE49-F238E27FC236}">
                  <a16:creationId xmlns:a16="http://schemas.microsoft.com/office/drawing/2014/main" id="{B42CAD9F-B21B-4FB5-98C1-B2E2FB10DAEC}"/>
                </a:ext>
              </a:extLst>
            </p:cNvPr>
            <p:cNvSpPr/>
            <p:nvPr/>
          </p:nvSpPr>
          <p:spPr>
            <a:xfrm>
              <a:off x="734323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8" name="Полилиния 447">
              <a:extLst>
                <a:ext uri="{FF2B5EF4-FFF2-40B4-BE49-F238E27FC236}">
                  <a16:creationId xmlns:a16="http://schemas.microsoft.com/office/drawing/2014/main" id="{A8AF6FB0-C188-AC47-3BCA-DF19B458C7C6}"/>
                </a:ext>
              </a:extLst>
            </p:cNvPr>
            <p:cNvSpPr/>
            <p:nvPr/>
          </p:nvSpPr>
          <p:spPr>
            <a:xfrm>
              <a:off x="738787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9" name="Полилиния 448">
              <a:extLst>
                <a:ext uri="{FF2B5EF4-FFF2-40B4-BE49-F238E27FC236}">
                  <a16:creationId xmlns:a16="http://schemas.microsoft.com/office/drawing/2014/main" id="{643FBF9F-A4CE-E011-EC0C-4F2A14FD8D65}"/>
                </a:ext>
              </a:extLst>
            </p:cNvPr>
            <p:cNvSpPr/>
            <p:nvPr/>
          </p:nvSpPr>
          <p:spPr>
            <a:xfrm>
              <a:off x="7566524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0" name="Полилиния 449">
              <a:extLst>
                <a:ext uri="{FF2B5EF4-FFF2-40B4-BE49-F238E27FC236}">
                  <a16:creationId xmlns:a16="http://schemas.microsoft.com/office/drawing/2014/main" id="{3EEB1FF3-756C-CB9B-C899-7B991303293A}"/>
                </a:ext>
              </a:extLst>
            </p:cNvPr>
            <p:cNvSpPr/>
            <p:nvPr/>
          </p:nvSpPr>
          <p:spPr>
            <a:xfrm>
              <a:off x="765580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1" name="Полилиния 450">
              <a:extLst>
                <a:ext uri="{FF2B5EF4-FFF2-40B4-BE49-F238E27FC236}">
                  <a16:creationId xmlns:a16="http://schemas.microsoft.com/office/drawing/2014/main" id="{7CA3CEFA-FD1B-4221-5712-2E8A9B666A34}"/>
                </a:ext>
              </a:extLst>
            </p:cNvPr>
            <p:cNvSpPr/>
            <p:nvPr/>
          </p:nvSpPr>
          <p:spPr>
            <a:xfrm>
              <a:off x="770044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2" name="Полилиния 451">
              <a:extLst>
                <a:ext uri="{FF2B5EF4-FFF2-40B4-BE49-F238E27FC236}">
                  <a16:creationId xmlns:a16="http://schemas.microsoft.com/office/drawing/2014/main" id="{9C2A6B9B-DA1F-FBB5-ECFF-A6A95A5B6BC8}"/>
                </a:ext>
              </a:extLst>
            </p:cNvPr>
            <p:cNvSpPr/>
            <p:nvPr/>
          </p:nvSpPr>
          <p:spPr>
            <a:xfrm>
              <a:off x="783436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3" name="Полилиния 452">
              <a:extLst>
                <a:ext uri="{FF2B5EF4-FFF2-40B4-BE49-F238E27FC236}">
                  <a16:creationId xmlns:a16="http://schemas.microsoft.com/office/drawing/2014/main" id="{81E5E4F6-B7B7-26AD-EDD2-5370FC214778}"/>
                </a:ext>
              </a:extLst>
            </p:cNvPr>
            <p:cNvSpPr/>
            <p:nvPr/>
          </p:nvSpPr>
          <p:spPr>
            <a:xfrm>
              <a:off x="6807467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4" name="Полилиния 453">
              <a:extLst>
                <a:ext uri="{FF2B5EF4-FFF2-40B4-BE49-F238E27FC236}">
                  <a16:creationId xmlns:a16="http://schemas.microsoft.com/office/drawing/2014/main" id="{17CC793B-78D5-6115-B49A-4E994381256A}"/>
                </a:ext>
              </a:extLst>
            </p:cNvPr>
            <p:cNvSpPr/>
            <p:nvPr/>
          </p:nvSpPr>
          <p:spPr>
            <a:xfrm>
              <a:off x="685210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5" name="Полилиния 454">
              <a:extLst>
                <a:ext uri="{FF2B5EF4-FFF2-40B4-BE49-F238E27FC236}">
                  <a16:creationId xmlns:a16="http://schemas.microsoft.com/office/drawing/2014/main" id="{5BA747D0-0E59-CD2B-CFF1-99F11A45F84D}"/>
                </a:ext>
              </a:extLst>
            </p:cNvPr>
            <p:cNvSpPr/>
            <p:nvPr/>
          </p:nvSpPr>
          <p:spPr>
            <a:xfrm>
              <a:off x="694148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6" name="Полилиния 455">
              <a:extLst>
                <a:ext uri="{FF2B5EF4-FFF2-40B4-BE49-F238E27FC236}">
                  <a16:creationId xmlns:a16="http://schemas.microsoft.com/office/drawing/2014/main" id="{E6BB87AD-64F4-8A71-6187-5070EAC71BBC}"/>
                </a:ext>
              </a:extLst>
            </p:cNvPr>
            <p:cNvSpPr/>
            <p:nvPr/>
          </p:nvSpPr>
          <p:spPr>
            <a:xfrm>
              <a:off x="7075398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7" name="Полилиния 456">
              <a:extLst>
                <a:ext uri="{FF2B5EF4-FFF2-40B4-BE49-F238E27FC236}">
                  <a16:creationId xmlns:a16="http://schemas.microsoft.com/office/drawing/2014/main" id="{15A78737-8226-D178-6B45-21593A86A436}"/>
                </a:ext>
              </a:extLst>
            </p:cNvPr>
            <p:cNvSpPr/>
            <p:nvPr/>
          </p:nvSpPr>
          <p:spPr>
            <a:xfrm>
              <a:off x="716467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8" name="Полилиния 457">
              <a:extLst>
                <a:ext uri="{FF2B5EF4-FFF2-40B4-BE49-F238E27FC236}">
                  <a16:creationId xmlns:a16="http://schemas.microsoft.com/office/drawing/2014/main" id="{7355F47C-7F6D-6FE2-4B47-8BC4541E8C6F}"/>
                </a:ext>
              </a:extLst>
            </p:cNvPr>
            <p:cNvSpPr/>
            <p:nvPr/>
          </p:nvSpPr>
          <p:spPr>
            <a:xfrm>
              <a:off x="720931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9" name="Полилиния 458">
              <a:extLst>
                <a:ext uri="{FF2B5EF4-FFF2-40B4-BE49-F238E27FC236}">
                  <a16:creationId xmlns:a16="http://schemas.microsoft.com/office/drawing/2014/main" id="{8FABF401-7C6C-729E-EE8D-CAC8E4EE9FBF}"/>
                </a:ext>
              </a:extLst>
            </p:cNvPr>
            <p:cNvSpPr/>
            <p:nvPr/>
          </p:nvSpPr>
          <p:spPr>
            <a:xfrm>
              <a:off x="725395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0" name="Полилиния 459">
              <a:extLst>
                <a:ext uri="{FF2B5EF4-FFF2-40B4-BE49-F238E27FC236}">
                  <a16:creationId xmlns:a16="http://schemas.microsoft.com/office/drawing/2014/main" id="{FBEEA746-8928-C6A6-D340-10B98264B288}"/>
                </a:ext>
              </a:extLst>
            </p:cNvPr>
            <p:cNvSpPr/>
            <p:nvPr/>
          </p:nvSpPr>
          <p:spPr>
            <a:xfrm>
              <a:off x="7298594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1" name="Полилиния 460">
              <a:extLst>
                <a:ext uri="{FF2B5EF4-FFF2-40B4-BE49-F238E27FC236}">
                  <a16:creationId xmlns:a16="http://schemas.microsoft.com/office/drawing/2014/main" id="{841DE9F3-AE8A-93D1-42CB-910C4D8C3EB9}"/>
                </a:ext>
              </a:extLst>
            </p:cNvPr>
            <p:cNvSpPr/>
            <p:nvPr/>
          </p:nvSpPr>
          <p:spPr>
            <a:xfrm>
              <a:off x="7343233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2" name="Полилиния 461">
              <a:extLst>
                <a:ext uri="{FF2B5EF4-FFF2-40B4-BE49-F238E27FC236}">
                  <a16:creationId xmlns:a16="http://schemas.microsoft.com/office/drawing/2014/main" id="{CDDAA709-2264-F67B-26C6-F4794758066D}"/>
                </a:ext>
              </a:extLst>
            </p:cNvPr>
            <p:cNvSpPr/>
            <p:nvPr/>
          </p:nvSpPr>
          <p:spPr>
            <a:xfrm>
              <a:off x="743251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3" name="Полилиния 462">
              <a:extLst>
                <a:ext uri="{FF2B5EF4-FFF2-40B4-BE49-F238E27FC236}">
                  <a16:creationId xmlns:a16="http://schemas.microsoft.com/office/drawing/2014/main" id="{C636905F-065B-A932-CD2D-B432AC56340D}"/>
                </a:ext>
              </a:extLst>
            </p:cNvPr>
            <p:cNvSpPr/>
            <p:nvPr/>
          </p:nvSpPr>
          <p:spPr>
            <a:xfrm>
              <a:off x="747715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4" name="Полилиния 463">
              <a:extLst>
                <a:ext uri="{FF2B5EF4-FFF2-40B4-BE49-F238E27FC236}">
                  <a16:creationId xmlns:a16="http://schemas.microsoft.com/office/drawing/2014/main" id="{8591389E-4252-6E01-B112-ABE2106DB9D2}"/>
                </a:ext>
              </a:extLst>
            </p:cNvPr>
            <p:cNvSpPr/>
            <p:nvPr/>
          </p:nvSpPr>
          <p:spPr>
            <a:xfrm>
              <a:off x="752188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5" name="Полилиния 464">
              <a:extLst>
                <a:ext uri="{FF2B5EF4-FFF2-40B4-BE49-F238E27FC236}">
                  <a16:creationId xmlns:a16="http://schemas.microsoft.com/office/drawing/2014/main" id="{75BCF526-4C4F-C4F6-4FDB-C762B9D9FAC7}"/>
                </a:ext>
              </a:extLst>
            </p:cNvPr>
            <p:cNvSpPr/>
            <p:nvPr/>
          </p:nvSpPr>
          <p:spPr>
            <a:xfrm>
              <a:off x="770044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6" name="Полилиния 465">
              <a:extLst>
                <a:ext uri="{FF2B5EF4-FFF2-40B4-BE49-F238E27FC236}">
                  <a16:creationId xmlns:a16="http://schemas.microsoft.com/office/drawing/2014/main" id="{4D30555B-DD67-9838-B708-593CBD6EE873}"/>
                </a:ext>
              </a:extLst>
            </p:cNvPr>
            <p:cNvSpPr/>
            <p:nvPr/>
          </p:nvSpPr>
          <p:spPr>
            <a:xfrm>
              <a:off x="774508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7" name="Полилиния 466">
              <a:extLst>
                <a:ext uri="{FF2B5EF4-FFF2-40B4-BE49-F238E27FC236}">
                  <a16:creationId xmlns:a16="http://schemas.microsoft.com/office/drawing/2014/main" id="{2E56F155-91AA-A49A-7EC1-F17193F6D2BC}"/>
                </a:ext>
              </a:extLst>
            </p:cNvPr>
            <p:cNvSpPr/>
            <p:nvPr/>
          </p:nvSpPr>
          <p:spPr>
            <a:xfrm>
              <a:off x="783436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8" name="Полилиния 467">
              <a:extLst>
                <a:ext uri="{FF2B5EF4-FFF2-40B4-BE49-F238E27FC236}">
                  <a16:creationId xmlns:a16="http://schemas.microsoft.com/office/drawing/2014/main" id="{8DF1466C-57AD-18E0-20C0-AC11DE2DB88D}"/>
                </a:ext>
              </a:extLst>
            </p:cNvPr>
            <p:cNvSpPr/>
            <p:nvPr/>
          </p:nvSpPr>
          <p:spPr>
            <a:xfrm>
              <a:off x="7878999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9" name="Полилиния 468">
              <a:extLst>
                <a:ext uri="{FF2B5EF4-FFF2-40B4-BE49-F238E27FC236}">
                  <a16:creationId xmlns:a16="http://schemas.microsoft.com/office/drawing/2014/main" id="{2DEC2EC7-4385-2241-F109-97F43E5AF3DA}"/>
                </a:ext>
              </a:extLst>
            </p:cNvPr>
            <p:cNvSpPr/>
            <p:nvPr/>
          </p:nvSpPr>
          <p:spPr>
            <a:xfrm>
              <a:off x="6941480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0" name="Полилиния 469">
              <a:extLst>
                <a:ext uri="{FF2B5EF4-FFF2-40B4-BE49-F238E27FC236}">
                  <a16:creationId xmlns:a16="http://schemas.microsoft.com/office/drawing/2014/main" id="{CA00C964-BE88-A067-1987-931BE77B47C5}"/>
                </a:ext>
              </a:extLst>
            </p:cNvPr>
            <p:cNvSpPr/>
            <p:nvPr/>
          </p:nvSpPr>
          <p:spPr>
            <a:xfrm>
              <a:off x="6986119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1" name="Полилиния 470">
              <a:extLst>
                <a:ext uri="{FF2B5EF4-FFF2-40B4-BE49-F238E27FC236}">
                  <a16:creationId xmlns:a16="http://schemas.microsoft.com/office/drawing/2014/main" id="{DF9FE23C-A3B5-7D7C-1989-0F9008AEC848}"/>
                </a:ext>
              </a:extLst>
            </p:cNvPr>
            <p:cNvSpPr/>
            <p:nvPr/>
          </p:nvSpPr>
          <p:spPr>
            <a:xfrm>
              <a:off x="7120037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2" name="Полилиния 471">
              <a:extLst>
                <a:ext uri="{FF2B5EF4-FFF2-40B4-BE49-F238E27FC236}">
                  <a16:creationId xmlns:a16="http://schemas.microsoft.com/office/drawing/2014/main" id="{8C5BDB62-BC4A-26CB-E101-704C3766CF83}"/>
                </a:ext>
              </a:extLst>
            </p:cNvPr>
            <p:cNvSpPr/>
            <p:nvPr/>
          </p:nvSpPr>
          <p:spPr>
            <a:xfrm>
              <a:off x="7253955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3" name="Полилиния 472">
              <a:extLst>
                <a:ext uri="{FF2B5EF4-FFF2-40B4-BE49-F238E27FC236}">
                  <a16:creationId xmlns:a16="http://schemas.microsoft.com/office/drawing/2014/main" id="{64F1D737-1C5C-FEB4-7FBD-E732CD902DEE}"/>
                </a:ext>
              </a:extLst>
            </p:cNvPr>
            <p:cNvSpPr/>
            <p:nvPr/>
          </p:nvSpPr>
          <p:spPr>
            <a:xfrm>
              <a:off x="729859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4" name="Полилиния 473">
              <a:extLst>
                <a:ext uri="{FF2B5EF4-FFF2-40B4-BE49-F238E27FC236}">
                  <a16:creationId xmlns:a16="http://schemas.microsoft.com/office/drawing/2014/main" id="{13167AAA-3418-2BBE-DED7-C5D78A100C44}"/>
                </a:ext>
              </a:extLst>
            </p:cNvPr>
            <p:cNvSpPr/>
            <p:nvPr/>
          </p:nvSpPr>
          <p:spPr>
            <a:xfrm>
              <a:off x="7387872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5" name="Полилиния 474">
              <a:extLst>
                <a:ext uri="{FF2B5EF4-FFF2-40B4-BE49-F238E27FC236}">
                  <a16:creationId xmlns:a16="http://schemas.microsoft.com/office/drawing/2014/main" id="{285D064A-6B35-2F12-71C1-019A0B8FFA7B}"/>
                </a:ext>
              </a:extLst>
            </p:cNvPr>
            <p:cNvSpPr/>
            <p:nvPr/>
          </p:nvSpPr>
          <p:spPr>
            <a:xfrm>
              <a:off x="747715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6" name="Полилиния 475">
              <a:extLst>
                <a:ext uri="{FF2B5EF4-FFF2-40B4-BE49-F238E27FC236}">
                  <a16:creationId xmlns:a16="http://schemas.microsoft.com/office/drawing/2014/main" id="{3AAF8AFA-4104-25E9-F3CC-C82665C180DB}"/>
                </a:ext>
              </a:extLst>
            </p:cNvPr>
            <p:cNvSpPr/>
            <p:nvPr/>
          </p:nvSpPr>
          <p:spPr>
            <a:xfrm>
              <a:off x="756652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7" name="Полилиния 476">
              <a:extLst>
                <a:ext uri="{FF2B5EF4-FFF2-40B4-BE49-F238E27FC236}">
                  <a16:creationId xmlns:a16="http://schemas.microsoft.com/office/drawing/2014/main" id="{4FF0844A-671B-CE89-CF8E-9B8B53DCC60C}"/>
                </a:ext>
              </a:extLst>
            </p:cNvPr>
            <p:cNvSpPr/>
            <p:nvPr/>
          </p:nvSpPr>
          <p:spPr>
            <a:xfrm>
              <a:off x="761116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8" name="Полилиния 477">
              <a:extLst>
                <a:ext uri="{FF2B5EF4-FFF2-40B4-BE49-F238E27FC236}">
                  <a16:creationId xmlns:a16="http://schemas.microsoft.com/office/drawing/2014/main" id="{77122892-E075-32BC-D39E-553D417EFECE}"/>
                </a:ext>
              </a:extLst>
            </p:cNvPr>
            <p:cNvSpPr/>
            <p:nvPr/>
          </p:nvSpPr>
          <p:spPr>
            <a:xfrm>
              <a:off x="774508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9" name="Полилиния 478">
              <a:extLst>
                <a:ext uri="{FF2B5EF4-FFF2-40B4-BE49-F238E27FC236}">
                  <a16:creationId xmlns:a16="http://schemas.microsoft.com/office/drawing/2014/main" id="{575BC9A0-D979-2EF9-6F41-58DC6EB6CA8A}"/>
                </a:ext>
              </a:extLst>
            </p:cNvPr>
            <p:cNvSpPr/>
            <p:nvPr/>
          </p:nvSpPr>
          <p:spPr>
            <a:xfrm>
              <a:off x="6852106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0" name="Полилиния 479">
              <a:extLst>
                <a:ext uri="{FF2B5EF4-FFF2-40B4-BE49-F238E27FC236}">
                  <a16:creationId xmlns:a16="http://schemas.microsoft.com/office/drawing/2014/main" id="{97C3DCC2-822C-66B2-5613-48168EAAB2D6}"/>
                </a:ext>
              </a:extLst>
            </p:cNvPr>
            <p:cNvSpPr/>
            <p:nvPr/>
          </p:nvSpPr>
          <p:spPr>
            <a:xfrm>
              <a:off x="6896841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1" name="Полилиния 480">
              <a:extLst>
                <a:ext uri="{FF2B5EF4-FFF2-40B4-BE49-F238E27FC236}">
                  <a16:creationId xmlns:a16="http://schemas.microsoft.com/office/drawing/2014/main" id="{11AA8A76-7014-2C95-9542-722D2F4C0298}"/>
                </a:ext>
              </a:extLst>
            </p:cNvPr>
            <p:cNvSpPr/>
            <p:nvPr/>
          </p:nvSpPr>
          <p:spPr>
            <a:xfrm>
              <a:off x="698611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2" name="Полилиния 481">
              <a:extLst>
                <a:ext uri="{FF2B5EF4-FFF2-40B4-BE49-F238E27FC236}">
                  <a16:creationId xmlns:a16="http://schemas.microsoft.com/office/drawing/2014/main" id="{BA71871B-B108-99AF-8041-95E6BC728298}"/>
                </a:ext>
              </a:extLst>
            </p:cNvPr>
            <p:cNvSpPr/>
            <p:nvPr/>
          </p:nvSpPr>
          <p:spPr>
            <a:xfrm>
              <a:off x="703075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3" name="Полилиния 482">
              <a:extLst>
                <a:ext uri="{FF2B5EF4-FFF2-40B4-BE49-F238E27FC236}">
                  <a16:creationId xmlns:a16="http://schemas.microsoft.com/office/drawing/2014/main" id="{E2D82460-7BBD-7B17-F6A2-EF597BCA96DB}"/>
                </a:ext>
              </a:extLst>
            </p:cNvPr>
            <p:cNvSpPr/>
            <p:nvPr/>
          </p:nvSpPr>
          <p:spPr>
            <a:xfrm>
              <a:off x="707539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4" name="Полилиния 483">
              <a:extLst>
                <a:ext uri="{FF2B5EF4-FFF2-40B4-BE49-F238E27FC236}">
                  <a16:creationId xmlns:a16="http://schemas.microsoft.com/office/drawing/2014/main" id="{9B00D409-924C-49A4-75AA-87A08E2E5092}"/>
                </a:ext>
              </a:extLst>
            </p:cNvPr>
            <p:cNvSpPr/>
            <p:nvPr/>
          </p:nvSpPr>
          <p:spPr>
            <a:xfrm>
              <a:off x="720931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5" name="Полилиния 484">
              <a:extLst>
                <a:ext uri="{FF2B5EF4-FFF2-40B4-BE49-F238E27FC236}">
                  <a16:creationId xmlns:a16="http://schemas.microsoft.com/office/drawing/2014/main" id="{7E088035-55AF-F91A-14DC-104BAF880600}"/>
                </a:ext>
              </a:extLst>
            </p:cNvPr>
            <p:cNvSpPr/>
            <p:nvPr/>
          </p:nvSpPr>
          <p:spPr>
            <a:xfrm>
              <a:off x="725395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6" name="Полилиния 485">
              <a:extLst>
                <a:ext uri="{FF2B5EF4-FFF2-40B4-BE49-F238E27FC236}">
                  <a16:creationId xmlns:a16="http://schemas.microsoft.com/office/drawing/2014/main" id="{A0507027-0199-4104-7FA1-F232B225A01B}"/>
                </a:ext>
              </a:extLst>
            </p:cNvPr>
            <p:cNvSpPr/>
            <p:nvPr/>
          </p:nvSpPr>
          <p:spPr>
            <a:xfrm>
              <a:off x="738787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7" name="Полилиния 486">
              <a:extLst>
                <a:ext uri="{FF2B5EF4-FFF2-40B4-BE49-F238E27FC236}">
                  <a16:creationId xmlns:a16="http://schemas.microsoft.com/office/drawing/2014/main" id="{87A68F4B-04FF-047F-C8C5-FF157F19E543}"/>
                </a:ext>
              </a:extLst>
            </p:cNvPr>
            <p:cNvSpPr/>
            <p:nvPr/>
          </p:nvSpPr>
          <p:spPr>
            <a:xfrm>
              <a:off x="752188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8" name="Полилиния 487">
              <a:extLst>
                <a:ext uri="{FF2B5EF4-FFF2-40B4-BE49-F238E27FC236}">
                  <a16:creationId xmlns:a16="http://schemas.microsoft.com/office/drawing/2014/main" id="{3557CD1C-CB21-C5FA-DC8A-BFCDED1BCDD9}"/>
                </a:ext>
              </a:extLst>
            </p:cNvPr>
            <p:cNvSpPr/>
            <p:nvPr/>
          </p:nvSpPr>
          <p:spPr>
            <a:xfrm>
              <a:off x="770044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9" name="Полилиния 488">
              <a:extLst>
                <a:ext uri="{FF2B5EF4-FFF2-40B4-BE49-F238E27FC236}">
                  <a16:creationId xmlns:a16="http://schemas.microsoft.com/office/drawing/2014/main" id="{8A2D6F85-BCA9-075E-D1EC-4FC62C9AB006}"/>
                </a:ext>
              </a:extLst>
            </p:cNvPr>
            <p:cNvSpPr/>
            <p:nvPr/>
          </p:nvSpPr>
          <p:spPr>
            <a:xfrm>
              <a:off x="787899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0" name="Полилиния 489">
              <a:extLst>
                <a:ext uri="{FF2B5EF4-FFF2-40B4-BE49-F238E27FC236}">
                  <a16:creationId xmlns:a16="http://schemas.microsoft.com/office/drawing/2014/main" id="{6E79BB0A-5B6D-7C86-4391-A8E152EB2152}"/>
                </a:ext>
              </a:extLst>
            </p:cNvPr>
            <p:cNvSpPr/>
            <p:nvPr/>
          </p:nvSpPr>
          <p:spPr>
            <a:xfrm>
              <a:off x="645339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4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1" name="Полилиния 490">
              <a:extLst>
                <a:ext uri="{FF2B5EF4-FFF2-40B4-BE49-F238E27FC236}">
                  <a16:creationId xmlns:a16="http://schemas.microsoft.com/office/drawing/2014/main" id="{979D0133-9BF5-8A5C-58C0-F40EB6B663B7}"/>
                </a:ext>
              </a:extLst>
            </p:cNvPr>
            <p:cNvSpPr/>
            <p:nvPr/>
          </p:nvSpPr>
          <p:spPr>
            <a:xfrm>
              <a:off x="761420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4" y="0"/>
                    <a:pt x="0" y="68364"/>
                    <a:pt x="0" y="152659"/>
                  </a:cubicBezTo>
                  <a:cubicBezTo>
                    <a:pt x="0" y="236953"/>
                    <a:pt x="68624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2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2" name="Полилиния 491">
              <a:extLst>
                <a:ext uri="{FF2B5EF4-FFF2-40B4-BE49-F238E27FC236}">
                  <a16:creationId xmlns:a16="http://schemas.microsoft.com/office/drawing/2014/main" id="{A055C0CB-0CAB-F054-F33E-CE72D713A0E0}"/>
                </a:ext>
              </a:extLst>
            </p:cNvPr>
            <p:cNvSpPr/>
            <p:nvPr/>
          </p:nvSpPr>
          <p:spPr>
            <a:xfrm>
              <a:off x="6453399" y="3843927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5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5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3" name="Полилиния 492">
              <a:extLst>
                <a:ext uri="{FF2B5EF4-FFF2-40B4-BE49-F238E27FC236}">
                  <a16:creationId xmlns:a16="http://schemas.microsoft.com/office/drawing/2014/main" id="{C10E9D75-E8E0-EEEF-40E1-2DFEB1E1BF4F}"/>
                </a:ext>
              </a:extLst>
            </p:cNvPr>
            <p:cNvSpPr/>
            <p:nvPr/>
          </p:nvSpPr>
          <p:spPr>
            <a:xfrm>
              <a:off x="6539631" y="2773421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4" name="Полилиния 493">
              <a:extLst>
                <a:ext uri="{FF2B5EF4-FFF2-40B4-BE49-F238E27FC236}">
                  <a16:creationId xmlns:a16="http://schemas.microsoft.com/office/drawing/2014/main" id="{5437FE94-FFAB-980F-5E9D-90418BF04D8F}"/>
                </a:ext>
              </a:extLst>
            </p:cNvPr>
            <p:cNvSpPr/>
            <p:nvPr/>
          </p:nvSpPr>
          <p:spPr>
            <a:xfrm>
              <a:off x="7700442" y="2773421"/>
              <a:ext cx="131347" cy="130850"/>
            </a:xfrm>
            <a:custGeom>
              <a:avLst/>
              <a:gdLst>
                <a:gd name="connsiteX0" fmla="*/ 131348 w 131347"/>
                <a:gd name="connsiteY0" fmla="*/ 65425 h 130850"/>
                <a:gd name="connsiteX1" fmla="*/ 65674 w 131347"/>
                <a:gd name="connsiteY1" fmla="*/ 130850 h 130850"/>
                <a:gd name="connsiteX2" fmla="*/ 0 w 131347"/>
                <a:gd name="connsiteY2" fmla="*/ 65425 h 130850"/>
                <a:gd name="connsiteX3" fmla="*/ 65674 w 131347"/>
                <a:gd name="connsiteY3" fmla="*/ 0 h 130850"/>
                <a:gd name="connsiteX4" fmla="*/ 131348 w 131347"/>
                <a:gd name="connsiteY4" fmla="*/ 65425 h 130850"/>
                <a:gd name="connsiteX5" fmla="*/ 131348 w 131347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7" h="130850">
                  <a:moveTo>
                    <a:pt x="131348" y="65425"/>
                  </a:moveTo>
                  <a:cubicBezTo>
                    <a:pt x="131348" y="101551"/>
                    <a:pt x="101937" y="130850"/>
                    <a:pt x="65674" y="130850"/>
                  </a:cubicBezTo>
                  <a:cubicBezTo>
                    <a:pt x="29410" y="130850"/>
                    <a:pt x="0" y="101551"/>
                    <a:pt x="0" y="65425"/>
                  </a:cubicBezTo>
                  <a:cubicBezTo>
                    <a:pt x="0" y="29299"/>
                    <a:pt x="29410" y="0"/>
                    <a:pt x="65674" y="0"/>
                  </a:cubicBezTo>
                  <a:cubicBezTo>
                    <a:pt x="101937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5" name="Полилиния 494">
              <a:extLst>
                <a:ext uri="{FF2B5EF4-FFF2-40B4-BE49-F238E27FC236}">
                  <a16:creationId xmlns:a16="http://schemas.microsoft.com/office/drawing/2014/main" id="{59E83F1E-22EB-67B1-4EAF-FCC9F71C4A11}"/>
                </a:ext>
              </a:extLst>
            </p:cNvPr>
            <p:cNvSpPr/>
            <p:nvPr/>
          </p:nvSpPr>
          <p:spPr>
            <a:xfrm>
              <a:off x="6539631" y="3929834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6" name="Полилиния 495">
              <a:extLst>
                <a:ext uri="{FF2B5EF4-FFF2-40B4-BE49-F238E27FC236}">
                  <a16:creationId xmlns:a16="http://schemas.microsoft.com/office/drawing/2014/main" id="{289DBC7F-B6D3-3DD0-1EC7-EE1417318E56}"/>
                </a:ext>
              </a:extLst>
            </p:cNvPr>
            <p:cNvSpPr/>
            <p:nvPr/>
          </p:nvSpPr>
          <p:spPr>
            <a:xfrm>
              <a:off x="6941480" y="3173652"/>
              <a:ext cx="491126" cy="489266"/>
            </a:xfrm>
            <a:custGeom>
              <a:avLst/>
              <a:gdLst>
                <a:gd name="connsiteX0" fmla="*/ 0 w 491126"/>
                <a:gd name="connsiteY0" fmla="*/ 244633 h 489266"/>
                <a:gd name="connsiteX1" fmla="*/ 245564 w 491126"/>
                <a:gd name="connsiteY1" fmla="*/ 0 h 489266"/>
                <a:gd name="connsiteX2" fmla="*/ 491127 w 491126"/>
                <a:gd name="connsiteY2" fmla="*/ 244633 h 489266"/>
                <a:gd name="connsiteX3" fmla="*/ 245564 w 491126"/>
                <a:gd name="connsiteY3" fmla="*/ 489266 h 489266"/>
                <a:gd name="connsiteX4" fmla="*/ 0 w 491126"/>
                <a:gd name="connsiteY4" fmla="*/ 244633 h 489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126" h="489266">
                  <a:moveTo>
                    <a:pt x="0" y="244633"/>
                  </a:moveTo>
                  <a:cubicBezTo>
                    <a:pt x="0" y="109516"/>
                    <a:pt x="109933" y="0"/>
                    <a:pt x="245564" y="0"/>
                  </a:cubicBezTo>
                  <a:cubicBezTo>
                    <a:pt x="381194" y="0"/>
                    <a:pt x="491127" y="109516"/>
                    <a:pt x="491127" y="244633"/>
                  </a:cubicBezTo>
                  <a:cubicBezTo>
                    <a:pt x="491127" y="379750"/>
                    <a:pt x="381194" y="489266"/>
                    <a:pt x="245564" y="489266"/>
                  </a:cubicBezTo>
                  <a:cubicBezTo>
                    <a:pt x="109933" y="489266"/>
                    <a:pt x="0" y="379750"/>
                    <a:pt x="0" y="244633"/>
                  </a:cubicBezTo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7" name="Полилиния 496">
              <a:extLst>
                <a:ext uri="{FF2B5EF4-FFF2-40B4-BE49-F238E27FC236}">
                  <a16:creationId xmlns:a16="http://schemas.microsoft.com/office/drawing/2014/main" id="{E8411FAD-9461-81FE-1B02-F7E74C18B7BD}"/>
                </a:ext>
              </a:extLst>
            </p:cNvPr>
            <p:cNvSpPr/>
            <p:nvPr/>
          </p:nvSpPr>
          <p:spPr>
            <a:xfrm>
              <a:off x="7002815" y="3284324"/>
              <a:ext cx="323875" cy="267920"/>
            </a:xfrm>
            <a:custGeom>
              <a:avLst/>
              <a:gdLst>
                <a:gd name="connsiteX0" fmla="*/ 323762 w 323875"/>
                <a:gd name="connsiteY0" fmla="*/ 26057 h 267920"/>
                <a:gd name="connsiteX1" fmla="*/ 315671 w 323875"/>
                <a:gd name="connsiteY1" fmla="*/ 82284 h 267920"/>
                <a:gd name="connsiteX2" fmla="*/ 292257 w 323875"/>
                <a:gd name="connsiteY2" fmla="*/ 235227 h 267920"/>
                <a:gd name="connsiteX3" fmla="*/ 286165 w 323875"/>
                <a:gd name="connsiteY3" fmla="*/ 254665 h 267920"/>
                <a:gd name="connsiteX4" fmla="*/ 258944 w 323875"/>
                <a:gd name="connsiteY4" fmla="*/ 266518 h 267920"/>
                <a:gd name="connsiteX5" fmla="*/ 236101 w 323875"/>
                <a:gd name="connsiteY5" fmla="*/ 255329 h 267920"/>
                <a:gd name="connsiteX6" fmla="*/ 151106 w 323875"/>
                <a:gd name="connsiteY6" fmla="*/ 198438 h 267920"/>
                <a:gd name="connsiteX7" fmla="*/ 147965 w 323875"/>
                <a:gd name="connsiteY7" fmla="*/ 166578 h 267920"/>
                <a:gd name="connsiteX8" fmla="*/ 197934 w 323875"/>
                <a:gd name="connsiteY8" fmla="*/ 119927 h 267920"/>
                <a:gd name="connsiteX9" fmla="*/ 236196 w 323875"/>
                <a:gd name="connsiteY9" fmla="*/ 83517 h 267920"/>
                <a:gd name="connsiteX10" fmla="*/ 241050 w 323875"/>
                <a:gd name="connsiteY10" fmla="*/ 78207 h 267920"/>
                <a:gd name="connsiteX11" fmla="*/ 242668 w 323875"/>
                <a:gd name="connsiteY11" fmla="*/ 69389 h 267920"/>
                <a:gd name="connsiteX12" fmla="*/ 233626 w 323875"/>
                <a:gd name="connsiteY12" fmla="*/ 69484 h 267920"/>
                <a:gd name="connsiteX13" fmla="*/ 190129 w 323875"/>
                <a:gd name="connsiteY13" fmla="*/ 98403 h 267920"/>
                <a:gd name="connsiteX14" fmla="*/ 115794 w 323875"/>
                <a:gd name="connsiteY14" fmla="*/ 149226 h 267920"/>
                <a:gd name="connsiteX15" fmla="*/ 98757 w 323875"/>
                <a:gd name="connsiteY15" fmla="*/ 158614 h 267920"/>
                <a:gd name="connsiteX16" fmla="*/ 66777 w 323875"/>
                <a:gd name="connsiteY16" fmla="*/ 160889 h 267920"/>
                <a:gd name="connsiteX17" fmla="*/ 15284 w 323875"/>
                <a:gd name="connsiteY17" fmla="*/ 146666 h 267920"/>
                <a:gd name="connsiteX18" fmla="*/ 4719 w 323875"/>
                <a:gd name="connsiteY18" fmla="*/ 141831 h 267920"/>
                <a:gd name="connsiteX19" fmla="*/ 3101 w 323875"/>
                <a:gd name="connsiteY19" fmla="*/ 127608 h 267920"/>
                <a:gd name="connsiteX20" fmla="*/ 16331 w 323875"/>
                <a:gd name="connsiteY20" fmla="*/ 118790 h 267920"/>
                <a:gd name="connsiteX21" fmla="*/ 281216 w 323875"/>
                <a:gd name="connsiteY21" fmla="*/ 6808 h 267920"/>
                <a:gd name="connsiteX22" fmla="*/ 299110 w 323875"/>
                <a:gd name="connsiteY22" fmla="*/ 835 h 267920"/>
                <a:gd name="connsiteX23" fmla="*/ 323857 w 323875"/>
                <a:gd name="connsiteY23" fmla="*/ 25962 h 26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23875" h="267920">
                  <a:moveTo>
                    <a:pt x="323762" y="26057"/>
                  </a:moveTo>
                  <a:cubicBezTo>
                    <a:pt x="321477" y="41986"/>
                    <a:pt x="318717" y="62183"/>
                    <a:pt x="315671" y="82284"/>
                  </a:cubicBezTo>
                  <a:cubicBezTo>
                    <a:pt x="307962" y="133297"/>
                    <a:pt x="300252" y="184215"/>
                    <a:pt x="292257" y="235227"/>
                  </a:cubicBezTo>
                  <a:cubicBezTo>
                    <a:pt x="291210" y="241865"/>
                    <a:pt x="289116" y="248597"/>
                    <a:pt x="286165" y="254665"/>
                  </a:cubicBezTo>
                  <a:cubicBezTo>
                    <a:pt x="280645" y="266138"/>
                    <a:pt x="271032" y="270405"/>
                    <a:pt x="258944" y="266518"/>
                  </a:cubicBezTo>
                  <a:cubicBezTo>
                    <a:pt x="250949" y="263863"/>
                    <a:pt x="243144" y="259880"/>
                    <a:pt x="236101" y="255329"/>
                  </a:cubicBezTo>
                  <a:cubicBezTo>
                    <a:pt x="207547" y="236650"/>
                    <a:pt x="179374" y="217496"/>
                    <a:pt x="151106" y="198438"/>
                  </a:cubicBezTo>
                  <a:cubicBezTo>
                    <a:pt x="137781" y="189525"/>
                    <a:pt x="136353" y="177767"/>
                    <a:pt x="147965" y="166578"/>
                  </a:cubicBezTo>
                  <a:cubicBezTo>
                    <a:pt x="164336" y="150744"/>
                    <a:pt x="181278" y="135478"/>
                    <a:pt x="197934" y="119927"/>
                  </a:cubicBezTo>
                  <a:cubicBezTo>
                    <a:pt x="210783" y="107885"/>
                    <a:pt x="223442" y="95748"/>
                    <a:pt x="236196" y="83517"/>
                  </a:cubicBezTo>
                  <a:cubicBezTo>
                    <a:pt x="237909" y="81810"/>
                    <a:pt x="239432" y="80009"/>
                    <a:pt x="241050" y="78207"/>
                  </a:cubicBezTo>
                  <a:cubicBezTo>
                    <a:pt x="243335" y="75552"/>
                    <a:pt x="245524" y="72613"/>
                    <a:pt x="242668" y="69389"/>
                  </a:cubicBezTo>
                  <a:cubicBezTo>
                    <a:pt x="239908" y="66165"/>
                    <a:pt x="236482" y="67587"/>
                    <a:pt x="233626" y="69484"/>
                  </a:cubicBezTo>
                  <a:cubicBezTo>
                    <a:pt x="219064" y="79060"/>
                    <a:pt x="204501" y="88637"/>
                    <a:pt x="190129" y="98403"/>
                  </a:cubicBezTo>
                  <a:cubicBezTo>
                    <a:pt x="165288" y="115281"/>
                    <a:pt x="140636" y="132443"/>
                    <a:pt x="115794" y="149226"/>
                  </a:cubicBezTo>
                  <a:cubicBezTo>
                    <a:pt x="110464" y="152830"/>
                    <a:pt x="104658" y="155864"/>
                    <a:pt x="98757" y="158614"/>
                  </a:cubicBezTo>
                  <a:cubicBezTo>
                    <a:pt x="88478" y="163449"/>
                    <a:pt x="77912" y="164208"/>
                    <a:pt x="66777" y="160889"/>
                  </a:cubicBezTo>
                  <a:cubicBezTo>
                    <a:pt x="49739" y="155769"/>
                    <a:pt x="32417" y="151502"/>
                    <a:pt x="15284" y="146666"/>
                  </a:cubicBezTo>
                  <a:cubicBezTo>
                    <a:pt x="11572" y="145623"/>
                    <a:pt x="7955" y="143917"/>
                    <a:pt x="4719" y="141831"/>
                  </a:cubicBezTo>
                  <a:cubicBezTo>
                    <a:pt x="-801" y="138133"/>
                    <a:pt x="-1658" y="132254"/>
                    <a:pt x="3101" y="127608"/>
                  </a:cubicBezTo>
                  <a:cubicBezTo>
                    <a:pt x="6909" y="124005"/>
                    <a:pt x="11477" y="120781"/>
                    <a:pt x="16331" y="118790"/>
                  </a:cubicBezTo>
                  <a:cubicBezTo>
                    <a:pt x="104563" y="81336"/>
                    <a:pt x="192890" y="44072"/>
                    <a:pt x="281216" y="6808"/>
                  </a:cubicBezTo>
                  <a:cubicBezTo>
                    <a:pt x="287022" y="4343"/>
                    <a:pt x="293018" y="2162"/>
                    <a:pt x="299110" y="835"/>
                  </a:cubicBezTo>
                  <a:cubicBezTo>
                    <a:pt x="315766" y="-2674"/>
                    <a:pt x="324333" y="4722"/>
                    <a:pt x="323857" y="25962"/>
                  </a:cubicBezTo>
                  <a:close/>
                </a:path>
              </a:pathLst>
            </a:custGeom>
            <a:solidFill>
              <a:schemeClr val="tx2"/>
            </a:solidFill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498" name="Полилиния 497">
            <a:extLst>
              <a:ext uri="{FF2B5EF4-FFF2-40B4-BE49-F238E27FC236}">
                <a16:creationId xmlns:a16="http://schemas.microsoft.com/office/drawing/2014/main" id="{E89F4E4E-82BC-A8D1-8F97-50BDC7F86DEE}"/>
              </a:ext>
            </a:extLst>
          </p:cNvPr>
          <p:cNvSpPr/>
          <p:nvPr/>
        </p:nvSpPr>
        <p:spPr>
          <a:xfrm>
            <a:off x="7919928" y="813331"/>
            <a:ext cx="1248421" cy="1243612"/>
          </a:xfrm>
          <a:custGeom>
            <a:avLst/>
            <a:gdLst>
              <a:gd name="connsiteX0" fmla="*/ 564796 w 1485658"/>
              <a:gd name="connsiteY0" fmla="*/ 0 h 1479935"/>
              <a:gd name="connsiteX1" fmla="*/ 595348 w 1485658"/>
              <a:gd name="connsiteY1" fmla="*/ 30437 h 1479935"/>
              <a:gd name="connsiteX2" fmla="*/ 564796 w 1485658"/>
              <a:gd name="connsiteY2" fmla="*/ 60874 h 1479935"/>
              <a:gd name="connsiteX3" fmla="*/ 534243 w 1485658"/>
              <a:gd name="connsiteY3" fmla="*/ 30437 h 1479935"/>
              <a:gd name="connsiteX4" fmla="*/ 564796 w 1485658"/>
              <a:gd name="connsiteY4" fmla="*/ 0 h 1479935"/>
              <a:gd name="connsiteX5" fmla="*/ 593635 w 1485658"/>
              <a:gd name="connsiteY5" fmla="*/ 30437 h 1479935"/>
              <a:gd name="connsiteX6" fmla="*/ 624188 w 1485658"/>
              <a:gd name="connsiteY6" fmla="*/ 60874 h 1479935"/>
              <a:gd name="connsiteX7" fmla="*/ 654740 w 1485658"/>
              <a:gd name="connsiteY7" fmla="*/ 30437 h 1479935"/>
              <a:gd name="connsiteX8" fmla="*/ 624188 w 1485658"/>
              <a:gd name="connsiteY8" fmla="*/ 0 h 1479935"/>
              <a:gd name="connsiteX9" fmla="*/ 593635 w 1485658"/>
              <a:gd name="connsiteY9" fmla="*/ 30437 h 1479935"/>
              <a:gd name="connsiteX10" fmla="*/ 652932 w 1485658"/>
              <a:gd name="connsiteY10" fmla="*/ 30437 h 1479935"/>
              <a:gd name="connsiteX11" fmla="*/ 683485 w 1485658"/>
              <a:gd name="connsiteY11" fmla="*/ 60874 h 1479935"/>
              <a:gd name="connsiteX12" fmla="*/ 714037 w 1485658"/>
              <a:gd name="connsiteY12" fmla="*/ 30437 h 1479935"/>
              <a:gd name="connsiteX13" fmla="*/ 683485 w 1485658"/>
              <a:gd name="connsiteY13" fmla="*/ 0 h 1479935"/>
              <a:gd name="connsiteX14" fmla="*/ 652932 w 1485658"/>
              <a:gd name="connsiteY14" fmla="*/ 30437 h 1479935"/>
              <a:gd name="connsiteX15" fmla="*/ 831013 w 1485658"/>
              <a:gd name="connsiteY15" fmla="*/ 30437 h 1479935"/>
              <a:gd name="connsiteX16" fmla="*/ 861566 w 1485658"/>
              <a:gd name="connsiteY16" fmla="*/ 60874 h 1479935"/>
              <a:gd name="connsiteX17" fmla="*/ 892118 w 1485658"/>
              <a:gd name="connsiteY17" fmla="*/ 30437 h 1479935"/>
              <a:gd name="connsiteX18" fmla="*/ 861566 w 1485658"/>
              <a:gd name="connsiteY18" fmla="*/ 0 h 1479935"/>
              <a:gd name="connsiteX19" fmla="*/ 831013 w 1485658"/>
              <a:gd name="connsiteY19" fmla="*/ 30437 h 1479935"/>
              <a:gd name="connsiteX20" fmla="*/ 949702 w 1485658"/>
              <a:gd name="connsiteY20" fmla="*/ 30437 h 1479935"/>
              <a:gd name="connsiteX21" fmla="*/ 980255 w 1485658"/>
              <a:gd name="connsiteY21" fmla="*/ 60874 h 1479935"/>
              <a:gd name="connsiteX22" fmla="*/ 1010807 w 1485658"/>
              <a:gd name="connsiteY22" fmla="*/ 30437 h 1479935"/>
              <a:gd name="connsiteX23" fmla="*/ 980255 w 1485658"/>
              <a:gd name="connsiteY23" fmla="*/ 0 h 1479935"/>
              <a:gd name="connsiteX24" fmla="*/ 949702 w 1485658"/>
              <a:gd name="connsiteY24" fmla="*/ 30437 h 1479935"/>
              <a:gd name="connsiteX25" fmla="*/ 593635 w 1485658"/>
              <a:gd name="connsiteY25" fmla="*/ 89509 h 1479935"/>
              <a:gd name="connsiteX26" fmla="*/ 624188 w 1485658"/>
              <a:gd name="connsiteY26" fmla="*/ 119946 h 1479935"/>
              <a:gd name="connsiteX27" fmla="*/ 654740 w 1485658"/>
              <a:gd name="connsiteY27" fmla="*/ 89509 h 1479935"/>
              <a:gd name="connsiteX28" fmla="*/ 624188 w 1485658"/>
              <a:gd name="connsiteY28" fmla="*/ 59072 h 1479935"/>
              <a:gd name="connsiteX29" fmla="*/ 593635 w 1485658"/>
              <a:gd name="connsiteY29" fmla="*/ 89509 h 1479935"/>
              <a:gd name="connsiteX30" fmla="*/ 771621 w 1485658"/>
              <a:gd name="connsiteY30" fmla="*/ 89509 h 1479935"/>
              <a:gd name="connsiteX31" fmla="*/ 802174 w 1485658"/>
              <a:gd name="connsiteY31" fmla="*/ 119946 h 1479935"/>
              <a:gd name="connsiteX32" fmla="*/ 832726 w 1485658"/>
              <a:gd name="connsiteY32" fmla="*/ 89509 h 1479935"/>
              <a:gd name="connsiteX33" fmla="*/ 802174 w 1485658"/>
              <a:gd name="connsiteY33" fmla="*/ 59072 h 1479935"/>
              <a:gd name="connsiteX34" fmla="*/ 771621 w 1485658"/>
              <a:gd name="connsiteY34" fmla="*/ 89509 h 1479935"/>
              <a:gd name="connsiteX35" fmla="*/ 890310 w 1485658"/>
              <a:gd name="connsiteY35" fmla="*/ 89509 h 1479935"/>
              <a:gd name="connsiteX36" fmla="*/ 920863 w 1485658"/>
              <a:gd name="connsiteY36" fmla="*/ 119946 h 1479935"/>
              <a:gd name="connsiteX37" fmla="*/ 951415 w 1485658"/>
              <a:gd name="connsiteY37" fmla="*/ 89509 h 1479935"/>
              <a:gd name="connsiteX38" fmla="*/ 920863 w 1485658"/>
              <a:gd name="connsiteY38" fmla="*/ 59072 h 1479935"/>
              <a:gd name="connsiteX39" fmla="*/ 890310 w 1485658"/>
              <a:gd name="connsiteY39" fmla="*/ 89509 h 1479935"/>
              <a:gd name="connsiteX40" fmla="*/ 474851 w 1485658"/>
              <a:gd name="connsiteY40" fmla="*/ 148676 h 1479935"/>
              <a:gd name="connsiteX41" fmla="*/ 505404 w 1485658"/>
              <a:gd name="connsiteY41" fmla="*/ 179113 h 1479935"/>
              <a:gd name="connsiteX42" fmla="*/ 535956 w 1485658"/>
              <a:gd name="connsiteY42" fmla="*/ 148676 h 1479935"/>
              <a:gd name="connsiteX43" fmla="*/ 505404 w 1485658"/>
              <a:gd name="connsiteY43" fmla="*/ 118239 h 1479935"/>
              <a:gd name="connsiteX44" fmla="*/ 474851 w 1485658"/>
              <a:gd name="connsiteY44" fmla="*/ 148676 h 1479935"/>
              <a:gd name="connsiteX45" fmla="*/ 712324 w 1485658"/>
              <a:gd name="connsiteY45" fmla="*/ 148676 h 1479935"/>
              <a:gd name="connsiteX46" fmla="*/ 742877 w 1485658"/>
              <a:gd name="connsiteY46" fmla="*/ 179113 h 1479935"/>
              <a:gd name="connsiteX47" fmla="*/ 773429 w 1485658"/>
              <a:gd name="connsiteY47" fmla="*/ 148676 h 1479935"/>
              <a:gd name="connsiteX48" fmla="*/ 742877 w 1485658"/>
              <a:gd name="connsiteY48" fmla="*/ 118239 h 1479935"/>
              <a:gd name="connsiteX49" fmla="*/ 712324 w 1485658"/>
              <a:gd name="connsiteY49" fmla="*/ 148676 h 1479935"/>
              <a:gd name="connsiteX50" fmla="*/ 949702 w 1485658"/>
              <a:gd name="connsiteY50" fmla="*/ 148676 h 1479935"/>
              <a:gd name="connsiteX51" fmla="*/ 980255 w 1485658"/>
              <a:gd name="connsiteY51" fmla="*/ 179113 h 1479935"/>
              <a:gd name="connsiteX52" fmla="*/ 1010807 w 1485658"/>
              <a:gd name="connsiteY52" fmla="*/ 148676 h 1479935"/>
              <a:gd name="connsiteX53" fmla="*/ 980255 w 1485658"/>
              <a:gd name="connsiteY53" fmla="*/ 118239 h 1479935"/>
              <a:gd name="connsiteX54" fmla="*/ 949702 w 1485658"/>
              <a:gd name="connsiteY54" fmla="*/ 148676 h 1479935"/>
              <a:gd name="connsiteX55" fmla="*/ 474851 w 1485658"/>
              <a:gd name="connsiteY55" fmla="*/ 207843 h 1479935"/>
              <a:gd name="connsiteX56" fmla="*/ 505404 w 1485658"/>
              <a:gd name="connsiteY56" fmla="*/ 238280 h 1479935"/>
              <a:gd name="connsiteX57" fmla="*/ 535956 w 1485658"/>
              <a:gd name="connsiteY57" fmla="*/ 207843 h 1479935"/>
              <a:gd name="connsiteX58" fmla="*/ 505404 w 1485658"/>
              <a:gd name="connsiteY58" fmla="*/ 177406 h 1479935"/>
              <a:gd name="connsiteX59" fmla="*/ 474851 w 1485658"/>
              <a:gd name="connsiteY59" fmla="*/ 207843 h 1479935"/>
              <a:gd name="connsiteX60" fmla="*/ 534243 w 1485658"/>
              <a:gd name="connsiteY60" fmla="*/ 207843 h 1479935"/>
              <a:gd name="connsiteX61" fmla="*/ 564796 w 1485658"/>
              <a:gd name="connsiteY61" fmla="*/ 238280 h 1479935"/>
              <a:gd name="connsiteX62" fmla="*/ 595348 w 1485658"/>
              <a:gd name="connsiteY62" fmla="*/ 207843 h 1479935"/>
              <a:gd name="connsiteX63" fmla="*/ 564796 w 1485658"/>
              <a:gd name="connsiteY63" fmla="*/ 177406 h 1479935"/>
              <a:gd name="connsiteX64" fmla="*/ 534243 w 1485658"/>
              <a:gd name="connsiteY64" fmla="*/ 207843 h 1479935"/>
              <a:gd name="connsiteX65" fmla="*/ 593635 w 1485658"/>
              <a:gd name="connsiteY65" fmla="*/ 207843 h 1479935"/>
              <a:gd name="connsiteX66" fmla="*/ 624188 w 1485658"/>
              <a:gd name="connsiteY66" fmla="*/ 238280 h 1479935"/>
              <a:gd name="connsiteX67" fmla="*/ 654740 w 1485658"/>
              <a:gd name="connsiteY67" fmla="*/ 207843 h 1479935"/>
              <a:gd name="connsiteX68" fmla="*/ 624188 w 1485658"/>
              <a:gd name="connsiteY68" fmla="*/ 177406 h 1479935"/>
              <a:gd name="connsiteX69" fmla="*/ 593635 w 1485658"/>
              <a:gd name="connsiteY69" fmla="*/ 207843 h 1479935"/>
              <a:gd name="connsiteX70" fmla="*/ 652932 w 1485658"/>
              <a:gd name="connsiteY70" fmla="*/ 207843 h 1479935"/>
              <a:gd name="connsiteX71" fmla="*/ 683485 w 1485658"/>
              <a:gd name="connsiteY71" fmla="*/ 238280 h 1479935"/>
              <a:gd name="connsiteX72" fmla="*/ 714037 w 1485658"/>
              <a:gd name="connsiteY72" fmla="*/ 207843 h 1479935"/>
              <a:gd name="connsiteX73" fmla="*/ 683485 w 1485658"/>
              <a:gd name="connsiteY73" fmla="*/ 177406 h 1479935"/>
              <a:gd name="connsiteX74" fmla="*/ 652932 w 1485658"/>
              <a:gd name="connsiteY74" fmla="*/ 207843 h 1479935"/>
              <a:gd name="connsiteX75" fmla="*/ 771621 w 1485658"/>
              <a:gd name="connsiteY75" fmla="*/ 207843 h 1479935"/>
              <a:gd name="connsiteX76" fmla="*/ 802174 w 1485658"/>
              <a:gd name="connsiteY76" fmla="*/ 238280 h 1479935"/>
              <a:gd name="connsiteX77" fmla="*/ 832726 w 1485658"/>
              <a:gd name="connsiteY77" fmla="*/ 207843 h 1479935"/>
              <a:gd name="connsiteX78" fmla="*/ 802174 w 1485658"/>
              <a:gd name="connsiteY78" fmla="*/ 177406 h 1479935"/>
              <a:gd name="connsiteX79" fmla="*/ 771621 w 1485658"/>
              <a:gd name="connsiteY79" fmla="*/ 207843 h 1479935"/>
              <a:gd name="connsiteX80" fmla="*/ 831013 w 1485658"/>
              <a:gd name="connsiteY80" fmla="*/ 207843 h 1479935"/>
              <a:gd name="connsiteX81" fmla="*/ 861566 w 1485658"/>
              <a:gd name="connsiteY81" fmla="*/ 238280 h 1479935"/>
              <a:gd name="connsiteX82" fmla="*/ 892118 w 1485658"/>
              <a:gd name="connsiteY82" fmla="*/ 207843 h 1479935"/>
              <a:gd name="connsiteX83" fmla="*/ 861566 w 1485658"/>
              <a:gd name="connsiteY83" fmla="*/ 177406 h 1479935"/>
              <a:gd name="connsiteX84" fmla="*/ 831013 w 1485658"/>
              <a:gd name="connsiteY84" fmla="*/ 207843 h 1479935"/>
              <a:gd name="connsiteX85" fmla="*/ 474851 w 1485658"/>
              <a:gd name="connsiteY85" fmla="*/ 266915 h 1479935"/>
              <a:gd name="connsiteX86" fmla="*/ 505404 w 1485658"/>
              <a:gd name="connsiteY86" fmla="*/ 297352 h 1479935"/>
              <a:gd name="connsiteX87" fmla="*/ 535956 w 1485658"/>
              <a:gd name="connsiteY87" fmla="*/ 266915 h 1479935"/>
              <a:gd name="connsiteX88" fmla="*/ 505404 w 1485658"/>
              <a:gd name="connsiteY88" fmla="*/ 236479 h 1479935"/>
              <a:gd name="connsiteX89" fmla="*/ 474851 w 1485658"/>
              <a:gd name="connsiteY89" fmla="*/ 266915 h 1479935"/>
              <a:gd name="connsiteX90" fmla="*/ 652932 w 1485658"/>
              <a:gd name="connsiteY90" fmla="*/ 266915 h 1479935"/>
              <a:gd name="connsiteX91" fmla="*/ 683485 w 1485658"/>
              <a:gd name="connsiteY91" fmla="*/ 297352 h 1479935"/>
              <a:gd name="connsiteX92" fmla="*/ 714037 w 1485658"/>
              <a:gd name="connsiteY92" fmla="*/ 266915 h 1479935"/>
              <a:gd name="connsiteX93" fmla="*/ 683485 w 1485658"/>
              <a:gd name="connsiteY93" fmla="*/ 236479 h 1479935"/>
              <a:gd name="connsiteX94" fmla="*/ 652932 w 1485658"/>
              <a:gd name="connsiteY94" fmla="*/ 266915 h 1479935"/>
              <a:gd name="connsiteX95" fmla="*/ 712324 w 1485658"/>
              <a:gd name="connsiteY95" fmla="*/ 266915 h 1479935"/>
              <a:gd name="connsiteX96" fmla="*/ 742877 w 1485658"/>
              <a:gd name="connsiteY96" fmla="*/ 297352 h 1479935"/>
              <a:gd name="connsiteX97" fmla="*/ 773429 w 1485658"/>
              <a:gd name="connsiteY97" fmla="*/ 266915 h 1479935"/>
              <a:gd name="connsiteX98" fmla="*/ 742877 w 1485658"/>
              <a:gd name="connsiteY98" fmla="*/ 236479 h 1479935"/>
              <a:gd name="connsiteX99" fmla="*/ 712324 w 1485658"/>
              <a:gd name="connsiteY99" fmla="*/ 266915 h 1479935"/>
              <a:gd name="connsiteX100" fmla="*/ 831013 w 1485658"/>
              <a:gd name="connsiteY100" fmla="*/ 266915 h 1479935"/>
              <a:gd name="connsiteX101" fmla="*/ 861566 w 1485658"/>
              <a:gd name="connsiteY101" fmla="*/ 297352 h 1479935"/>
              <a:gd name="connsiteX102" fmla="*/ 892118 w 1485658"/>
              <a:gd name="connsiteY102" fmla="*/ 266915 h 1479935"/>
              <a:gd name="connsiteX103" fmla="*/ 861566 w 1485658"/>
              <a:gd name="connsiteY103" fmla="*/ 236479 h 1479935"/>
              <a:gd name="connsiteX104" fmla="*/ 831013 w 1485658"/>
              <a:gd name="connsiteY104" fmla="*/ 266915 h 1479935"/>
              <a:gd name="connsiteX105" fmla="*/ 474851 w 1485658"/>
              <a:gd name="connsiteY105" fmla="*/ 326083 h 1479935"/>
              <a:gd name="connsiteX106" fmla="*/ 505404 w 1485658"/>
              <a:gd name="connsiteY106" fmla="*/ 356519 h 1479935"/>
              <a:gd name="connsiteX107" fmla="*/ 535956 w 1485658"/>
              <a:gd name="connsiteY107" fmla="*/ 326083 h 1479935"/>
              <a:gd name="connsiteX108" fmla="*/ 505404 w 1485658"/>
              <a:gd name="connsiteY108" fmla="*/ 295646 h 1479935"/>
              <a:gd name="connsiteX109" fmla="*/ 474851 w 1485658"/>
              <a:gd name="connsiteY109" fmla="*/ 326083 h 1479935"/>
              <a:gd name="connsiteX110" fmla="*/ 593635 w 1485658"/>
              <a:gd name="connsiteY110" fmla="*/ 326083 h 1479935"/>
              <a:gd name="connsiteX111" fmla="*/ 624188 w 1485658"/>
              <a:gd name="connsiteY111" fmla="*/ 356519 h 1479935"/>
              <a:gd name="connsiteX112" fmla="*/ 654740 w 1485658"/>
              <a:gd name="connsiteY112" fmla="*/ 326083 h 1479935"/>
              <a:gd name="connsiteX113" fmla="*/ 624188 w 1485658"/>
              <a:gd name="connsiteY113" fmla="*/ 295646 h 1479935"/>
              <a:gd name="connsiteX114" fmla="*/ 593635 w 1485658"/>
              <a:gd name="connsiteY114" fmla="*/ 326083 h 1479935"/>
              <a:gd name="connsiteX115" fmla="*/ 831013 w 1485658"/>
              <a:gd name="connsiteY115" fmla="*/ 326083 h 1479935"/>
              <a:gd name="connsiteX116" fmla="*/ 861566 w 1485658"/>
              <a:gd name="connsiteY116" fmla="*/ 356519 h 1479935"/>
              <a:gd name="connsiteX117" fmla="*/ 892118 w 1485658"/>
              <a:gd name="connsiteY117" fmla="*/ 326083 h 1479935"/>
              <a:gd name="connsiteX118" fmla="*/ 861566 w 1485658"/>
              <a:gd name="connsiteY118" fmla="*/ 295646 h 1479935"/>
              <a:gd name="connsiteX119" fmla="*/ 831013 w 1485658"/>
              <a:gd name="connsiteY119" fmla="*/ 326083 h 1479935"/>
              <a:gd name="connsiteX120" fmla="*/ 890310 w 1485658"/>
              <a:gd name="connsiteY120" fmla="*/ 326083 h 1479935"/>
              <a:gd name="connsiteX121" fmla="*/ 920863 w 1485658"/>
              <a:gd name="connsiteY121" fmla="*/ 356519 h 1479935"/>
              <a:gd name="connsiteX122" fmla="*/ 951415 w 1485658"/>
              <a:gd name="connsiteY122" fmla="*/ 326083 h 1479935"/>
              <a:gd name="connsiteX123" fmla="*/ 920863 w 1485658"/>
              <a:gd name="connsiteY123" fmla="*/ 295646 h 1479935"/>
              <a:gd name="connsiteX124" fmla="*/ 890310 w 1485658"/>
              <a:gd name="connsiteY124" fmla="*/ 326083 h 1479935"/>
              <a:gd name="connsiteX125" fmla="*/ 949702 w 1485658"/>
              <a:gd name="connsiteY125" fmla="*/ 326083 h 1479935"/>
              <a:gd name="connsiteX126" fmla="*/ 980255 w 1485658"/>
              <a:gd name="connsiteY126" fmla="*/ 356519 h 1479935"/>
              <a:gd name="connsiteX127" fmla="*/ 1010807 w 1485658"/>
              <a:gd name="connsiteY127" fmla="*/ 326083 h 1479935"/>
              <a:gd name="connsiteX128" fmla="*/ 980255 w 1485658"/>
              <a:gd name="connsiteY128" fmla="*/ 295646 h 1479935"/>
              <a:gd name="connsiteX129" fmla="*/ 949702 w 1485658"/>
              <a:gd name="connsiteY129" fmla="*/ 326083 h 1479935"/>
              <a:gd name="connsiteX130" fmla="*/ 474851 w 1485658"/>
              <a:gd name="connsiteY130" fmla="*/ 385155 h 1479935"/>
              <a:gd name="connsiteX131" fmla="*/ 505404 w 1485658"/>
              <a:gd name="connsiteY131" fmla="*/ 415592 h 1479935"/>
              <a:gd name="connsiteX132" fmla="*/ 535956 w 1485658"/>
              <a:gd name="connsiteY132" fmla="*/ 385155 h 1479935"/>
              <a:gd name="connsiteX133" fmla="*/ 505404 w 1485658"/>
              <a:gd name="connsiteY133" fmla="*/ 354718 h 1479935"/>
              <a:gd name="connsiteX134" fmla="*/ 474851 w 1485658"/>
              <a:gd name="connsiteY134" fmla="*/ 385155 h 1479935"/>
              <a:gd name="connsiteX135" fmla="*/ 593635 w 1485658"/>
              <a:gd name="connsiteY135" fmla="*/ 385155 h 1479935"/>
              <a:gd name="connsiteX136" fmla="*/ 624188 w 1485658"/>
              <a:gd name="connsiteY136" fmla="*/ 415592 h 1479935"/>
              <a:gd name="connsiteX137" fmla="*/ 654740 w 1485658"/>
              <a:gd name="connsiteY137" fmla="*/ 385155 h 1479935"/>
              <a:gd name="connsiteX138" fmla="*/ 624188 w 1485658"/>
              <a:gd name="connsiteY138" fmla="*/ 354718 h 1479935"/>
              <a:gd name="connsiteX139" fmla="*/ 593635 w 1485658"/>
              <a:gd name="connsiteY139" fmla="*/ 385155 h 1479935"/>
              <a:gd name="connsiteX140" fmla="*/ 712324 w 1485658"/>
              <a:gd name="connsiteY140" fmla="*/ 385155 h 1479935"/>
              <a:gd name="connsiteX141" fmla="*/ 742877 w 1485658"/>
              <a:gd name="connsiteY141" fmla="*/ 415592 h 1479935"/>
              <a:gd name="connsiteX142" fmla="*/ 773429 w 1485658"/>
              <a:gd name="connsiteY142" fmla="*/ 385155 h 1479935"/>
              <a:gd name="connsiteX143" fmla="*/ 742877 w 1485658"/>
              <a:gd name="connsiteY143" fmla="*/ 354718 h 1479935"/>
              <a:gd name="connsiteX144" fmla="*/ 712324 w 1485658"/>
              <a:gd name="connsiteY144" fmla="*/ 385155 h 1479935"/>
              <a:gd name="connsiteX145" fmla="*/ 831013 w 1485658"/>
              <a:gd name="connsiteY145" fmla="*/ 385155 h 1479935"/>
              <a:gd name="connsiteX146" fmla="*/ 861566 w 1485658"/>
              <a:gd name="connsiteY146" fmla="*/ 415592 h 1479935"/>
              <a:gd name="connsiteX147" fmla="*/ 892118 w 1485658"/>
              <a:gd name="connsiteY147" fmla="*/ 385155 h 1479935"/>
              <a:gd name="connsiteX148" fmla="*/ 861566 w 1485658"/>
              <a:gd name="connsiteY148" fmla="*/ 354718 h 1479935"/>
              <a:gd name="connsiteX149" fmla="*/ 831013 w 1485658"/>
              <a:gd name="connsiteY149" fmla="*/ 385155 h 1479935"/>
              <a:gd name="connsiteX150" fmla="*/ 949702 w 1485658"/>
              <a:gd name="connsiteY150" fmla="*/ 385155 h 1479935"/>
              <a:gd name="connsiteX151" fmla="*/ 980255 w 1485658"/>
              <a:gd name="connsiteY151" fmla="*/ 415592 h 1479935"/>
              <a:gd name="connsiteX152" fmla="*/ 1010807 w 1485658"/>
              <a:gd name="connsiteY152" fmla="*/ 385155 h 1479935"/>
              <a:gd name="connsiteX153" fmla="*/ 980255 w 1485658"/>
              <a:gd name="connsiteY153" fmla="*/ 354718 h 1479935"/>
              <a:gd name="connsiteX154" fmla="*/ 949702 w 1485658"/>
              <a:gd name="connsiteY154" fmla="*/ 385155 h 1479935"/>
              <a:gd name="connsiteX155" fmla="*/ 474851 w 1485658"/>
              <a:gd name="connsiteY155" fmla="*/ 444322 h 1479935"/>
              <a:gd name="connsiteX156" fmla="*/ 505404 w 1485658"/>
              <a:gd name="connsiteY156" fmla="*/ 474759 h 1479935"/>
              <a:gd name="connsiteX157" fmla="*/ 535956 w 1485658"/>
              <a:gd name="connsiteY157" fmla="*/ 444322 h 1479935"/>
              <a:gd name="connsiteX158" fmla="*/ 505404 w 1485658"/>
              <a:gd name="connsiteY158" fmla="*/ 413885 h 1479935"/>
              <a:gd name="connsiteX159" fmla="*/ 474851 w 1485658"/>
              <a:gd name="connsiteY159" fmla="*/ 444322 h 1479935"/>
              <a:gd name="connsiteX160" fmla="*/ 831013 w 1485658"/>
              <a:gd name="connsiteY160" fmla="*/ 444322 h 1479935"/>
              <a:gd name="connsiteX161" fmla="*/ 861566 w 1485658"/>
              <a:gd name="connsiteY161" fmla="*/ 474759 h 1479935"/>
              <a:gd name="connsiteX162" fmla="*/ 892118 w 1485658"/>
              <a:gd name="connsiteY162" fmla="*/ 444322 h 1479935"/>
              <a:gd name="connsiteX163" fmla="*/ 861566 w 1485658"/>
              <a:gd name="connsiteY163" fmla="*/ 413885 h 1479935"/>
              <a:gd name="connsiteX164" fmla="*/ 831013 w 1485658"/>
              <a:gd name="connsiteY164" fmla="*/ 444322 h 1479935"/>
              <a:gd name="connsiteX165" fmla="*/ 890310 w 1485658"/>
              <a:gd name="connsiteY165" fmla="*/ 444322 h 1479935"/>
              <a:gd name="connsiteX166" fmla="*/ 920863 w 1485658"/>
              <a:gd name="connsiteY166" fmla="*/ 474759 h 1479935"/>
              <a:gd name="connsiteX167" fmla="*/ 951415 w 1485658"/>
              <a:gd name="connsiteY167" fmla="*/ 444322 h 1479935"/>
              <a:gd name="connsiteX168" fmla="*/ 920863 w 1485658"/>
              <a:gd name="connsiteY168" fmla="*/ 413885 h 1479935"/>
              <a:gd name="connsiteX169" fmla="*/ 890310 w 1485658"/>
              <a:gd name="connsiteY169" fmla="*/ 444322 h 1479935"/>
              <a:gd name="connsiteX170" fmla="*/ 95 w 1485658"/>
              <a:gd name="connsiteY170" fmla="*/ 503394 h 1479935"/>
              <a:gd name="connsiteX171" fmla="*/ 30648 w 1485658"/>
              <a:gd name="connsiteY171" fmla="*/ 533831 h 1479935"/>
              <a:gd name="connsiteX172" fmla="*/ 61200 w 1485658"/>
              <a:gd name="connsiteY172" fmla="*/ 503394 h 1479935"/>
              <a:gd name="connsiteX173" fmla="*/ 30648 w 1485658"/>
              <a:gd name="connsiteY173" fmla="*/ 472957 h 1479935"/>
              <a:gd name="connsiteX174" fmla="*/ 95 w 1485658"/>
              <a:gd name="connsiteY174" fmla="*/ 503394 h 1479935"/>
              <a:gd name="connsiteX175" fmla="*/ 118784 w 1485658"/>
              <a:gd name="connsiteY175" fmla="*/ 503394 h 1479935"/>
              <a:gd name="connsiteX176" fmla="*/ 149337 w 1485658"/>
              <a:gd name="connsiteY176" fmla="*/ 533831 h 1479935"/>
              <a:gd name="connsiteX177" fmla="*/ 179889 w 1485658"/>
              <a:gd name="connsiteY177" fmla="*/ 503394 h 1479935"/>
              <a:gd name="connsiteX178" fmla="*/ 149337 w 1485658"/>
              <a:gd name="connsiteY178" fmla="*/ 472957 h 1479935"/>
              <a:gd name="connsiteX179" fmla="*/ 118784 w 1485658"/>
              <a:gd name="connsiteY179" fmla="*/ 503394 h 1479935"/>
              <a:gd name="connsiteX180" fmla="*/ 178081 w 1485658"/>
              <a:gd name="connsiteY180" fmla="*/ 503394 h 1479935"/>
              <a:gd name="connsiteX181" fmla="*/ 208634 w 1485658"/>
              <a:gd name="connsiteY181" fmla="*/ 533831 h 1479935"/>
              <a:gd name="connsiteX182" fmla="*/ 239186 w 1485658"/>
              <a:gd name="connsiteY182" fmla="*/ 503394 h 1479935"/>
              <a:gd name="connsiteX183" fmla="*/ 208634 w 1485658"/>
              <a:gd name="connsiteY183" fmla="*/ 472957 h 1479935"/>
              <a:gd name="connsiteX184" fmla="*/ 178081 w 1485658"/>
              <a:gd name="connsiteY184" fmla="*/ 503394 h 1479935"/>
              <a:gd name="connsiteX185" fmla="*/ 237473 w 1485658"/>
              <a:gd name="connsiteY185" fmla="*/ 503394 h 1479935"/>
              <a:gd name="connsiteX186" fmla="*/ 268026 w 1485658"/>
              <a:gd name="connsiteY186" fmla="*/ 533831 h 1479935"/>
              <a:gd name="connsiteX187" fmla="*/ 298578 w 1485658"/>
              <a:gd name="connsiteY187" fmla="*/ 503394 h 1479935"/>
              <a:gd name="connsiteX188" fmla="*/ 268026 w 1485658"/>
              <a:gd name="connsiteY188" fmla="*/ 472957 h 1479935"/>
              <a:gd name="connsiteX189" fmla="*/ 237473 w 1485658"/>
              <a:gd name="connsiteY189" fmla="*/ 503394 h 1479935"/>
              <a:gd name="connsiteX190" fmla="*/ 296865 w 1485658"/>
              <a:gd name="connsiteY190" fmla="*/ 503394 h 1479935"/>
              <a:gd name="connsiteX191" fmla="*/ 327418 w 1485658"/>
              <a:gd name="connsiteY191" fmla="*/ 533831 h 1479935"/>
              <a:gd name="connsiteX192" fmla="*/ 357970 w 1485658"/>
              <a:gd name="connsiteY192" fmla="*/ 503394 h 1479935"/>
              <a:gd name="connsiteX193" fmla="*/ 327418 w 1485658"/>
              <a:gd name="connsiteY193" fmla="*/ 472957 h 1479935"/>
              <a:gd name="connsiteX194" fmla="*/ 296865 w 1485658"/>
              <a:gd name="connsiteY194" fmla="*/ 503394 h 1479935"/>
              <a:gd name="connsiteX195" fmla="*/ 356162 w 1485658"/>
              <a:gd name="connsiteY195" fmla="*/ 503394 h 1479935"/>
              <a:gd name="connsiteX196" fmla="*/ 386715 w 1485658"/>
              <a:gd name="connsiteY196" fmla="*/ 533831 h 1479935"/>
              <a:gd name="connsiteX197" fmla="*/ 417267 w 1485658"/>
              <a:gd name="connsiteY197" fmla="*/ 503394 h 1479935"/>
              <a:gd name="connsiteX198" fmla="*/ 386715 w 1485658"/>
              <a:gd name="connsiteY198" fmla="*/ 472957 h 1479935"/>
              <a:gd name="connsiteX199" fmla="*/ 356162 w 1485658"/>
              <a:gd name="connsiteY199" fmla="*/ 503394 h 1479935"/>
              <a:gd name="connsiteX200" fmla="*/ 534243 w 1485658"/>
              <a:gd name="connsiteY200" fmla="*/ 503394 h 1479935"/>
              <a:gd name="connsiteX201" fmla="*/ 564796 w 1485658"/>
              <a:gd name="connsiteY201" fmla="*/ 533831 h 1479935"/>
              <a:gd name="connsiteX202" fmla="*/ 595348 w 1485658"/>
              <a:gd name="connsiteY202" fmla="*/ 503394 h 1479935"/>
              <a:gd name="connsiteX203" fmla="*/ 564796 w 1485658"/>
              <a:gd name="connsiteY203" fmla="*/ 472957 h 1479935"/>
              <a:gd name="connsiteX204" fmla="*/ 534243 w 1485658"/>
              <a:gd name="connsiteY204" fmla="*/ 503394 h 1479935"/>
              <a:gd name="connsiteX205" fmla="*/ 712324 w 1485658"/>
              <a:gd name="connsiteY205" fmla="*/ 503394 h 1479935"/>
              <a:gd name="connsiteX206" fmla="*/ 742877 w 1485658"/>
              <a:gd name="connsiteY206" fmla="*/ 533831 h 1479935"/>
              <a:gd name="connsiteX207" fmla="*/ 773429 w 1485658"/>
              <a:gd name="connsiteY207" fmla="*/ 503394 h 1479935"/>
              <a:gd name="connsiteX208" fmla="*/ 742877 w 1485658"/>
              <a:gd name="connsiteY208" fmla="*/ 472957 h 1479935"/>
              <a:gd name="connsiteX209" fmla="*/ 712324 w 1485658"/>
              <a:gd name="connsiteY209" fmla="*/ 503394 h 1479935"/>
              <a:gd name="connsiteX210" fmla="*/ 771621 w 1485658"/>
              <a:gd name="connsiteY210" fmla="*/ 503394 h 1479935"/>
              <a:gd name="connsiteX211" fmla="*/ 802174 w 1485658"/>
              <a:gd name="connsiteY211" fmla="*/ 533831 h 1479935"/>
              <a:gd name="connsiteX212" fmla="*/ 832726 w 1485658"/>
              <a:gd name="connsiteY212" fmla="*/ 503394 h 1479935"/>
              <a:gd name="connsiteX213" fmla="*/ 802174 w 1485658"/>
              <a:gd name="connsiteY213" fmla="*/ 472957 h 1479935"/>
              <a:gd name="connsiteX214" fmla="*/ 771621 w 1485658"/>
              <a:gd name="connsiteY214" fmla="*/ 503394 h 1479935"/>
              <a:gd name="connsiteX215" fmla="*/ 949702 w 1485658"/>
              <a:gd name="connsiteY215" fmla="*/ 503394 h 1479935"/>
              <a:gd name="connsiteX216" fmla="*/ 980255 w 1485658"/>
              <a:gd name="connsiteY216" fmla="*/ 533831 h 1479935"/>
              <a:gd name="connsiteX217" fmla="*/ 1010807 w 1485658"/>
              <a:gd name="connsiteY217" fmla="*/ 503394 h 1479935"/>
              <a:gd name="connsiteX218" fmla="*/ 980255 w 1485658"/>
              <a:gd name="connsiteY218" fmla="*/ 472957 h 1479935"/>
              <a:gd name="connsiteX219" fmla="*/ 949702 w 1485658"/>
              <a:gd name="connsiteY219" fmla="*/ 503394 h 1479935"/>
              <a:gd name="connsiteX220" fmla="*/ 1068391 w 1485658"/>
              <a:gd name="connsiteY220" fmla="*/ 503394 h 1479935"/>
              <a:gd name="connsiteX221" fmla="*/ 1098944 w 1485658"/>
              <a:gd name="connsiteY221" fmla="*/ 533831 h 1479935"/>
              <a:gd name="connsiteX222" fmla="*/ 1129496 w 1485658"/>
              <a:gd name="connsiteY222" fmla="*/ 503394 h 1479935"/>
              <a:gd name="connsiteX223" fmla="*/ 1098944 w 1485658"/>
              <a:gd name="connsiteY223" fmla="*/ 472957 h 1479935"/>
              <a:gd name="connsiteX224" fmla="*/ 1068391 w 1485658"/>
              <a:gd name="connsiteY224" fmla="*/ 503394 h 1479935"/>
              <a:gd name="connsiteX225" fmla="*/ 1127783 w 1485658"/>
              <a:gd name="connsiteY225" fmla="*/ 503394 h 1479935"/>
              <a:gd name="connsiteX226" fmla="*/ 1158336 w 1485658"/>
              <a:gd name="connsiteY226" fmla="*/ 533831 h 1479935"/>
              <a:gd name="connsiteX227" fmla="*/ 1188888 w 1485658"/>
              <a:gd name="connsiteY227" fmla="*/ 503394 h 1479935"/>
              <a:gd name="connsiteX228" fmla="*/ 1158336 w 1485658"/>
              <a:gd name="connsiteY228" fmla="*/ 472957 h 1479935"/>
              <a:gd name="connsiteX229" fmla="*/ 1127783 w 1485658"/>
              <a:gd name="connsiteY229" fmla="*/ 503394 h 1479935"/>
              <a:gd name="connsiteX230" fmla="*/ 1187080 w 1485658"/>
              <a:gd name="connsiteY230" fmla="*/ 503394 h 1479935"/>
              <a:gd name="connsiteX231" fmla="*/ 1217633 w 1485658"/>
              <a:gd name="connsiteY231" fmla="*/ 533831 h 1479935"/>
              <a:gd name="connsiteX232" fmla="*/ 1248185 w 1485658"/>
              <a:gd name="connsiteY232" fmla="*/ 503394 h 1479935"/>
              <a:gd name="connsiteX233" fmla="*/ 1217633 w 1485658"/>
              <a:gd name="connsiteY233" fmla="*/ 472957 h 1479935"/>
              <a:gd name="connsiteX234" fmla="*/ 1187080 w 1485658"/>
              <a:gd name="connsiteY234" fmla="*/ 503394 h 1479935"/>
              <a:gd name="connsiteX235" fmla="*/ 1246472 w 1485658"/>
              <a:gd name="connsiteY235" fmla="*/ 503394 h 1479935"/>
              <a:gd name="connsiteX236" fmla="*/ 1277025 w 1485658"/>
              <a:gd name="connsiteY236" fmla="*/ 533831 h 1479935"/>
              <a:gd name="connsiteX237" fmla="*/ 1307577 w 1485658"/>
              <a:gd name="connsiteY237" fmla="*/ 503394 h 1479935"/>
              <a:gd name="connsiteX238" fmla="*/ 1277025 w 1485658"/>
              <a:gd name="connsiteY238" fmla="*/ 472957 h 1479935"/>
              <a:gd name="connsiteX239" fmla="*/ 1246472 w 1485658"/>
              <a:gd name="connsiteY239" fmla="*/ 503394 h 1479935"/>
              <a:gd name="connsiteX240" fmla="*/ 1305769 w 1485658"/>
              <a:gd name="connsiteY240" fmla="*/ 503394 h 1479935"/>
              <a:gd name="connsiteX241" fmla="*/ 1336322 w 1485658"/>
              <a:gd name="connsiteY241" fmla="*/ 533831 h 1479935"/>
              <a:gd name="connsiteX242" fmla="*/ 1366874 w 1485658"/>
              <a:gd name="connsiteY242" fmla="*/ 503394 h 1479935"/>
              <a:gd name="connsiteX243" fmla="*/ 1336322 w 1485658"/>
              <a:gd name="connsiteY243" fmla="*/ 472957 h 1479935"/>
              <a:gd name="connsiteX244" fmla="*/ 1305769 w 1485658"/>
              <a:gd name="connsiteY244" fmla="*/ 503394 h 1479935"/>
              <a:gd name="connsiteX245" fmla="*/ 95 w 1485658"/>
              <a:gd name="connsiteY245" fmla="*/ 562561 h 1479935"/>
              <a:gd name="connsiteX246" fmla="*/ 30648 w 1485658"/>
              <a:gd name="connsiteY246" fmla="*/ 592998 h 1479935"/>
              <a:gd name="connsiteX247" fmla="*/ 61200 w 1485658"/>
              <a:gd name="connsiteY247" fmla="*/ 562561 h 1479935"/>
              <a:gd name="connsiteX248" fmla="*/ 30648 w 1485658"/>
              <a:gd name="connsiteY248" fmla="*/ 532124 h 1479935"/>
              <a:gd name="connsiteX249" fmla="*/ 95 w 1485658"/>
              <a:gd name="connsiteY249" fmla="*/ 562561 h 1479935"/>
              <a:gd name="connsiteX250" fmla="*/ 118784 w 1485658"/>
              <a:gd name="connsiteY250" fmla="*/ 562561 h 1479935"/>
              <a:gd name="connsiteX251" fmla="*/ 149337 w 1485658"/>
              <a:gd name="connsiteY251" fmla="*/ 592998 h 1479935"/>
              <a:gd name="connsiteX252" fmla="*/ 179889 w 1485658"/>
              <a:gd name="connsiteY252" fmla="*/ 562561 h 1479935"/>
              <a:gd name="connsiteX253" fmla="*/ 149337 w 1485658"/>
              <a:gd name="connsiteY253" fmla="*/ 532124 h 1479935"/>
              <a:gd name="connsiteX254" fmla="*/ 118784 w 1485658"/>
              <a:gd name="connsiteY254" fmla="*/ 562561 h 1479935"/>
              <a:gd name="connsiteX255" fmla="*/ 237473 w 1485658"/>
              <a:gd name="connsiteY255" fmla="*/ 562561 h 1479935"/>
              <a:gd name="connsiteX256" fmla="*/ 268026 w 1485658"/>
              <a:gd name="connsiteY256" fmla="*/ 592998 h 1479935"/>
              <a:gd name="connsiteX257" fmla="*/ 298578 w 1485658"/>
              <a:gd name="connsiteY257" fmla="*/ 562561 h 1479935"/>
              <a:gd name="connsiteX258" fmla="*/ 268026 w 1485658"/>
              <a:gd name="connsiteY258" fmla="*/ 532124 h 1479935"/>
              <a:gd name="connsiteX259" fmla="*/ 237473 w 1485658"/>
              <a:gd name="connsiteY259" fmla="*/ 562561 h 1479935"/>
              <a:gd name="connsiteX260" fmla="*/ 534243 w 1485658"/>
              <a:gd name="connsiteY260" fmla="*/ 562561 h 1479935"/>
              <a:gd name="connsiteX261" fmla="*/ 564796 w 1485658"/>
              <a:gd name="connsiteY261" fmla="*/ 592998 h 1479935"/>
              <a:gd name="connsiteX262" fmla="*/ 595348 w 1485658"/>
              <a:gd name="connsiteY262" fmla="*/ 562561 h 1479935"/>
              <a:gd name="connsiteX263" fmla="*/ 564796 w 1485658"/>
              <a:gd name="connsiteY263" fmla="*/ 532124 h 1479935"/>
              <a:gd name="connsiteX264" fmla="*/ 534243 w 1485658"/>
              <a:gd name="connsiteY264" fmla="*/ 562561 h 1479935"/>
              <a:gd name="connsiteX265" fmla="*/ 712324 w 1485658"/>
              <a:gd name="connsiteY265" fmla="*/ 562561 h 1479935"/>
              <a:gd name="connsiteX266" fmla="*/ 742877 w 1485658"/>
              <a:gd name="connsiteY266" fmla="*/ 592998 h 1479935"/>
              <a:gd name="connsiteX267" fmla="*/ 773429 w 1485658"/>
              <a:gd name="connsiteY267" fmla="*/ 562561 h 1479935"/>
              <a:gd name="connsiteX268" fmla="*/ 742877 w 1485658"/>
              <a:gd name="connsiteY268" fmla="*/ 532124 h 1479935"/>
              <a:gd name="connsiteX269" fmla="*/ 712324 w 1485658"/>
              <a:gd name="connsiteY269" fmla="*/ 562561 h 1479935"/>
              <a:gd name="connsiteX270" fmla="*/ 771621 w 1485658"/>
              <a:gd name="connsiteY270" fmla="*/ 562561 h 1479935"/>
              <a:gd name="connsiteX271" fmla="*/ 802174 w 1485658"/>
              <a:gd name="connsiteY271" fmla="*/ 592998 h 1479935"/>
              <a:gd name="connsiteX272" fmla="*/ 832726 w 1485658"/>
              <a:gd name="connsiteY272" fmla="*/ 562561 h 1479935"/>
              <a:gd name="connsiteX273" fmla="*/ 802174 w 1485658"/>
              <a:gd name="connsiteY273" fmla="*/ 532124 h 1479935"/>
              <a:gd name="connsiteX274" fmla="*/ 771621 w 1485658"/>
              <a:gd name="connsiteY274" fmla="*/ 562561 h 1479935"/>
              <a:gd name="connsiteX275" fmla="*/ 949702 w 1485658"/>
              <a:gd name="connsiteY275" fmla="*/ 562561 h 1479935"/>
              <a:gd name="connsiteX276" fmla="*/ 980255 w 1485658"/>
              <a:gd name="connsiteY276" fmla="*/ 592998 h 1479935"/>
              <a:gd name="connsiteX277" fmla="*/ 1010807 w 1485658"/>
              <a:gd name="connsiteY277" fmla="*/ 562561 h 1479935"/>
              <a:gd name="connsiteX278" fmla="*/ 980255 w 1485658"/>
              <a:gd name="connsiteY278" fmla="*/ 532124 h 1479935"/>
              <a:gd name="connsiteX279" fmla="*/ 949702 w 1485658"/>
              <a:gd name="connsiteY279" fmla="*/ 562561 h 1479935"/>
              <a:gd name="connsiteX280" fmla="*/ 1009094 w 1485658"/>
              <a:gd name="connsiteY280" fmla="*/ 562561 h 1479935"/>
              <a:gd name="connsiteX281" fmla="*/ 1039647 w 1485658"/>
              <a:gd name="connsiteY281" fmla="*/ 592998 h 1479935"/>
              <a:gd name="connsiteX282" fmla="*/ 1070199 w 1485658"/>
              <a:gd name="connsiteY282" fmla="*/ 562561 h 1479935"/>
              <a:gd name="connsiteX283" fmla="*/ 1039647 w 1485658"/>
              <a:gd name="connsiteY283" fmla="*/ 532124 h 1479935"/>
              <a:gd name="connsiteX284" fmla="*/ 1009094 w 1485658"/>
              <a:gd name="connsiteY284" fmla="*/ 562561 h 1479935"/>
              <a:gd name="connsiteX285" fmla="*/ 1127783 w 1485658"/>
              <a:gd name="connsiteY285" fmla="*/ 562561 h 1479935"/>
              <a:gd name="connsiteX286" fmla="*/ 1158336 w 1485658"/>
              <a:gd name="connsiteY286" fmla="*/ 592998 h 1479935"/>
              <a:gd name="connsiteX287" fmla="*/ 1188888 w 1485658"/>
              <a:gd name="connsiteY287" fmla="*/ 562561 h 1479935"/>
              <a:gd name="connsiteX288" fmla="*/ 1158336 w 1485658"/>
              <a:gd name="connsiteY288" fmla="*/ 532124 h 1479935"/>
              <a:gd name="connsiteX289" fmla="*/ 1127783 w 1485658"/>
              <a:gd name="connsiteY289" fmla="*/ 562561 h 1479935"/>
              <a:gd name="connsiteX290" fmla="*/ 1365161 w 1485658"/>
              <a:gd name="connsiteY290" fmla="*/ 562561 h 1479935"/>
              <a:gd name="connsiteX291" fmla="*/ 1395714 w 1485658"/>
              <a:gd name="connsiteY291" fmla="*/ 592998 h 1479935"/>
              <a:gd name="connsiteX292" fmla="*/ 1426266 w 1485658"/>
              <a:gd name="connsiteY292" fmla="*/ 562561 h 1479935"/>
              <a:gd name="connsiteX293" fmla="*/ 1395714 w 1485658"/>
              <a:gd name="connsiteY293" fmla="*/ 532124 h 1479935"/>
              <a:gd name="connsiteX294" fmla="*/ 1365161 w 1485658"/>
              <a:gd name="connsiteY294" fmla="*/ 562561 h 1479935"/>
              <a:gd name="connsiteX295" fmla="*/ 95 w 1485658"/>
              <a:gd name="connsiteY295" fmla="*/ 621728 h 1479935"/>
              <a:gd name="connsiteX296" fmla="*/ 30648 w 1485658"/>
              <a:gd name="connsiteY296" fmla="*/ 652165 h 1479935"/>
              <a:gd name="connsiteX297" fmla="*/ 61200 w 1485658"/>
              <a:gd name="connsiteY297" fmla="*/ 621728 h 1479935"/>
              <a:gd name="connsiteX298" fmla="*/ 30648 w 1485658"/>
              <a:gd name="connsiteY298" fmla="*/ 591291 h 1479935"/>
              <a:gd name="connsiteX299" fmla="*/ 95 w 1485658"/>
              <a:gd name="connsiteY299" fmla="*/ 621728 h 1479935"/>
              <a:gd name="connsiteX300" fmla="*/ 118784 w 1485658"/>
              <a:gd name="connsiteY300" fmla="*/ 621728 h 1479935"/>
              <a:gd name="connsiteX301" fmla="*/ 149337 w 1485658"/>
              <a:gd name="connsiteY301" fmla="*/ 652165 h 1479935"/>
              <a:gd name="connsiteX302" fmla="*/ 179889 w 1485658"/>
              <a:gd name="connsiteY302" fmla="*/ 621728 h 1479935"/>
              <a:gd name="connsiteX303" fmla="*/ 149337 w 1485658"/>
              <a:gd name="connsiteY303" fmla="*/ 591291 h 1479935"/>
              <a:gd name="connsiteX304" fmla="*/ 118784 w 1485658"/>
              <a:gd name="connsiteY304" fmla="*/ 621728 h 1479935"/>
              <a:gd name="connsiteX305" fmla="*/ 237473 w 1485658"/>
              <a:gd name="connsiteY305" fmla="*/ 621728 h 1479935"/>
              <a:gd name="connsiteX306" fmla="*/ 268026 w 1485658"/>
              <a:gd name="connsiteY306" fmla="*/ 652165 h 1479935"/>
              <a:gd name="connsiteX307" fmla="*/ 298578 w 1485658"/>
              <a:gd name="connsiteY307" fmla="*/ 621728 h 1479935"/>
              <a:gd name="connsiteX308" fmla="*/ 268026 w 1485658"/>
              <a:gd name="connsiteY308" fmla="*/ 591291 h 1479935"/>
              <a:gd name="connsiteX309" fmla="*/ 237473 w 1485658"/>
              <a:gd name="connsiteY309" fmla="*/ 621728 h 1479935"/>
              <a:gd name="connsiteX310" fmla="*/ 296865 w 1485658"/>
              <a:gd name="connsiteY310" fmla="*/ 621728 h 1479935"/>
              <a:gd name="connsiteX311" fmla="*/ 327418 w 1485658"/>
              <a:gd name="connsiteY311" fmla="*/ 652165 h 1479935"/>
              <a:gd name="connsiteX312" fmla="*/ 357970 w 1485658"/>
              <a:gd name="connsiteY312" fmla="*/ 621728 h 1479935"/>
              <a:gd name="connsiteX313" fmla="*/ 327418 w 1485658"/>
              <a:gd name="connsiteY313" fmla="*/ 591291 h 1479935"/>
              <a:gd name="connsiteX314" fmla="*/ 296865 w 1485658"/>
              <a:gd name="connsiteY314" fmla="*/ 621728 h 1479935"/>
              <a:gd name="connsiteX315" fmla="*/ 356162 w 1485658"/>
              <a:gd name="connsiteY315" fmla="*/ 621728 h 1479935"/>
              <a:gd name="connsiteX316" fmla="*/ 386715 w 1485658"/>
              <a:gd name="connsiteY316" fmla="*/ 652165 h 1479935"/>
              <a:gd name="connsiteX317" fmla="*/ 417267 w 1485658"/>
              <a:gd name="connsiteY317" fmla="*/ 621728 h 1479935"/>
              <a:gd name="connsiteX318" fmla="*/ 386715 w 1485658"/>
              <a:gd name="connsiteY318" fmla="*/ 591291 h 1479935"/>
              <a:gd name="connsiteX319" fmla="*/ 356162 w 1485658"/>
              <a:gd name="connsiteY319" fmla="*/ 621728 h 1479935"/>
              <a:gd name="connsiteX320" fmla="*/ 474851 w 1485658"/>
              <a:gd name="connsiteY320" fmla="*/ 621728 h 1479935"/>
              <a:gd name="connsiteX321" fmla="*/ 505404 w 1485658"/>
              <a:gd name="connsiteY321" fmla="*/ 652165 h 1479935"/>
              <a:gd name="connsiteX322" fmla="*/ 535956 w 1485658"/>
              <a:gd name="connsiteY322" fmla="*/ 621728 h 1479935"/>
              <a:gd name="connsiteX323" fmla="*/ 505404 w 1485658"/>
              <a:gd name="connsiteY323" fmla="*/ 591291 h 1479935"/>
              <a:gd name="connsiteX324" fmla="*/ 474851 w 1485658"/>
              <a:gd name="connsiteY324" fmla="*/ 621728 h 1479935"/>
              <a:gd name="connsiteX325" fmla="*/ 593635 w 1485658"/>
              <a:gd name="connsiteY325" fmla="*/ 621728 h 1479935"/>
              <a:gd name="connsiteX326" fmla="*/ 624188 w 1485658"/>
              <a:gd name="connsiteY326" fmla="*/ 652165 h 1479935"/>
              <a:gd name="connsiteX327" fmla="*/ 654740 w 1485658"/>
              <a:gd name="connsiteY327" fmla="*/ 621728 h 1479935"/>
              <a:gd name="connsiteX328" fmla="*/ 624188 w 1485658"/>
              <a:gd name="connsiteY328" fmla="*/ 591291 h 1479935"/>
              <a:gd name="connsiteX329" fmla="*/ 593635 w 1485658"/>
              <a:gd name="connsiteY329" fmla="*/ 621728 h 1479935"/>
              <a:gd name="connsiteX330" fmla="*/ 652932 w 1485658"/>
              <a:gd name="connsiteY330" fmla="*/ 621728 h 1479935"/>
              <a:gd name="connsiteX331" fmla="*/ 683485 w 1485658"/>
              <a:gd name="connsiteY331" fmla="*/ 652165 h 1479935"/>
              <a:gd name="connsiteX332" fmla="*/ 714037 w 1485658"/>
              <a:gd name="connsiteY332" fmla="*/ 621728 h 1479935"/>
              <a:gd name="connsiteX333" fmla="*/ 683485 w 1485658"/>
              <a:gd name="connsiteY333" fmla="*/ 591291 h 1479935"/>
              <a:gd name="connsiteX334" fmla="*/ 652932 w 1485658"/>
              <a:gd name="connsiteY334" fmla="*/ 621728 h 1479935"/>
              <a:gd name="connsiteX335" fmla="*/ 712324 w 1485658"/>
              <a:gd name="connsiteY335" fmla="*/ 621728 h 1479935"/>
              <a:gd name="connsiteX336" fmla="*/ 742877 w 1485658"/>
              <a:gd name="connsiteY336" fmla="*/ 652165 h 1479935"/>
              <a:gd name="connsiteX337" fmla="*/ 773429 w 1485658"/>
              <a:gd name="connsiteY337" fmla="*/ 621728 h 1479935"/>
              <a:gd name="connsiteX338" fmla="*/ 742877 w 1485658"/>
              <a:gd name="connsiteY338" fmla="*/ 591291 h 1479935"/>
              <a:gd name="connsiteX339" fmla="*/ 712324 w 1485658"/>
              <a:gd name="connsiteY339" fmla="*/ 621728 h 1479935"/>
              <a:gd name="connsiteX340" fmla="*/ 771621 w 1485658"/>
              <a:gd name="connsiteY340" fmla="*/ 621728 h 1479935"/>
              <a:gd name="connsiteX341" fmla="*/ 802174 w 1485658"/>
              <a:gd name="connsiteY341" fmla="*/ 652165 h 1479935"/>
              <a:gd name="connsiteX342" fmla="*/ 832726 w 1485658"/>
              <a:gd name="connsiteY342" fmla="*/ 621728 h 1479935"/>
              <a:gd name="connsiteX343" fmla="*/ 802174 w 1485658"/>
              <a:gd name="connsiteY343" fmla="*/ 591291 h 1479935"/>
              <a:gd name="connsiteX344" fmla="*/ 771621 w 1485658"/>
              <a:gd name="connsiteY344" fmla="*/ 621728 h 1479935"/>
              <a:gd name="connsiteX345" fmla="*/ 831013 w 1485658"/>
              <a:gd name="connsiteY345" fmla="*/ 621728 h 1479935"/>
              <a:gd name="connsiteX346" fmla="*/ 861566 w 1485658"/>
              <a:gd name="connsiteY346" fmla="*/ 652165 h 1479935"/>
              <a:gd name="connsiteX347" fmla="*/ 892118 w 1485658"/>
              <a:gd name="connsiteY347" fmla="*/ 621728 h 1479935"/>
              <a:gd name="connsiteX348" fmla="*/ 861566 w 1485658"/>
              <a:gd name="connsiteY348" fmla="*/ 591291 h 1479935"/>
              <a:gd name="connsiteX349" fmla="*/ 831013 w 1485658"/>
              <a:gd name="connsiteY349" fmla="*/ 621728 h 1479935"/>
              <a:gd name="connsiteX350" fmla="*/ 890310 w 1485658"/>
              <a:gd name="connsiteY350" fmla="*/ 621728 h 1479935"/>
              <a:gd name="connsiteX351" fmla="*/ 920863 w 1485658"/>
              <a:gd name="connsiteY351" fmla="*/ 652165 h 1479935"/>
              <a:gd name="connsiteX352" fmla="*/ 951415 w 1485658"/>
              <a:gd name="connsiteY352" fmla="*/ 621728 h 1479935"/>
              <a:gd name="connsiteX353" fmla="*/ 920863 w 1485658"/>
              <a:gd name="connsiteY353" fmla="*/ 591291 h 1479935"/>
              <a:gd name="connsiteX354" fmla="*/ 890310 w 1485658"/>
              <a:gd name="connsiteY354" fmla="*/ 621728 h 1479935"/>
              <a:gd name="connsiteX355" fmla="*/ 949702 w 1485658"/>
              <a:gd name="connsiteY355" fmla="*/ 621728 h 1479935"/>
              <a:gd name="connsiteX356" fmla="*/ 980255 w 1485658"/>
              <a:gd name="connsiteY356" fmla="*/ 652165 h 1479935"/>
              <a:gd name="connsiteX357" fmla="*/ 1010807 w 1485658"/>
              <a:gd name="connsiteY357" fmla="*/ 621728 h 1479935"/>
              <a:gd name="connsiteX358" fmla="*/ 980255 w 1485658"/>
              <a:gd name="connsiteY358" fmla="*/ 591291 h 1479935"/>
              <a:gd name="connsiteX359" fmla="*/ 949702 w 1485658"/>
              <a:gd name="connsiteY359" fmla="*/ 621728 h 1479935"/>
              <a:gd name="connsiteX360" fmla="*/ 1009094 w 1485658"/>
              <a:gd name="connsiteY360" fmla="*/ 621728 h 1479935"/>
              <a:gd name="connsiteX361" fmla="*/ 1039647 w 1485658"/>
              <a:gd name="connsiteY361" fmla="*/ 652165 h 1479935"/>
              <a:gd name="connsiteX362" fmla="*/ 1070199 w 1485658"/>
              <a:gd name="connsiteY362" fmla="*/ 621728 h 1479935"/>
              <a:gd name="connsiteX363" fmla="*/ 1039647 w 1485658"/>
              <a:gd name="connsiteY363" fmla="*/ 591291 h 1479935"/>
              <a:gd name="connsiteX364" fmla="*/ 1009094 w 1485658"/>
              <a:gd name="connsiteY364" fmla="*/ 621728 h 1479935"/>
              <a:gd name="connsiteX365" fmla="*/ 1068391 w 1485658"/>
              <a:gd name="connsiteY365" fmla="*/ 621728 h 1479935"/>
              <a:gd name="connsiteX366" fmla="*/ 1098944 w 1485658"/>
              <a:gd name="connsiteY366" fmla="*/ 652165 h 1479935"/>
              <a:gd name="connsiteX367" fmla="*/ 1129496 w 1485658"/>
              <a:gd name="connsiteY367" fmla="*/ 621728 h 1479935"/>
              <a:gd name="connsiteX368" fmla="*/ 1098944 w 1485658"/>
              <a:gd name="connsiteY368" fmla="*/ 591291 h 1479935"/>
              <a:gd name="connsiteX369" fmla="*/ 1068391 w 1485658"/>
              <a:gd name="connsiteY369" fmla="*/ 621728 h 1479935"/>
              <a:gd name="connsiteX370" fmla="*/ 1127783 w 1485658"/>
              <a:gd name="connsiteY370" fmla="*/ 621728 h 1479935"/>
              <a:gd name="connsiteX371" fmla="*/ 1158336 w 1485658"/>
              <a:gd name="connsiteY371" fmla="*/ 652165 h 1479935"/>
              <a:gd name="connsiteX372" fmla="*/ 1188888 w 1485658"/>
              <a:gd name="connsiteY372" fmla="*/ 621728 h 1479935"/>
              <a:gd name="connsiteX373" fmla="*/ 1158336 w 1485658"/>
              <a:gd name="connsiteY373" fmla="*/ 591291 h 1479935"/>
              <a:gd name="connsiteX374" fmla="*/ 1127783 w 1485658"/>
              <a:gd name="connsiteY374" fmla="*/ 621728 h 1479935"/>
              <a:gd name="connsiteX375" fmla="*/ 1187080 w 1485658"/>
              <a:gd name="connsiteY375" fmla="*/ 621728 h 1479935"/>
              <a:gd name="connsiteX376" fmla="*/ 1217633 w 1485658"/>
              <a:gd name="connsiteY376" fmla="*/ 652165 h 1479935"/>
              <a:gd name="connsiteX377" fmla="*/ 1248185 w 1485658"/>
              <a:gd name="connsiteY377" fmla="*/ 621728 h 1479935"/>
              <a:gd name="connsiteX378" fmla="*/ 1217633 w 1485658"/>
              <a:gd name="connsiteY378" fmla="*/ 591291 h 1479935"/>
              <a:gd name="connsiteX379" fmla="*/ 1187080 w 1485658"/>
              <a:gd name="connsiteY379" fmla="*/ 621728 h 1479935"/>
              <a:gd name="connsiteX380" fmla="*/ 1246472 w 1485658"/>
              <a:gd name="connsiteY380" fmla="*/ 621728 h 1479935"/>
              <a:gd name="connsiteX381" fmla="*/ 1277025 w 1485658"/>
              <a:gd name="connsiteY381" fmla="*/ 652165 h 1479935"/>
              <a:gd name="connsiteX382" fmla="*/ 1307577 w 1485658"/>
              <a:gd name="connsiteY382" fmla="*/ 621728 h 1479935"/>
              <a:gd name="connsiteX383" fmla="*/ 1277025 w 1485658"/>
              <a:gd name="connsiteY383" fmla="*/ 591291 h 1479935"/>
              <a:gd name="connsiteX384" fmla="*/ 1246472 w 1485658"/>
              <a:gd name="connsiteY384" fmla="*/ 621728 h 1479935"/>
              <a:gd name="connsiteX385" fmla="*/ 1365161 w 1485658"/>
              <a:gd name="connsiteY385" fmla="*/ 621728 h 1479935"/>
              <a:gd name="connsiteX386" fmla="*/ 1395714 w 1485658"/>
              <a:gd name="connsiteY386" fmla="*/ 652165 h 1479935"/>
              <a:gd name="connsiteX387" fmla="*/ 1426266 w 1485658"/>
              <a:gd name="connsiteY387" fmla="*/ 621728 h 1479935"/>
              <a:gd name="connsiteX388" fmla="*/ 1395714 w 1485658"/>
              <a:gd name="connsiteY388" fmla="*/ 591291 h 1479935"/>
              <a:gd name="connsiteX389" fmla="*/ 1365161 w 1485658"/>
              <a:gd name="connsiteY389" fmla="*/ 621728 h 1479935"/>
              <a:gd name="connsiteX390" fmla="*/ 1424553 w 1485658"/>
              <a:gd name="connsiteY390" fmla="*/ 621728 h 1479935"/>
              <a:gd name="connsiteX391" fmla="*/ 1455106 w 1485658"/>
              <a:gd name="connsiteY391" fmla="*/ 652165 h 1479935"/>
              <a:gd name="connsiteX392" fmla="*/ 1485658 w 1485658"/>
              <a:gd name="connsiteY392" fmla="*/ 621728 h 1479935"/>
              <a:gd name="connsiteX393" fmla="*/ 1455106 w 1485658"/>
              <a:gd name="connsiteY393" fmla="*/ 591291 h 1479935"/>
              <a:gd name="connsiteX394" fmla="*/ 1424553 w 1485658"/>
              <a:gd name="connsiteY394" fmla="*/ 621728 h 1479935"/>
              <a:gd name="connsiteX395" fmla="*/ 118784 w 1485658"/>
              <a:gd name="connsiteY395" fmla="*/ 680800 h 1479935"/>
              <a:gd name="connsiteX396" fmla="*/ 149337 w 1485658"/>
              <a:gd name="connsiteY396" fmla="*/ 711237 h 1479935"/>
              <a:gd name="connsiteX397" fmla="*/ 179889 w 1485658"/>
              <a:gd name="connsiteY397" fmla="*/ 680800 h 1479935"/>
              <a:gd name="connsiteX398" fmla="*/ 149337 w 1485658"/>
              <a:gd name="connsiteY398" fmla="*/ 650364 h 1479935"/>
              <a:gd name="connsiteX399" fmla="*/ 118784 w 1485658"/>
              <a:gd name="connsiteY399" fmla="*/ 680800 h 1479935"/>
              <a:gd name="connsiteX400" fmla="*/ 178081 w 1485658"/>
              <a:gd name="connsiteY400" fmla="*/ 680800 h 1479935"/>
              <a:gd name="connsiteX401" fmla="*/ 208634 w 1485658"/>
              <a:gd name="connsiteY401" fmla="*/ 711237 h 1479935"/>
              <a:gd name="connsiteX402" fmla="*/ 239186 w 1485658"/>
              <a:gd name="connsiteY402" fmla="*/ 680800 h 1479935"/>
              <a:gd name="connsiteX403" fmla="*/ 208634 w 1485658"/>
              <a:gd name="connsiteY403" fmla="*/ 650364 h 1479935"/>
              <a:gd name="connsiteX404" fmla="*/ 178081 w 1485658"/>
              <a:gd name="connsiteY404" fmla="*/ 680800 h 1479935"/>
              <a:gd name="connsiteX405" fmla="*/ 237473 w 1485658"/>
              <a:gd name="connsiteY405" fmla="*/ 680800 h 1479935"/>
              <a:gd name="connsiteX406" fmla="*/ 268026 w 1485658"/>
              <a:gd name="connsiteY406" fmla="*/ 711237 h 1479935"/>
              <a:gd name="connsiteX407" fmla="*/ 298578 w 1485658"/>
              <a:gd name="connsiteY407" fmla="*/ 680800 h 1479935"/>
              <a:gd name="connsiteX408" fmla="*/ 268026 w 1485658"/>
              <a:gd name="connsiteY408" fmla="*/ 650364 h 1479935"/>
              <a:gd name="connsiteX409" fmla="*/ 237473 w 1485658"/>
              <a:gd name="connsiteY409" fmla="*/ 680800 h 1479935"/>
              <a:gd name="connsiteX410" fmla="*/ 296865 w 1485658"/>
              <a:gd name="connsiteY410" fmla="*/ 680800 h 1479935"/>
              <a:gd name="connsiteX411" fmla="*/ 327418 w 1485658"/>
              <a:gd name="connsiteY411" fmla="*/ 711237 h 1479935"/>
              <a:gd name="connsiteX412" fmla="*/ 357970 w 1485658"/>
              <a:gd name="connsiteY412" fmla="*/ 680800 h 1479935"/>
              <a:gd name="connsiteX413" fmla="*/ 327418 w 1485658"/>
              <a:gd name="connsiteY413" fmla="*/ 650364 h 1479935"/>
              <a:gd name="connsiteX414" fmla="*/ 296865 w 1485658"/>
              <a:gd name="connsiteY414" fmla="*/ 680800 h 1479935"/>
              <a:gd name="connsiteX415" fmla="*/ 474851 w 1485658"/>
              <a:gd name="connsiteY415" fmla="*/ 680800 h 1479935"/>
              <a:gd name="connsiteX416" fmla="*/ 505404 w 1485658"/>
              <a:gd name="connsiteY416" fmla="*/ 711237 h 1479935"/>
              <a:gd name="connsiteX417" fmla="*/ 535956 w 1485658"/>
              <a:gd name="connsiteY417" fmla="*/ 680800 h 1479935"/>
              <a:gd name="connsiteX418" fmla="*/ 505404 w 1485658"/>
              <a:gd name="connsiteY418" fmla="*/ 650364 h 1479935"/>
              <a:gd name="connsiteX419" fmla="*/ 474851 w 1485658"/>
              <a:gd name="connsiteY419" fmla="*/ 680800 h 1479935"/>
              <a:gd name="connsiteX420" fmla="*/ 593635 w 1485658"/>
              <a:gd name="connsiteY420" fmla="*/ 680800 h 1479935"/>
              <a:gd name="connsiteX421" fmla="*/ 624188 w 1485658"/>
              <a:gd name="connsiteY421" fmla="*/ 711237 h 1479935"/>
              <a:gd name="connsiteX422" fmla="*/ 654740 w 1485658"/>
              <a:gd name="connsiteY422" fmla="*/ 680800 h 1479935"/>
              <a:gd name="connsiteX423" fmla="*/ 624188 w 1485658"/>
              <a:gd name="connsiteY423" fmla="*/ 650364 h 1479935"/>
              <a:gd name="connsiteX424" fmla="*/ 593635 w 1485658"/>
              <a:gd name="connsiteY424" fmla="*/ 680800 h 1479935"/>
              <a:gd name="connsiteX425" fmla="*/ 652932 w 1485658"/>
              <a:gd name="connsiteY425" fmla="*/ 680800 h 1479935"/>
              <a:gd name="connsiteX426" fmla="*/ 683485 w 1485658"/>
              <a:gd name="connsiteY426" fmla="*/ 711237 h 1479935"/>
              <a:gd name="connsiteX427" fmla="*/ 714037 w 1485658"/>
              <a:gd name="connsiteY427" fmla="*/ 680800 h 1479935"/>
              <a:gd name="connsiteX428" fmla="*/ 683485 w 1485658"/>
              <a:gd name="connsiteY428" fmla="*/ 650364 h 1479935"/>
              <a:gd name="connsiteX429" fmla="*/ 652932 w 1485658"/>
              <a:gd name="connsiteY429" fmla="*/ 680800 h 1479935"/>
              <a:gd name="connsiteX430" fmla="*/ 712324 w 1485658"/>
              <a:gd name="connsiteY430" fmla="*/ 680800 h 1479935"/>
              <a:gd name="connsiteX431" fmla="*/ 742877 w 1485658"/>
              <a:gd name="connsiteY431" fmla="*/ 711237 h 1479935"/>
              <a:gd name="connsiteX432" fmla="*/ 773429 w 1485658"/>
              <a:gd name="connsiteY432" fmla="*/ 680800 h 1479935"/>
              <a:gd name="connsiteX433" fmla="*/ 742877 w 1485658"/>
              <a:gd name="connsiteY433" fmla="*/ 650364 h 1479935"/>
              <a:gd name="connsiteX434" fmla="*/ 712324 w 1485658"/>
              <a:gd name="connsiteY434" fmla="*/ 680800 h 1479935"/>
              <a:gd name="connsiteX435" fmla="*/ 831013 w 1485658"/>
              <a:gd name="connsiteY435" fmla="*/ 680800 h 1479935"/>
              <a:gd name="connsiteX436" fmla="*/ 861566 w 1485658"/>
              <a:gd name="connsiteY436" fmla="*/ 711237 h 1479935"/>
              <a:gd name="connsiteX437" fmla="*/ 892118 w 1485658"/>
              <a:gd name="connsiteY437" fmla="*/ 680800 h 1479935"/>
              <a:gd name="connsiteX438" fmla="*/ 861566 w 1485658"/>
              <a:gd name="connsiteY438" fmla="*/ 650364 h 1479935"/>
              <a:gd name="connsiteX439" fmla="*/ 831013 w 1485658"/>
              <a:gd name="connsiteY439" fmla="*/ 680800 h 1479935"/>
              <a:gd name="connsiteX440" fmla="*/ 949702 w 1485658"/>
              <a:gd name="connsiteY440" fmla="*/ 680800 h 1479935"/>
              <a:gd name="connsiteX441" fmla="*/ 980255 w 1485658"/>
              <a:gd name="connsiteY441" fmla="*/ 711237 h 1479935"/>
              <a:gd name="connsiteX442" fmla="*/ 1010807 w 1485658"/>
              <a:gd name="connsiteY442" fmla="*/ 680800 h 1479935"/>
              <a:gd name="connsiteX443" fmla="*/ 980255 w 1485658"/>
              <a:gd name="connsiteY443" fmla="*/ 650364 h 1479935"/>
              <a:gd name="connsiteX444" fmla="*/ 949702 w 1485658"/>
              <a:gd name="connsiteY444" fmla="*/ 680800 h 1479935"/>
              <a:gd name="connsiteX445" fmla="*/ 1068391 w 1485658"/>
              <a:gd name="connsiteY445" fmla="*/ 680800 h 1479935"/>
              <a:gd name="connsiteX446" fmla="*/ 1098944 w 1485658"/>
              <a:gd name="connsiteY446" fmla="*/ 711237 h 1479935"/>
              <a:gd name="connsiteX447" fmla="*/ 1129496 w 1485658"/>
              <a:gd name="connsiteY447" fmla="*/ 680800 h 1479935"/>
              <a:gd name="connsiteX448" fmla="*/ 1098944 w 1485658"/>
              <a:gd name="connsiteY448" fmla="*/ 650364 h 1479935"/>
              <a:gd name="connsiteX449" fmla="*/ 1068391 w 1485658"/>
              <a:gd name="connsiteY449" fmla="*/ 680800 h 1479935"/>
              <a:gd name="connsiteX450" fmla="*/ 1424553 w 1485658"/>
              <a:gd name="connsiteY450" fmla="*/ 680800 h 1479935"/>
              <a:gd name="connsiteX451" fmla="*/ 1455106 w 1485658"/>
              <a:gd name="connsiteY451" fmla="*/ 711237 h 1479935"/>
              <a:gd name="connsiteX452" fmla="*/ 1485658 w 1485658"/>
              <a:gd name="connsiteY452" fmla="*/ 680800 h 1479935"/>
              <a:gd name="connsiteX453" fmla="*/ 1455106 w 1485658"/>
              <a:gd name="connsiteY453" fmla="*/ 650364 h 1479935"/>
              <a:gd name="connsiteX454" fmla="*/ 1424553 w 1485658"/>
              <a:gd name="connsiteY454" fmla="*/ 680800 h 1479935"/>
              <a:gd name="connsiteX455" fmla="*/ 59392 w 1485658"/>
              <a:gd name="connsiteY455" fmla="*/ 739968 h 1479935"/>
              <a:gd name="connsiteX456" fmla="*/ 89945 w 1485658"/>
              <a:gd name="connsiteY456" fmla="*/ 770404 h 1479935"/>
              <a:gd name="connsiteX457" fmla="*/ 120497 w 1485658"/>
              <a:gd name="connsiteY457" fmla="*/ 739968 h 1479935"/>
              <a:gd name="connsiteX458" fmla="*/ 89945 w 1485658"/>
              <a:gd name="connsiteY458" fmla="*/ 709531 h 1479935"/>
              <a:gd name="connsiteX459" fmla="*/ 59392 w 1485658"/>
              <a:gd name="connsiteY459" fmla="*/ 739968 h 1479935"/>
              <a:gd name="connsiteX460" fmla="*/ 118784 w 1485658"/>
              <a:gd name="connsiteY460" fmla="*/ 739968 h 1479935"/>
              <a:gd name="connsiteX461" fmla="*/ 149337 w 1485658"/>
              <a:gd name="connsiteY461" fmla="*/ 770404 h 1479935"/>
              <a:gd name="connsiteX462" fmla="*/ 179889 w 1485658"/>
              <a:gd name="connsiteY462" fmla="*/ 739968 h 1479935"/>
              <a:gd name="connsiteX463" fmla="*/ 149337 w 1485658"/>
              <a:gd name="connsiteY463" fmla="*/ 709531 h 1479935"/>
              <a:gd name="connsiteX464" fmla="*/ 118784 w 1485658"/>
              <a:gd name="connsiteY464" fmla="*/ 739968 h 1479935"/>
              <a:gd name="connsiteX465" fmla="*/ 237473 w 1485658"/>
              <a:gd name="connsiteY465" fmla="*/ 739968 h 1479935"/>
              <a:gd name="connsiteX466" fmla="*/ 268026 w 1485658"/>
              <a:gd name="connsiteY466" fmla="*/ 770404 h 1479935"/>
              <a:gd name="connsiteX467" fmla="*/ 298578 w 1485658"/>
              <a:gd name="connsiteY467" fmla="*/ 739968 h 1479935"/>
              <a:gd name="connsiteX468" fmla="*/ 268026 w 1485658"/>
              <a:gd name="connsiteY468" fmla="*/ 709531 h 1479935"/>
              <a:gd name="connsiteX469" fmla="*/ 237473 w 1485658"/>
              <a:gd name="connsiteY469" fmla="*/ 739968 h 1479935"/>
              <a:gd name="connsiteX470" fmla="*/ 296865 w 1485658"/>
              <a:gd name="connsiteY470" fmla="*/ 739968 h 1479935"/>
              <a:gd name="connsiteX471" fmla="*/ 327418 w 1485658"/>
              <a:gd name="connsiteY471" fmla="*/ 770404 h 1479935"/>
              <a:gd name="connsiteX472" fmla="*/ 357970 w 1485658"/>
              <a:gd name="connsiteY472" fmla="*/ 739968 h 1479935"/>
              <a:gd name="connsiteX473" fmla="*/ 327418 w 1485658"/>
              <a:gd name="connsiteY473" fmla="*/ 709531 h 1479935"/>
              <a:gd name="connsiteX474" fmla="*/ 296865 w 1485658"/>
              <a:gd name="connsiteY474" fmla="*/ 739968 h 1479935"/>
              <a:gd name="connsiteX475" fmla="*/ 356162 w 1485658"/>
              <a:gd name="connsiteY475" fmla="*/ 739968 h 1479935"/>
              <a:gd name="connsiteX476" fmla="*/ 386715 w 1485658"/>
              <a:gd name="connsiteY476" fmla="*/ 770404 h 1479935"/>
              <a:gd name="connsiteX477" fmla="*/ 417267 w 1485658"/>
              <a:gd name="connsiteY477" fmla="*/ 739968 h 1479935"/>
              <a:gd name="connsiteX478" fmla="*/ 386715 w 1485658"/>
              <a:gd name="connsiteY478" fmla="*/ 709531 h 1479935"/>
              <a:gd name="connsiteX479" fmla="*/ 356162 w 1485658"/>
              <a:gd name="connsiteY479" fmla="*/ 739968 h 1479935"/>
              <a:gd name="connsiteX480" fmla="*/ 415554 w 1485658"/>
              <a:gd name="connsiteY480" fmla="*/ 739968 h 1479935"/>
              <a:gd name="connsiteX481" fmla="*/ 446107 w 1485658"/>
              <a:gd name="connsiteY481" fmla="*/ 770404 h 1479935"/>
              <a:gd name="connsiteX482" fmla="*/ 476659 w 1485658"/>
              <a:gd name="connsiteY482" fmla="*/ 739968 h 1479935"/>
              <a:gd name="connsiteX483" fmla="*/ 446107 w 1485658"/>
              <a:gd name="connsiteY483" fmla="*/ 709531 h 1479935"/>
              <a:gd name="connsiteX484" fmla="*/ 415554 w 1485658"/>
              <a:gd name="connsiteY484" fmla="*/ 739968 h 1479935"/>
              <a:gd name="connsiteX485" fmla="*/ 474851 w 1485658"/>
              <a:gd name="connsiteY485" fmla="*/ 739968 h 1479935"/>
              <a:gd name="connsiteX486" fmla="*/ 505404 w 1485658"/>
              <a:gd name="connsiteY486" fmla="*/ 770404 h 1479935"/>
              <a:gd name="connsiteX487" fmla="*/ 535956 w 1485658"/>
              <a:gd name="connsiteY487" fmla="*/ 739968 h 1479935"/>
              <a:gd name="connsiteX488" fmla="*/ 505404 w 1485658"/>
              <a:gd name="connsiteY488" fmla="*/ 709531 h 1479935"/>
              <a:gd name="connsiteX489" fmla="*/ 474851 w 1485658"/>
              <a:gd name="connsiteY489" fmla="*/ 739968 h 1479935"/>
              <a:gd name="connsiteX490" fmla="*/ 534243 w 1485658"/>
              <a:gd name="connsiteY490" fmla="*/ 739968 h 1479935"/>
              <a:gd name="connsiteX491" fmla="*/ 564796 w 1485658"/>
              <a:gd name="connsiteY491" fmla="*/ 770404 h 1479935"/>
              <a:gd name="connsiteX492" fmla="*/ 595348 w 1485658"/>
              <a:gd name="connsiteY492" fmla="*/ 739968 h 1479935"/>
              <a:gd name="connsiteX493" fmla="*/ 564796 w 1485658"/>
              <a:gd name="connsiteY493" fmla="*/ 709531 h 1479935"/>
              <a:gd name="connsiteX494" fmla="*/ 534243 w 1485658"/>
              <a:gd name="connsiteY494" fmla="*/ 739968 h 1479935"/>
              <a:gd name="connsiteX495" fmla="*/ 652932 w 1485658"/>
              <a:gd name="connsiteY495" fmla="*/ 739968 h 1479935"/>
              <a:gd name="connsiteX496" fmla="*/ 683485 w 1485658"/>
              <a:gd name="connsiteY496" fmla="*/ 770404 h 1479935"/>
              <a:gd name="connsiteX497" fmla="*/ 714037 w 1485658"/>
              <a:gd name="connsiteY497" fmla="*/ 739968 h 1479935"/>
              <a:gd name="connsiteX498" fmla="*/ 683485 w 1485658"/>
              <a:gd name="connsiteY498" fmla="*/ 709531 h 1479935"/>
              <a:gd name="connsiteX499" fmla="*/ 652932 w 1485658"/>
              <a:gd name="connsiteY499" fmla="*/ 739968 h 1479935"/>
              <a:gd name="connsiteX500" fmla="*/ 890310 w 1485658"/>
              <a:gd name="connsiteY500" fmla="*/ 739968 h 1479935"/>
              <a:gd name="connsiteX501" fmla="*/ 920863 w 1485658"/>
              <a:gd name="connsiteY501" fmla="*/ 770404 h 1479935"/>
              <a:gd name="connsiteX502" fmla="*/ 951415 w 1485658"/>
              <a:gd name="connsiteY502" fmla="*/ 739968 h 1479935"/>
              <a:gd name="connsiteX503" fmla="*/ 920863 w 1485658"/>
              <a:gd name="connsiteY503" fmla="*/ 709531 h 1479935"/>
              <a:gd name="connsiteX504" fmla="*/ 890310 w 1485658"/>
              <a:gd name="connsiteY504" fmla="*/ 739968 h 1479935"/>
              <a:gd name="connsiteX505" fmla="*/ 1009094 w 1485658"/>
              <a:gd name="connsiteY505" fmla="*/ 739968 h 1479935"/>
              <a:gd name="connsiteX506" fmla="*/ 1039647 w 1485658"/>
              <a:gd name="connsiteY506" fmla="*/ 770404 h 1479935"/>
              <a:gd name="connsiteX507" fmla="*/ 1070199 w 1485658"/>
              <a:gd name="connsiteY507" fmla="*/ 739968 h 1479935"/>
              <a:gd name="connsiteX508" fmla="*/ 1039647 w 1485658"/>
              <a:gd name="connsiteY508" fmla="*/ 709531 h 1479935"/>
              <a:gd name="connsiteX509" fmla="*/ 1009094 w 1485658"/>
              <a:gd name="connsiteY509" fmla="*/ 739968 h 1479935"/>
              <a:gd name="connsiteX510" fmla="*/ 1068391 w 1485658"/>
              <a:gd name="connsiteY510" fmla="*/ 739968 h 1479935"/>
              <a:gd name="connsiteX511" fmla="*/ 1098944 w 1485658"/>
              <a:gd name="connsiteY511" fmla="*/ 770404 h 1479935"/>
              <a:gd name="connsiteX512" fmla="*/ 1129496 w 1485658"/>
              <a:gd name="connsiteY512" fmla="*/ 739968 h 1479935"/>
              <a:gd name="connsiteX513" fmla="*/ 1098944 w 1485658"/>
              <a:gd name="connsiteY513" fmla="*/ 709531 h 1479935"/>
              <a:gd name="connsiteX514" fmla="*/ 1068391 w 1485658"/>
              <a:gd name="connsiteY514" fmla="*/ 739968 h 1479935"/>
              <a:gd name="connsiteX515" fmla="*/ 1127783 w 1485658"/>
              <a:gd name="connsiteY515" fmla="*/ 739968 h 1479935"/>
              <a:gd name="connsiteX516" fmla="*/ 1158336 w 1485658"/>
              <a:gd name="connsiteY516" fmla="*/ 770404 h 1479935"/>
              <a:gd name="connsiteX517" fmla="*/ 1188888 w 1485658"/>
              <a:gd name="connsiteY517" fmla="*/ 739968 h 1479935"/>
              <a:gd name="connsiteX518" fmla="*/ 1158336 w 1485658"/>
              <a:gd name="connsiteY518" fmla="*/ 709531 h 1479935"/>
              <a:gd name="connsiteX519" fmla="*/ 1127783 w 1485658"/>
              <a:gd name="connsiteY519" fmla="*/ 739968 h 1479935"/>
              <a:gd name="connsiteX520" fmla="*/ 1187080 w 1485658"/>
              <a:gd name="connsiteY520" fmla="*/ 739968 h 1479935"/>
              <a:gd name="connsiteX521" fmla="*/ 1217633 w 1485658"/>
              <a:gd name="connsiteY521" fmla="*/ 770404 h 1479935"/>
              <a:gd name="connsiteX522" fmla="*/ 1248185 w 1485658"/>
              <a:gd name="connsiteY522" fmla="*/ 739968 h 1479935"/>
              <a:gd name="connsiteX523" fmla="*/ 1217633 w 1485658"/>
              <a:gd name="connsiteY523" fmla="*/ 709531 h 1479935"/>
              <a:gd name="connsiteX524" fmla="*/ 1187080 w 1485658"/>
              <a:gd name="connsiteY524" fmla="*/ 739968 h 1479935"/>
              <a:gd name="connsiteX525" fmla="*/ 1305769 w 1485658"/>
              <a:gd name="connsiteY525" fmla="*/ 739968 h 1479935"/>
              <a:gd name="connsiteX526" fmla="*/ 1336322 w 1485658"/>
              <a:gd name="connsiteY526" fmla="*/ 770404 h 1479935"/>
              <a:gd name="connsiteX527" fmla="*/ 1366874 w 1485658"/>
              <a:gd name="connsiteY527" fmla="*/ 739968 h 1479935"/>
              <a:gd name="connsiteX528" fmla="*/ 1336322 w 1485658"/>
              <a:gd name="connsiteY528" fmla="*/ 709531 h 1479935"/>
              <a:gd name="connsiteX529" fmla="*/ 1305769 w 1485658"/>
              <a:gd name="connsiteY529" fmla="*/ 739968 h 1479935"/>
              <a:gd name="connsiteX530" fmla="*/ 1365161 w 1485658"/>
              <a:gd name="connsiteY530" fmla="*/ 739968 h 1479935"/>
              <a:gd name="connsiteX531" fmla="*/ 1395714 w 1485658"/>
              <a:gd name="connsiteY531" fmla="*/ 770404 h 1479935"/>
              <a:gd name="connsiteX532" fmla="*/ 1426266 w 1485658"/>
              <a:gd name="connsiteY532" fmla="*/ 739968 h 1479935"/>
              <a:gd name="connsiteX533" fmla="*/ 1395714 w 1485658"/>
              <a:gd name="connsiteY533" fmla="*/ 709531 h 1479935"/>
              <a:gd name="connsiteX534" fmla="*/ 1365161 w 1485658"/>
              <a:gd name="connsiteY534" fmla="*/ 739968 h 1479935"/>
              <a:gd name="connsiteX535" fmla="*/ 1424553 w 1485658"/>
              <a:gd name="connsiteY535" fmla="*/ 739968 h 1479935"/>
              <a:gd name="connsiteX536" fmla="*/ 1455106 w 1485658"/>
              <a:gd name="connsiteY536" fmla="*/ 770404 h 1479935"/>
              <a:gd name="connsiteX537" fmla="*/ 1485658 w 1485658"/>
              <a:gd name="connsiteY537" fmla="*/ 739968 h 1479935"/>
              <a:gd name="connsiteX538" fmla="*/ 1455106 w 1485658"/>
              <a:gd name="connsiteY538" fmla="*/ 709531 h 1479935"/>
              <a:gd name="connsiteX539" fmla="*/ 1424553 w 1485658"/>
              <a:gd name="connsiteY539" fmla="*/ 739968 h 1479935"/>
              <a:gd name="connsiteX540" fmla="*/ 95 w 1485658"/>
              <a:gd name="connsiteY540" fmla="*/ 799040 h 1479935"/>
              <a:gd name="connsiteX541" fmla="*/ 30648 w 1485658"/>
              <a:gd name="connsiteY541" fmla="*/ 829477 h 1479935"/>
              <a:gd name="connsiteX542" fmla="*/ 61200 w 1485658"/>
              <a:gd name="connsiteY542" fmla="*/ 799040 h 1479935"/>
              <a:gd name="connsiteX543" fmla="*/ 30648 w 1485658"/>
              <a:gd name="connsiteY543" fmla="*/ 768603 h 1479935"/>
              <a:gd name="connsiteX544" fmla="*/ 95 w 1485658"/>
              <a:gd name="connsiteY544" fmla="*/ 799040 h 1479935"/>
              <a:gd name="connsiteX545" fmla="*/ 118784 w 1485658"/>
              <a:gd name="connsiteY545" fmla="*/ 799040 h 1479935"/>
              <a:gd name="connsiteX546" fmla="*/ 149337 w 1485658"/>
              <a:gd name="connsiteY546" fmla="*/ 829477 h 1479935"/>
              <a:gd name="connsiteX547" fmla="*/ 179889 w 1485658"/>
              <a:gd name="connsiteY547" fmla="*/ 799040 h 1479935"/>
              <a:gd name="connsiteX548" fmla="*/ 149337 w 1485658"/>
              <a:gd name="connsiteY548" fmla="*/ 768603 h 1479935"/>
              <a:gd name="connsiteX549" fmla="*/ 118784 w 1485658"/>
              <a:gd name="connsiteY549" fmla="*/ 799040 h 1479935"/>
              <a:gd name="connsiteX550" fmla="*/ 178081 w 1485658"/>
              <a:gd name="connsiteY550" fmla="*/ 799040 h 1479935"/>
              <a:gd name="connsiteX551" fmla="*/ 208634 w 1485658"/>
              <a:gd name="connsiteY551" fmla="*/ 829477 h 1479935"/>
              <a:gd name="connsiteX552" fmla="*/ 239186 w 1485658"/>
              <a:gd name="connsiteY552" fmla="*/ 799040 h 1479935"/>
              <a:gd name="connsiteX553" fmla="*/ 208634 w 1485658"/>
              <a:gd name="connsiteY553" fmla="*/ 768603 h 1479935"/>
              <a:gd name="connsiteX554" fmla="*/ 178081 w 1485658"/>
              <a:gd name="connsiteY554" fmla="*/ 799040 h 1479935"/>
              <a:gd name="connsiteX555" fmla="*/ 237473 w 1485658"/>
              <a:gd name="connsiteY555" fmla="*/ 799040 h 1479935"/>
              <a:gd name="connsiteX556" fmla="*/ 268026 w 1485658"/>
              <a:gd name="connsiteY556" fmla="*/ 829477 h 1479935"/>
              <a:gd name="connsiteX557" fmla="*/ 298578 w 1485658"/>
              <a:gd name="connsiteY557" fmla="*/ 799040 h 1479935"/>
              <a:gd name="connsiteX558" fmla="*/ 268026 w 1485658"/>
              <a:gd name="connsiteY558" fmla="*/ 768603 h 1479935"/>
              <a:gd name="connsiteX559" fmla="*/ 237473 w 1485658"/>
              <a:gd name="connsiteY559" fmla="*/ 799040 h 1479935"/>
              <a:gd name="connsiteX560" fmla="*/ 415554 w 1485658"/>
              <a:gd name="connsiteY560" fmla="*/ 799040 h 1479935"/>
              <a:gd name="connsiteX561" fmla="*/ 446107 w 1485658"/>
              <a:gd name="connsiteY561" fmla="*/ 829477 h 1479935"/>
              <a:gd name="connsiteX562" fmla="*/ 476659 w 1485658"/>
              <a:gd name="connsiteY562" fmla="*/ 799040 h 1479935"/>
              <a:gd name="connsiteX563" fmla="*/ 446107 w 1485658"/>
              <a:gd name="connsiteY563" fmla="*/ 768603 h 1479935"/>
              <a:gd name="connsiteX564" fmla="*/ 415554 w 1485658"/>
              <a:gd name="connsiteY564" fmla="*/ 799040 h 1479935"/>
              <a:gd name="connsiteX565" fmla="*/ 474851 w 1485658"/>
              <a:gd name="connsiteY565" fmla="*/ 799040 h 1479935"/>
              <a:gd name="connsiteX566" fmla="*/ 505404 w 1485658"/>
              <a:gd name="connsiteY566" fmla="*/ 829477 h 1479935"/>
              <a:gd name="connsiteX567" fmla="*/ 535956 w 1485658"/>
              <a:gd name="connsiteY567" fmla="*/ 799040 h 1479935"/>
              <a:gd name="connsiteX568" fmla="*/ 505404 w 1485658"/>
              <a:gd name="connsiteY568" fmla="*/ 768603 h 1479935"/>
              <a:gd name="connsiteX569" fmla="*/ 474851 w 1485658"/>
              <a:gd name="connsiteY569" fmla="*/ 799040 h 1479935"/>
              <a:gd name="connsiteX570" fmla="*/ 534243 w 1485658"/>
              <a:gd name="connsiteY570" fmla="*/ 799040 h 1479935"/>
              <a:gd name="connsiteX571" fmla="*/ 564796 w 1485658"/>
              <a:gd name="connsiteY571" fmla="*/ 829477 h 1479935"/>
              <a:gd name="connsiteX572" fmla="*/ 595348 w 1485658"/>
              <a:gd name="connsiteY572" fmla="*/ 799040 h 1479935"/>
              <a:gd name="connsiteX573" fmla="*/ 564796 w 1485658"/>
              <a:gd name="connsiteY573" fmla="*/ 768603 h 1479935"/>
              <a:gd name="connsiteX574" fmla="*/ 534243 w 1485658"/>
              <a:gd name="connsiteY574" fmla="*/ 799040 h 1479935"/>
              <a:gd name="connsiteX575" fmla="*/ 593635 w 1485658"/>
              <a:gd name="connsiteY575" fmla="*/ 799040 h 1479935"/>
              <a:gd name="connsiteX576" fmla="*/ 624188 w 1485658"/>
              <a:gd name="connsiteY576" fmla="*/ 829477 h 1479935"/>
              <a:gd name="connsiteX577" fmla="*/ 654740 w 1485658"/>
              <a:gd name="connsiteY577" fmla="*/ 799040 h 1479935"/>
              <a:gd name="connsiteX578" fmla="*/ 624188 w 1485658"/>
              <a:gd name="connsiteY578" fmla="*/ 768603 h 1479935"/>
              <a:gd name="connsiteX579" fmla="*/ 593635 w 1485658"/>
              <a:gd name="connsiteY579" fmla="*/ 799040 h 1479935"/>
              <a:gd name="connsiteX580" fmla="*/ 712324 w 1485658"/>
              <a:gd name="connsiteY580" fmla="*/ 799040 h 1479935"/>
              <a:gd name="connsiteX581" fmla="*/ 742877 w 1485658"/>
              <a:gd name="connsiteY581" fmla="*/ 829477 h 1479935"/>
              <a:gd name="connsiteX582" fmla="*/ 773429 w 1485658"/>
              <a:gd name="connsiteY582" fmla="*/ 799040 h 1479935"/>
              <a:gd name="connsiteX583" fmla="*/ 742877 w 1485658"/>
              <a:gd name="connsiteY583" fmla="*/ 768603 h 1479935"/>
              <a:gd name="connsiteX584" fmla="*/ 712324 w 1485658"/>
              <a:gd name="connsiteY584" fmla="*/ 799040 h 1479935"/>
              <a:gd name="connsiteX585" fmla="*/ 771621 w 1485658"/>
              <a:gd name="connsiteY585" fmla="*/ 799040 h 1479935"/>
              <a:gd name="connsiteX586" fmla="*/ 802174 w 1485658"/>
              <a:gd name="connsiteY586" fmla="*/ 829477 h 1479935"/>
              <a:gd name="connsiteX587" fmla="*/ 832726 w 1485658"/>
              <a:gd name="connsiteY587" fmla="*/ 799040 h 1479935"/>
              <a:gd name="connsiteX588" fmla="*/ 802174 w 1485658"/>
              <a:gd name="connsiteY588" fmla="*/ 768603 h 1479935"/>
              <a:gd name="connsiteX589" fmla="*/ 771621 w 1485658"/>
              <a:gd name="connsiteY589" fmla="*/ 799040 h 1479935"/>
              <a:gd name="connsiteX590" fmla="*/ 949702 w 1485658"/>
              <a:gd name="connsiteY590" fmla="*/ 799040 h 1479935"/>
              <a:gd name="connsiteX591" fmla="*/ 980255 w 1485658"/>
              <a:gd name="connsiteY591" fmla="*/ 829477 h 1479935"/>
              <a:gd name="connsiteX592" fmla="*/ 1010807 w 1485658"/>
              <a:gd name="connsiteY592" fmla="*/ 799040 h 1479935"/>
              <a:gd name="connsiteX593" fmla="*/ 980255 w 1485658"/>
              <a:gd name="connsiteY593" fmla="*/ 768603 h 1479935"/>
              <a:gd name="connsiteX594" fmla="*/ 949702 w 1485658"/>
              <a:gd name="connsiteY594" fmla="*/ 799040 h 1479935"/>
              <a:gd name="connsiteX595" fmla="*/ 1009094 w 1485658"/>
              <a:gd name="connsiteY595" fmla="*/ 799040 h 1479935"/>
              <a:gd name="connsiteX596" fmla="*/ 1039647 w 1485658"/>
              <a:gd name="connsiteY596" fmla="*/ 829477 h 1479935"/>
              <a:gd name="connsiteX597" fmla="*/ 1070199 w 1485658"/>
              <a:gd name="connsiteY597" fmla="*/ 799040 h 1479935"/>
              <a:gd name="connsiteX598" fmla="*/ 1039647 w 1485658"/>
              <a:gd name="connsiteY598" fmla="*/ 768603 h 1479935"/>
              <a:gd name="connsiteX599" fmla="*/ 1009094 w 1485658"/>
              <a:gd name="connsiteY599" fmla="*/ 799040 h 1479935"/>
              <a:gd name="connsiteX600" fmla="*/ 1127783 w 1485658"/>
              <a:gd name="connsiteY600" fmla="*/ 799040 h 1479935"/>
              <a:gd name="connsiteX601" fmla="*/ 1158336 w 1485658"/>
              <a:gd name="connsiteY601" fmla="*/ 829477 h 1479935"/>
              <a:gd name="connsiteX602" fmla="*/ 1188888 w 1485658"/>
              <a:gd name="connsiteY602" fmla="*/ 799040 h 1479935"/>
              <a:gd name="connsiteX603" fmla="*/ 1158336 w 1485658"/>
              <a:gd name="connsiteY603" fmla="*/ 768603 h 1479935"/>
              <a:gd name="connsiteX604" fmla="*/ 1127783 w 1485658"/>
              <a:gd name="connsiteY604" fmla="*/ 799040 h 1479935"/>
              <a:gd name="connsiteX605" fmla="*/ 1246472 w 1485658"/>
              <a:gd name="connsiteY605" fmla="*/ 799040 h 1479935"/>
              <a:gd name="connsiteX606" fmla="*/ 1277025 w 1485658"/>
              <a:gd name="connsiteY606" fmla="*/ 829477 h 1479935"/>
              <a:gd name="connsiteX607" fmla="*/ 1307577 w 1485658"/>
              <a:gd name="connsiteY607" fmla="*/ 799040 h 1479935"/>
              <a:gd name="connsiteX608" fmla="*/ 1277025 w 1485658"/>
              <a:gd name="connsiteY608" fmla="*/ 768603 h 1479935"/>
              <a:gd name="connsiteX609" fmla="*/ 1246472 w 1485658"/>
              <a:gd name="connsiteY609" fmla="*/ 799040 h 1479935"/>
              <a:gd name="connsiteX610" fmla="*/ 1365161 w 1485658"/>
              <a:gd name="connsiteY610" fmla="*/ 799040 h 1479935"/>
              <a:gd name="connsiteX611" fmla="*/ 1395714 w 1485658"/>
              <a:gd name="connsiteY611" fmla="*/ 829477 h 1479935"/>
              <a:gd name="connsiteX612" fmla="*/ 1426266 w 1485658"/>
              <a:gd name="connsiteY612" fmla="*/ 799040 h 1479935"/>
              <a:gd name="connsiteX613" fmla="*/ 1395714 w 1485658"/>
              <a:gd name="connsiteY613" fmla="*/ 768603 h 1479935"/>
              <a:gd name="connsiteX614" fmla="*/ 1365161 w 1485658"/>
              <a:gd name="connsiteY614" fmla="*/ 799040 h 1479935"/>
              <a:gd name="connsiteX615" fmla="*/ 95 w 1485658"/>
              <a:gd name="connsiteY615" fmla="*/ 858207 h 1479935"/>
              <a:gd name="connsiteX616" fmla="*/ 30648 w 1485658"/>
              <a:gd name="connsiteY616" fmla="*/ 888644 h 1479935"/>
              <a:gd name="connsiteX617" fmla="*/ 61200 w 1485658"/>
              <a:gd name="connsiteY617" fmla="*/ 858207 h 1479935"/>
              <a:gd name="connsiteX618" fmla="*/ 30648 w 1485658"/>
              <a:gd name="connsiteY618" fmla="*/ 827770 h 1479935"/>
              <a:gd name="connsiteX619" fmla="*/ 95 w 1485658"/>
              <a:gd name="connsiteY619" fmla="*/ 858207 h 1479935"/>
              <a:gd name="connsiteX620" fmla="*/ 118784 w 1485658"/>
              <a:gd name="connsiteY620" fmla="*/ 858207 h 1479935"/>
              <a:gd name="connsiteX621" fmla="*/ 149337 w 1485658"/>
              <a:gd name="connsiteY621" fmla="*/ 888644 h 1479935"/>
              <a:gd name="connsiteX622" fmla="*/ 179889 w 1485658"/>
              <a:gd name="connsiteY622" fmla="*/ 858207 h 1479935"/>
              <a:gd name="connsiteX623" fmla="*/ 149337 w 1485658"/>
              <a:gd name="connsiteY623" fmla="*/ 827770 h 1479935"/>
              <a:gd name="connsiteX624" fmla="*/ 118784 w 1485658"/>
              <a:gd name="connsiteY624" fmla="*/ 858207 h 1479935"/>
              <a:gd name="connsiteX625" fmla="*/ 178081 w 1485658"/>
              <a:gd name="connsiteY625" fmla="*/ 858207 h 1479935"/>
              <a:gd name="connsiteX626" fmla="*/ 208634 w 1485658"/>
              <a:gd name="connsiteY626" fmla="*/ 888644 h 1479935"/>
              <a:gd name="connsiteX627" fmla="*/ 239186 w 1485658"/>
              <a:gd name="connsiteY627" fmla="*/ 858207 h 1479935"/>
              <a:gd name="connsiteX628" fmla="*/ 208634 w 1485658"/>
              <a:gd name="connsiteY628" fmla="*/ 827770 h 1479935"/>
              <a:gd name="connsiteX629" fmla="*/ 178081 w 1485658"/>
              <a:gd name="connsiteY629" fmla="*/ 858207 h 1479935"/>
              <a:gd name="connsiteX630" fmla="*/ 356162 w 1485658"/>
              <a:gd name="connsiteY630" fmla="*/ 858207 h 1479935"/>
              <a:gd name="connsiteX631" fmla="*/ 386715 w 1485658"/>
              <a:gd name="connsiteY631" fmla="*/ 888644 h 1479935"/>
              <a:gd name="connsiteX632" fmla="*/ 417267 w 1485658"/>
              <a:gd name="connsiteY632" fmla="*/ 858207 h 1479935"/>
              <a:gd name="connsiteX633" fmla="*/ 386715 w 1485658"/>
              <a:gd name="connsiteY633" fmla="*/ 827770 h 1479935"/>
              <a:gd name="connsiteX634" fmla="*/ 356162 w 1485658"/>
              <a:gd name="connsiteY634" fmla="*/ 858207 h 1479935"/>
              <a:gd name="connsiteX635" fmla="*/ 474851 w 1485658"/>
              <a:gd name="connsiteY635" fmla="*/ 858207 h 1479935"/>
              <a:gd name="connsiteX636" fmla="*/ 505404 w 1485658"/>
              <a:gd name="connsiteY636" fmla="*/ 888644 h 1479935"/>
              <a:gd name="connsiteX637" fmla="*/ 535956 w 1485658"/>
              <a:gd name="connsiteY637" fmla="*/ 858207 h 1479935"/>
              <a:gd name="connsiteX638" fmla="*/ 505404 w 1485658"/>
              <a:gd name="connsiteY638" fmla="*/ 827770 h 1479935"/>
              <a:gd name="connsiteX639" fmla="*/ 474851 w 1485658"/>
              <a:gd name="connsiteY639" fmla="*/ 858207 h 1479935"/>
              <a:gd name="connsiteX640" fmla="*/ 771621 w 1485658"/>
              <a:gd name="connsiteY640" fmla="*/ 858207 h 1479935"/>
              <a:gd name="connsiteX641" fmla="*/ 802174 w 1485658"/>
              <a:gd name="connsiteY641" fmla="*/ 888644 h 1479935"/>
              <a:gd name="connsiteX642" fmla="*/ 832726 w 1485658"/>
              <a:gd name="connsiteY642" fmla="*/ 858207 h 1479935"/>
              <a:gd name="connsiteX643" fmla="*/ 802174 w 1485658"/>
              <a:gd name="connsiteY643" fmla="*/ 827770 h 1479935"/>
              <a:gd name="connsiteX644" fmla="*/ 771621 w 1485658"/>
              <a:gd name="connsiteY644" fmla="*/ 858207 h 1479935"/>
              <a:gd name="connsiteX645" fmla="*/ 831013 w 1485658"/>
              <a:gd name="connsiteY645" fmla="*/ 858207 h 1479935"/>
              <a:gd name="connsiteX646" fmla="*/ 861566 w 1485658"/>
              <a:gd name="connsiteY646" fmla="*/ 888644 h 1479935"/>
              <a:gd name="connsiteX647" fmla="*/ 892118 w 1485658"/>
              <a:gd name="connsiteY647" fmla="*/ 858207 h 1479935"/>
              <a:gd name="connsiteX648" fmla="*/ 861566 w 1485658"/>
              <a:gd name="connsiteY648" fmla="*/ 827770 h 1479935"/>
              <a:gd name="connsiteX649" fmla="*/ 831013 w 1485658"/>
              <a:gd name="connsiteY649" fmla="*/ 858207 h 1479935"/>
              <a:gd name="connsiteX650" fmla="*/ 890310 w 1485658"/>
              <a:gd name="connsiteY650" fmla="*/ 858207 h 1479935"/>
              <a:gd name="connsiteX651" fmla="*/ 920863 w 1485658"/>
              <a:gd name="connsiteY651" fmla="*/ 888644 h 1479935"/>
              <a:gd name="connsiteX652" fmla="*/ 951415 w 1485658"/>
              <a:gd name="connsiteY652" fmla="*/ 858207 h 1479935"/>
              <a:gd name="connsiteX653" fmla="*/ 920863 w 1485658"/>
              <a:gd name="connsiteY653" fmla="*/ 827770 h 1479935"/>
              <a:gd name="connsiteX654" fmla="*/ 890310 w 1485658"/>
              <a:gd name="connsiteY654" fmla="*/ 858207 h 1479935"/>
              <a:gd name="connsiteX655" fmla="*/ 949702 w 1485658"/>
              <a:gd name="connsiteY655" fmla="*/ 858207 h 1479935"/>
              <a:gd name="connsiteX656" fmla="*/ 980255 w 1485658"/>
              <a:gd name="connsiteY656" fmla="*/ 888644 h 1479935"/>
              <a:gd name="connsiteX657" fmla="*/ 1010807 w 1485658"/>
              <a:gd name="connsiteY657" fmla="*/ 858207 h 1479935"/>
              <a:gd name="connsiteX658" fmla="*/ 980255 w 1485658"/>
              <a:gd name="connsiteY658" fmla="*/ 827770 h 1479935"/>
              <a:gd name="connsiteX659" fmla="*/ 949702 w 1485658"/>
              <a:gd name="connsiteY659" fmla="*/ 858207 h 1479935"/>
              <a:gd name="connsiteX660" fmla="*/ 1068391 w 1485658"/>
              <a:gd name="connsiteY660" fmla="*/ 858207 h 1479935"/>
              <a:gd name="connsiteX661" fmla="*/ 1098944 w 1485658"/>
              <a:gd name="connsiteY661" fmla="*/ 888644 h 1479935"/>
              <a:gd name="connsiteX662" fmla="*/ 1129496 w 1485658"/>
              <a:gd name="connsiteY662" fmla="*/ 858207 h 1479935"/>
              <a:gd name="connsiteX663" fmla="*/ 1098944 w 1485658"/>
              <a:gd name="connsiteY663" fmla="*/ 827770 h 1479935"/>
              <a:gd name="connsiteX664" fmla="*/ 1068391 w 1485658"/>
              <a:gd name="connsiteY664" fmla="*/ 858207 h 1479935"/>
              <a:gd name="connsiteX665" fmla="*/ 1127783 w 1485658"/>
              <a:gd name="connsiteY665" fmla="*/ 858207 h 1479935"/>
              <a:gd name="connsiteX666" fmla="*/ 1158336 w 1485658"/>
              <a:gd name="connsiteY666" fmla="*/ 888644 h 1479935"/>
              <a:gd name="connsiteX667" fmla="*/ 1188888 w 1485658"/>
              <a:gd name="connsiteY667" fmla="*/ 858207 h 1479935"/>
              <a:gd name="connsiteX668" fmla="*/ 1158336 w 1485658"/>
              <a:gd name="connsiteY668" fmla="*/ 827770 h 1479935"/>
              <a:gd name="connsiteX669" fmla="*/ 1127783 w 1485658"/>
              <a:gd name="connsiteY669" fmla="*/ 858207 h 1479935"/>
              <a:gd name="connsiteX670" fmla="*/ 1187080 w 1485658"/>
              <a:gd name="connsiteY670" fmla="*/ 858207 h 1479935"/>
              <a:gd name="connsiteX671" fmla="*/ 1217633 w 1485658"/>
              <a:gd name="connsiteY671" fmla="*/ 888644 h 1479935"/>
              <a:gd name="connsiteX672" fmla="*/ 1248185 w 1485658"/>
              <a:gd name="connsiteY672" fmla="*/ 858207 h 1479935"/>
              <a:gd name="connsiteX673" fmla="*/ 1217633 w 1485658"/>
              <a:gd name="connsiteY673" fmla="*/ 827770 h 1479935"/>
              <a:gd name="connsiteX674" fmla="*/ 1187080 w 1485658"/>
              <a:gd name="connsiteY674" fmla="*/ 858207 h 1479935"/>
              <a:gd name="connsiteX675" fmla="*/ 1246472 w 1485658"/>
              <a:gd name="connsiteY675" fmla="*/ 858207 h 1479935"/>
              <a:gd name="connsiteX676" fmla="*/ 1277025 w 1485658"/>
              <a:gd name="connsiteY676" fmla="*/ 888644 h 1479935"/>
              <a:gd name="connsiteX677" fmla="*/ 1307577 w 1485658"/>
              <a:gd name="connsiteY677" fmla="*/ 858207 h 1479935"/>
              <a:gd name="connsiteX678" fmla="*/ 1277025 w 1485658"/>
              <a:gd name="connsiteY678" fmla="*/ 827770 h 1479935"/>
              <a:gd name="connsiteX679" fmla="*/ 1246472 w 1485658"/>
              <a:gd name="connsiteY679" fmla="*/ 858207 h 1479935"/>
              <a:gd name="connsiteX680" fmla="*/ 1365161 w 1485658"/>
              <a:gd name="connsiteY680" fmla="*/ 858207 h 1479935"/>
              <a:gd name="connsiteX681" fmla="*/ 1395714 w 1485658"/>
              <a:gd name="connsiteY681" fmla="*/ 888644 h 1479935"/>
              <a:gd name="connsiteX682" fmla="*/ 1426266 w 1485658"/>
              <a:gd name="connsiteY682" fmla="*/ 858207 h 1479935"/>
              <a:gd name="connsiteX683" fmla="*/ 1395714 w 1485658"/>
              <a:gd name="connsiteY683" fmla="*/ 827770 h 1479935"/>
              <a:gd name="connsiteX684" fmla="*/ 1365161 w 1485658"/>
              <a:gd name="connsiteY684" fmla="*/ 858207 h 1479935"/>
              <a:gd name="connsiteX685" fmla="*/ 1424553 w 1485658"/>
              <a:gd name="connsiteY685" fmla="*/ 858207 h 1479935"/>
              <a:gd name="connsiteX686" fmla="*/ 1455106 w 1485658"/>
              <a:gd name="connsiteY686" fmla="*/ 888644 h 1479935"/>
              <a:gd name="connsiteX687" fmla="*/ 1485658 w 1485658"/>
              <a:gd name="connsiteY687" fmla="*/ 858207 h 1479935"/>
              <a:gd name="connsiteX688" fmla="*/ 1455106 w 1485658"/>
              <a:gd name="connsiteY688" fmla="*/ 827770 h 1479935"/>
              <a:gd name="connsiteX689" fmla="*/ 1424553 w 1485658"/>
              <a:gd name="connsiteY689" fmla="*/ 858207 h 1479935"/>
              <a:gd name="connsiteX690" fmla="*/ 95 w 1485658"/>
              <a:gd name="connsiteY690" fmla="*/ 917374 h 1479935"/>
              <a:gd name="connsiteX691" fmla="*/ 30648 w 1485658"/>
              <a:gd name="connsiteY691" fmla="*/ 947811 h 1479935"/>
              <a:gd name="connsiteX692" fmla="*/ 61200 w 1485658"/>
              <a:gd name="connsiteY692" fmla="*/ 917374 h 1479935"/>
              <a:gd name="connsiteX693" fmla="*/ 30648 w 1485658"/>
              <a:gd name="connsiteY693" fmla="*/ 886937 h 1479935"/>
              <a:gd name="connsiteX694" fmla="*/ 95 w 1485658"/>
              <a:gd name="connsiteY694" fmla="*/ 917374 h 1479935"/>
              <a:gd name="connsiteX695" fmla="*/ 593635 w 1485658"/>
              <a:gd name="connsiteY695" fmla="*/ 917374 h 1479935"/>
              <a:gd name="connsiteX696" fmla="*/ 624188 w 1485658"/>
              <a:gd name="connsiteY696" fmla="*/ 947811 h 1479935"/>
              <a:gd name="connsiteX697" fmla="*/ 654740 w 1485658"/>
              <a:gd name="connsiteY697" fmla="*/ 917374 h 1479935"/>
              <a:gd name="connsiteX698" fmla="*/ 624188 w 1485658"/>
              <a:gd name="connsiteY698" fmla="*/ 886937 h 1479935"/>
              <a:gd name="connsiteX699" fmla="*/ 593635 w 1485658"/>
              <a:gd name="connsiteY699" fmla="*/ 917374 h 1479935"/>
              <a:gd name="connsiteX700" fmla="*/ 712324 w 1485658"/>
              <a:gd name="connsiteY700" fmla="*/ 917374 h 1479935"/>
              <a:gd name="connsiteX701" fmla="*/ 742877 w 1485658"/>
              <a:gd name="connsiteY701" fmla="*/ 947811 h 1479935"/>
              <a:gd name="connsiteX702" fmla="*/ 773429 w 1485658"/>
              <a:gd name="connsiteY702" fmla="*/ 917374 h 1479935"/>
              <a:gd name="connsiteX703" fmla="*/ 742877 w 1485658"/>
              <a:gd name="connsiteY703" fmla="*/ 886937 h 1479935"/>
              <a:gd name="connsiteX704" fmla="*/ 712324 w 1485658"/>
              <a:gd name="connsiteY704" fmla="*/ 917374 h 1479935"/>
              <a:gd name="connsiteX705" fmla="*/ 771621 w 1485658"/>
              <a:gd name="connsiteY705" fmla="*/ 917374 h 1479935"/>
              <a:gd name="connsiteX706" fmla="*/ 802174 w 1485658"/>
              <a:gd name="connsiteY706" fmla="*/ 947811 h 1479935"/>
              <a:gd name="connsiteX707" fmla="*/ 832726 w 1485658"/>
              <a:gd name="connsiteY707" fmla="*/ 917374 h 1479935"/>
              <a:gd name="connsiteX708" fmla="*/ 802174 w 1485658"/>
              <a:gd name="connsiteY708" fmla="*/ 886937 h 1479935"/>
              <a:gd name="connsiteX709" fmla="*/ 771621 w 1485658"/>
              <a:gd name="connsiteY709" fmla="*/ 917374 h 1479935"/>
              <a:gd name="connsiteX710" fmla="*/ 890310 w 1485658"/>
              <a:gd name="connsiteY710" fmla="*/ 917374 h 1479935"/>
              <a:gd name="connsiteX711" fmla="*/ 920863 w 1485658"/>
              <a:gd name="connsiteY711" fmla="*/ 947811 h 1479935"/>
              <a:gd name="connsiteX712" fmla="*/ 951415 w 1485658"/>
              <a:gd name="connsiteY712" fmla="*/ 917374 h 1479935"/>
              <a:gd name="connsiteX713" fmla="*/ 920863 w 1485658"/>
              <a:gd name="connsiteY713" fmla="*/ 886937 h 1479935"/>
              <a:gd name="connsiteX714" fmla="*/ 890310 w 1485658"/>
              <a:gd name="connsiteY714" fmla="*/ 917374 h 1479935"/>
              <a:gd name="connsiteX715" fmla="*/ 949702 w 1485658"/>
              <a:gd name="connsiteY715" fmla="*/ 917374 h 1479935"/>
              <a:gd name="connsiteX716" fmla="*/ 980255 w 1485658"/>
              <a:gd name="connsiteY716" fmla="*/ 947811 h 1479935"/>
              <a:gd name="connsiteX717" fmla="*/ 1010807 w 1485658"/>
              <a:gd name="connsiteY717" fmla="*/ 917374 h 1479935"/>
              <a:gd name="connsiteX718" fmla="*/ 980255 w 1485658"/>
              <a:gd name="connsiteY718" fmla="*/ 886937 h 1479935"/>
              <a:gd name="connsiteX719" fmla="*/ 949702 w 1485658"/>
              <a:gd name="connsiteY719" fmla="*/ 917374 h 1479935"/>
              <a:gd name="connsiteX720" fmla="*/ 1127783 w 1485658"/>
              <a:gd name="connsiteY720" fmla="*/ 917374 h 1479935"/>
              <a:gd name="connsiteX721" fmla="*/ 1158336 w 1485658"/>
              <a:gd name="connsiteY721" fmla="*/ 947811 h 1479935"/>
              <a:gd name="connsiteX722" fmla="*/ 1188888 w 1485658"/>
              <a:gd name="connsiteY722" fmla="*/ 917374 h 1479935"/>
              <a:gd name="connsiteX723" fmla="*/ 1158336 w 1485658"/>
              <a:gd name="connsiteY723" fmla="*/ 886937 h 1479935"/>
              <a:gd name="connsiteX724" fmla="*/ 1127783 w 1485658"/>
              <a:gd name="connsiteY724" fmla="*/ 917374 h 1479935"/>
              <a:gd name="connsiteX725" fmla="*/ 1187080 w 1485658"/>
              <a:gd name="connsiteY725" fmla="*/ 917374 h 1479935"/>
              <a:gd name="connsiteX726" fmla="*/ 1217633 w 1485658"/>
              <a:gd name="connsiteY726" fmla="*/ 947811 h 1479935"/>
              <a:gd name="connsiteX727" fmla="*/ 1248185 w 1485658"/>
              <a:gd name="connsiteY727" fmla="*/ 917374 h 1479935"/>
              <a:gd name="connsiteX728" fmla="*/ 1217633 w 1485658"/>
              <a:gd name="connsiteY728" fmla="*/ 886937 h 1479935"/>
              <a:gd name="connsiteX729" fmla="*/ 1187080 w 1485658"/>
              <a:gd name="connsiteY729" fmla="*/ 917374 h 1479935"/>
              <a:gd name="connsiteX730" fmla="*/ 1424553 w 1485658"/>
              <a:gd name="connsiteY730" fmla="*/ 917374 h 1479935"/>
              <a:gd name="connsiteX731" fmla="*/ 1455106 w 1485658"/>
              <a:gd name="connsiteY731" fmla="*/ 947811 h 1479935"/>
              <a:gd name="connsiteX732" fmla="*/ 1485658 w 1485658"/>
              <a:gd name="connsiteY732" fmla="*/ 917374 h 1479935"/>
              <a:gd name="connsiteX733" fmla="*/ 1455106 w 1485658"/>
              <a:gd name="connsiteY733" fmla="*/ 886937 h 1479935"/>
              <a:gd name="connsiteX734" fmla="*/ 1424553 w 1485658"/>
              <a:gd name="connsiteY734" fmla="*/ 917374 h 1479935"/>
              <a:gd name="connsiteX735" fmla="*/ 95 w 1485658"/>
              <a:gd name="connsiteY735" fmla="*/ 976446 h 1479935"/>
              <a:gd name="connsiteX736" fmla="*/ 30648 w 1485658"/>
              <a:gd name="connsiteY736" fmla="*/ 1006883 h 1479935"/>
              <a:gd name="connsiteX737" fmla="*/ 61200 w 1485658"/>
              <a:gd name="connsiteY737" fmla="*/ 976446 h 1479935"/>
              <a:gd name="connsiteX738" fmla="*/ 30648 w 1485658"/>
              <a:gd name="connsiteY738" fmla="*/ 946009 h 1479935"/>
              <a:gd name="connsiteX739" fmla="*/ 95 w 1485658"/>
              <a:gd name="connsiteY739" fmla="*/ 976446 h 1479935"/>
              <a:gd name="connsiteX740" fmla="*/ 178081 w 1485658"/>
              <a:gd name="connsiteY740" fmla="*/ 976446 h 1479935"/>
              <a:gd name="connsiteX741" fmla="*/ 208634 w 1485658"/>
              <a:gd name="connsiteY741" fmla="*/ 1006883 h 1479935"/>
              <a:gd name="connsiteX742" fmla="*/ 239186 w 1485658"/>
              <a:gd name="connsiteY742" fmla="*/ 976446 h 1479935"/>
              <a:gd name="connsiteX743" fmla="*/ 208634 w 1485658"/>
              <a:gd name="connsiteY743" fmla="*/ 946009 h 1479935"/>
              <a:gd name="connsiteX744" fmla="*/ 178081 w 1485658"/>
              <a:gd name="connsiteY744" fmla="*/ 976446 h 1479935"/>
              <a:gd name="connsiteX745" fmla="*/ 356162 w 1485658"/>
              <a:gd name="connsiteY745" fmla="*/ 976446 h 1479935"/>
              <a:gd name="connsiteX746" fmla="*/ 386715 w 1485658"/>
              <a:gd name="connsiteY746" fmla="*/ 1006883 h 1479935"/>
              <a:gd name="connsiteX747" fmla="*/ 417267 w 1485658"/>
              <a:gd name="connsiteY747" fmla="*/ 976446 h 1479935"/>
              <a:gd name="connsiteX748" fmla="*/ 386715 w 1485658"/>
              <a:gd name="connsiteY748" fmla="*/ 946009 h 1479935"/>
              <a:gd name="connsiteX749" fmla="*/ 356162 w 1485658"/>
              <a:gd name="connsiteY749" fmla="*/ 976446 h 1479935"/>
              <a:gd name="connsiteX750" fmla="*/ 415554 w 1485658"/>
              <a:gd name="connsiteY750" fmla="*/ 976446 h 1479935"/>
              <a:gd name="connsiteX751" fmla="*/ 446107 w 1485658"/>
              <a:gd name="connsiteY751" fmla="*/ 1006883 h 1479935"/>
              <a:gd name="connsiteX752" fmla="*/ 476659 w 1485658"/>
              <a:gd name="connsiteY752" fmla="*/ 976446 h 1479935"/>
              <a:gd name="connsiteX753" fmla="*/ 446107 w 1485658"/>
              <a:gd name="connsiteY753" fmla="*/ 946009 h 1479935"/>
              <a:gd name="connsiteX754" fmla="*/ 415554 w 1485658"/>
              <a:gd name="connsiteY754" fmla="*/ 976446 h 1479935"/>
              <a:gd name="connsiteX755" fmla="*/ 534243 w 1485658"/>
              <a:gd name="connsiteY755" fmla="*/ 976446 h 1479935"/>
              <a:gd name="connsiteX756" fmla="*/ 564796 w 1485658"/>
              <a:gd name="connsiteY756" fmla="*/ 1006883 h 1479935"/>
              <a:gd name="connsiteX757" fmla="*/ 595348 w 1485658"/>
              <a:gd name="connsiteY757" fmla="*/ 976446 h 1479935"/>
              <a:gd name="connsiteX758" fmla="*/ 564796 w 1485658"/>
              <a:gd name="connsiteY758" fmla="*/ 946009 h 1479935"/>
              <a:gd name="connsiteX759" fmla="*/ 534243 w 1485658"/>
              <a:gd name="connsiteY759" fmla="*/ 976446 h 1479935"/>
              <a:gd name="connsiteX760" fmla="*/ 593635 w 1485658"/>
              <a:gd name="connsiteY760" fmla="*/ 976446 h 1479935"/>
              <a:gd name="connsiteX761" fmla="*/ 624188 w 1485658"/>
              <a:gd name="connsiteY761" fmla="*/ 1006883 h 1479935"/>
              <a:gd name="connsiteX762" fmla="*/ 654740 w 1485658"/>
              <a:gd name="connsiteY762" fmla="*/ 976446 h 1479935"/>
              <a:gd name="connsiteX763" fmla="*/ 624188 w 1485658"/>
              <a:gd name="connsiteY763" fmla="*/ 946009 h 1479935"/>
              <a:gd name="connsiteX764" fmla="*/ 593635 w 1485658"/>
              <a:gd name="connsiteY764" fmla="*/ 976446 h 1479935"/>
              <a:gd name="connsiteX765" fmla="*/ 712324 w 1485658"/>
              <a:gd name="connsiteY765" fmla="*/ 976446 h 1479935"/>
              <a:gd name="connsiteX766" fmla="*/ 742877 w 1485658"/>
              <a:gd name="connsiteY766" fmla="*/ 1006883 h 1479935"/>
              <a:gd name="connsiteX767" fmla="*/ 773429 w 1485658"/>
              <a:gd name="connsiteY767" fmla="*/ 976446 h 1479935"/>
              <a:gd name="connsiteX768" fmla="*/ 742877 w 1485658"/>
              <a:gd name="connsiteY768" fmla="*/ 946009 h 1479935"/>
              <a:gd name="connsiteX769" fmla="*/ 712324 w 1485658"/>
              <a:gd name="connsiteY769" fmla="*/ 976446 h 1479935"/>
              <a:gd name="connsiteX770" fmla="*/ 831013 w 1485658"/>
              <a:gd name="connsiteY770" fmla="*/ 976446 h 1479935"/>
              <a:gd name="connsiteX771" fmla="*/ 861566 w 1485658"/>
              <a:gd name="connsiteY771" fmla="*/ 1006883 h 1479935"/>
              <a:gd name="connsiteX772" fmla="*/ 892118 w 1485658"/>
              <a:gd name="connsiteY772" fmla="*/ 976446 h 1479935"/>
              <a:gd name="connsiteX773" fmla="*/ 861566 w 1485658"/>
              <a:gd name="connsiteY773" fmla="*/ 946009 h 1479935"/>
              <a:gd name="connsiteX774" fmla="*/ 831013 w 1485658"/>
              <a:gd name="connsiteY774" fmla="*/ 976446 h 1479935"/>
              <a:gd name="connsiteX775" fmla="*/ 890310 w 1485658"/>
              <a:gd name="connsiteY775" fmla="*/ 976446 h 1479935"/>
              <a:gd name="connsiteX776" fmla="*/ 920863 w 1485658"/>
              <a:gd name="connsiteY776" fmla="*/ 1006883 h 1479935"/>
              <a:gd name="connsiteX777" fmla="*/ 951415 w 1485658"/>
              <a:gd name="connsiteY777" fmla="*/ 976446 h 1479935"/>
              <a:gd name="connsiteX778" fmla="*/ 920863 w 1485658"/>
              <a:gd name="connsiteY778" fmla="*/ 946009 h 1479935"/>
              <a:gd name="connsiteX779" fmla="*/ 890310 w 1485658"/>
              <a:gd name="connsiteY779" fmla="*/ 976446 h 1479935"/>
              <a:gd name="connsiteX780" fmla="*/ 949702 w 1485658"/>
              <a:gd name="connsiteY780" fmla="*/ 976446 h 1479935"/>
              <a:gd name="connsiteX781" fmla="*/ 980255 w 1485658"/>
              <a:gd name="connsiteY781" fmla="*/ 1006883 h 1479935"/>
              <a:gd name="connsiteX782" fmla="*/ 1010807 w 1485658"/>
              <a:gd name="connsiteY782" fmla="*/ 976446 h 1479935"/>
              <a:gd name="connsiteX783" fmla="*/ 980255 w 1485658"/>
              <a:gd name="connsiteY783" fmla="*/ 946009 h 1479935"/>
              <a:gd name="connsiteX784" fmla="*/ 949702 w 1485658"/>
              <a:gd name="connsiteY784" fmla="*/ 976446 h 1479935"/>
              <a:gd name="connsiteX785" fmla="*/ 1009094 w 1485658"/>
              <a:gd name="connsiteY785" fmla="*/ 976446 h 1479935"/>
              <a:gd name="connsiteX786" fmla="*/ 1039647 w 1485658"/>
              <a:gd name="connsiteY786" fmla="*/ 1006883 h 1479935"/>
              <a:gd name="connsiteX787" fmla="*/ 1070199 w 1485658"/>
              <a:gd name="connsiteY787" fmla="*/ 976446 h 1479935"/>
              <a:gd name="connsiteX788" fmla="*/ 1039647 w 1485658"/>
              <a:gd name="connsiteY788" fmla="*/ 946009 h 1479935"/>
              <a:gd name="connsiteX789" fmla="*/ 1009094 w 1485658"/>
              <a:gd name="connsiteY789" fmla="*/ 976446 h 1479935"/>
              <a:gd name="connsiteX790" fmla="*/ 1068391 w 1485658"/>
              <a:gd name="connsiteY790" fmla="*/ 976446 h 1479935"/>
              <a:gd name="connsiteX791" fmla="*/ 1098944 w 1485658"/>
              <a:gd name="connsiteY791" fmla="*/ 1006883 h 1479935"/>
              <a:gd name="connsiteX792" fmla="*/ 1129496 w 1485658"/>
              <a:gd name="connsiteY792" fmla="*/ 976446 h 1479935"/>
              <a:gd name="connsiteX793" fmla="*/ 1098944 w 1485658"/>
              <a:gd name="connsiteY793" fmla="*/ 946009 h 1479935"/>
              <a:gd name="connsiteX794" fmla="*/ 1068391 w 1485658"/>
              <a:gd name="connsiteY794" fmla="*/ 976446 h 1479935"/>
              <a:gd name="connsiteX795" fmla="*/ 1127783 w 1485658"/>
              <a:gd name="connsiteY795" fmla="*/ 976446 h 1479935"/>
              <a:gd name="connsiteX796" fmla="*/ 1158336 w 1485658"/>
              <a:gd name="connsiteY796" fmla="*/ 1006883 h 1479935"/>
              <a:gd name="connsiteX797" fmla="*/ 1188888 w 1485658"/>
              <a:gd name="connsiteY797" fmla="*/ 976446 h 1479935"/>
              <a:gd name="connsiteX798" fmla="*/ 1158336 w 1485658"/>
              <a:gd name="connsiteY798" fmla="*/ 946009 h 1479935"/>
              <a:gd name="connsiteX799" fmla="*/ 1127783 w 1485658"/>
              <a:gd name="connsiteY799" fmla="*/ 976446 h 1479935"/>
              <a:gd name="connsiteX800" fmla="*/ 1187080 w 1485658"/>
              <a:gd name="connsiteY800" fmla="*/ 976446 h 1479935"/>
              <a:gd name="connsiteX801" fmla="*/ 1217633 w 1485658"/>
              <a:gd name="connsiteY801" fmla="*/ 1006883 h 1479935"/>
              <a:gd name="connsiteX802" fmla="*/ 1248185 w 1485658"/>
              <a:gd name="connsiteY802" fmla="*/ 976446 h 1479935"/>
              <a:gd name="connsiteX803" fmla="*/ 1217633 w 1485658"/>
              <a:gd name="connsiteY803" fmla="*/ 946009 h 1479935"/>
              <a:gd name="connsiteX804" fmla="*/ 1187080 w 1485658"/>
              <a:gd name="connsiteY804" fmla="*/ 976446 h 1479935"/>
              <a:gd name="connsiteX805" fmla="*/ 1305769 w 1485658"/>
              <a:gd name="connsiteY805" fmla="*/ 976446 h 1479935"/>
              <a:gd name="connsiteX806" fmla="*/ 1336322 w 1485658"/>
              <a:gd name="connsiteY806" fmla="*/ 1006883 h 1479935"/>
              <a:gd name="connsiteX807" fmla="*/ 1366874 w 1485658"/>
              <a:gd name="connsiteY807" fmla="*/ 976446 h 1479935"/>
              <a:gd name="connsiteX808" fmla="*/ 1336322 w 1485658"/>
              <a:gd name="connsiteY808" fmla="*/ 946009 h 1479935"/>
              <a:gd name="connsiteX809" fmla="*/ 1305769 w 1485658"/>
              <a:gd name="connsiteY809" fmla="*/ 976446 h 1479935"/>
              <a:gd name="connsiteX810" fmla="*/ 474851 w 1485658"/>
              <a:gd name="connsiteY810" fmla="*/ 1035613 h 1479935"/>
              <a:gd name="connsiteX811" fmla="*/ 505404 w 1485658"/>
              <a:gd name="connsiteY811" fmla="*/ 1066050 h 1479935"/>
              <a:gd name="connsiteX812" fmla="*/ 535956 w 1485658"/>
              <a:gd name="connsiteY812" fmla="*/ 1035613 h 1479935"/>
              <a:gd name="connsiteX813" fmla="*/ 505404 w 1485658"/>
              <a:gd name="connsiteY813" fmla="*/ 1005176 h 1479935"/>
              <a:gd name="connsiteX814" fmla="*/ 474851 w 1485658"/>
              <a:gd name="connsiteY814" fmla="*/ 1035613 h 1479935"/>
              <a:gd name="connsiteX815" fmla="*/ 534243 w 1485658"/>
              <a:gd name="connsiteY815" fmla="*/ 1035613 h 1479935"/>
              <a:gd name="connsiteX816" fmla="*/ 564796 w 1485658"/>
              <a:gd name="connsiteY816" fmla="*/ 1066050 h 1479935"/>
              <a:gd name="connsiteX817" fmla="*/ 595348 w 1485658"/>
              <a:gd name="connsiteY817" fmla="*/ 1035613 h 1479935"/>
              <a:gd name="connsiteX818" fmla="*/ 564796 w 1485658"/>
              <a:gd name="connsiteY818" fmla="*/ 1005176 h 1479935"/>
              <a:gd name="connsiteX819" fmla="*/ 534243 w 1485658"/>
              <a:gd name="connsiteY819" fmla="*/ 1035613 h 1479935"/>
              <a:gd name="connsiteX820" fmla="*/ 593635 w 1485658"/>
              <a:gd name="connsiteY820" fmla="*/ 1035613 h 1479935"/>
              <a:gd name="connsiteX821" fmla="*/ 624188 w 1485658"/>
              <a:gd name="connsiteY821" fmla="*/ 1066050 h 1479935"/>
              <a:gd name="connsiteX822" fmla="*/ 654740 w 1485658"/>
              <a:gd name="connsiteY822" fmla="*/ 1035613 h 1479935"/>
              <a:gd name="connsiteX823" fmla="*/ 624188 w 1485658"/>
              <a:gd name="connsiteY823" fmla="*/ 1005176 h 1479935"/>
              <a:gd name="connsiteX824" fmla="*/ 593635 w 1485658"/>
              <a:gd name="connsiteY824" fmla="*/ 1035613 h 1479935"/>
              <a:gd name="connsiteX825" fmla="*/ 890310 w 1485658"/>
              <a:gd name="connsiteY825" fmla="*/ 1035613 h 1479935"/>
              <a:gd name="connsiteX826" fmla="*/ 920863 w 1485658"/>
              <a:gd name="connsiteY826" fmla="*/ 1066050 h 1479935"/>
              <a:gd name="connsiteX827" fmla="*/ 951415 w 1485658"/>
              <a:gd name="connsiteY827" fmla="*/ 1035613 h 1479935"/>
              <a:gd name="connsiteX828" fmla="*/ 920863 w 1485658"/>
              <a:gd name="connsiteY828" fmla="*/ 1005176 h 1479935"/>
              <a:gd name="connsiteX829" fmla="*/ 890310 w 1485658"/>
              <a:gd name="connsiteY829" fmla="*/ 1035613 h 1479935"/>
              <a:gd name="connsiteX830" fmla="*/ 949702 w 1485658"/>
              <a:gd name="connsiteY830" fmla="*/ 1035613 h 1479935"/>
              <a:gd name="connsiteX831" fmla="*/ 980255 w 1485658"/>
              <a:gd name="connsiteY831" fmla="*/ 1066050 h 1479935"/>
              <a:gd name="connsiteX832" fmla="*/ 1010807 w 1485658"/>
              <a:gd name="connsiteY832" fmla="*/ 1035613 h 1479935"/>
              <a:gd name="connsiteX833" fmla="*/ 980255 w 1485658"/>
              <a:gd name="connsiteY833" fmla="*/ 1005176 h 1479935"/>
              <a:gd name="connsiteX834" fmla="*/ 949702 w 1485658"/>
              <a:gd name="connsiteY834" fmla="*/ 1035613 h 1479935"/>
              <a:gd name="connsiteX835" fmla="*/ 1187080 w 1485658"/>
              <a:gd name="connsiteY835" fmla="*/ 1035613 h 1479935"/>
              <a:gd name="connsiteX836" fmla="*/ 1217633 w 1485658"/>
              <a:gd name="connsiteY836" fmla="*/ 1066050 h 1479935"/>
              <a:gd name="connsiteX837" fmla="*/ 1248185 w 1485658"/>
              <a:gd name="connsiteY837" fmla="*/ 1035613 h 1479935"/>
              <a:gd name="connsiteX838" fmla="*/ 1217633 w 1485658"/>
              <a:gd name="connsiteY838" fmla="*/ 1005176 h 1479935"/>
              <a:gd name="connsiteX839" fmla="*/ 1187080 w 1485658"/>
              <a:gd name="connsiteY839" fmla="*/ 1035613 h 1479935"/>
              <a:gd name="connsiteX840" fmla="*/ 1246472 w 1485658"/>
              <a:gd name="connsiteY840" fmla="*/ 1035613 h 1479935"/>
              <a:gd name="connsiteX841" fmla="*/ 1277025 w 1485658"/>
              <a:gd name="connsiteY841" fmla="*/ 1066050 h 1479935"/>
              <a:gd name="connsiteX842" fmla="*/ 1307577 w 1485658"/>
              <a:gd name="connsiteY842" fmla="*/ 1035613 h 1479935"/>
              <a:gd name="connsiteX843" fmla="*/ 1277025 w 1485658"/>
              <a:gd name="connsiteY843" fmla="*/ 1005176 h 1479935"/>
              <a:gd name="connsiteX844" fmla="*/ 1246472 w 1485658"/>
              <a:gd name="connsiteY844" fmla="*/ 1035613 h 1479935"/>
              <a:gd name="connsiteX845" fmla="*/ 652932 w 1485658"/>
              <a:gd name="connsiteY845" fmla="*/ 1094685 h 1479935"/>
              <a:gd name="connsiteX846" fmla="*/ 683485 w 1485658"/>
              <a:gd name="connsiteY846" fmla="*/ 1125122 h 1479935"/>
              <a:gd name="connsiteX847" fmla="*/ 714037 w 1485658"/>
              <a:gd name="connsiteY847" fmla="*/ 1094685 h 1479935"/>
              <a:gd name="connsiteX848" fmla="*/ 683485 w 1485658"/>
              <a:gd name="connsiteY848" fmla="*/ 1064249 h 1479935"/>
              <a:gd name="connsiteX849" fmla="*/ 652932 w 1485658"/>
              <a:gd name="connsiteY849" fmla="*/ 1094685 h 1479935"/>
              <a:gd name="connsiteX850" fmla="*/ 712324 w 1485658"/>
              <a:gd name="connsiteY850" fmla="*/ 1094685 h 1479935"/>
              <a:gd name="connsiteX851" fmla="*/ 742877 w 1485658"/>
              <a:gd name="connsiteY851" fmla="*/ 1125122 h 1479935"/>
              <a:gd name="connsiteX852" fmla="*/ 773429 w 1485658"/>
              <a:gd name="connsiteY852" fmla="*/ 1094685 h 1479935"/>
              <a:gd name="connsiteX853" fmla="*/ 742877 w 1485658"/>
              <a:gd name="connsiteY853" fmla="*/ 1064249 h 1479935"/>
              <a:gd name="connsiteX854" fmla="*/ 712324 w 1485658"/>
              <a:gd name="connsiteY854" fmla="*/ 1094685 h 1479935"/>
              <a:gd name="connsiteX855" fmla="*/ 949702 w 1485658"/>
              <a:gd name="connsiteY855" fmla="*/ 1094685 h 1479935"/>
              <a:gd name="connsiteX856" fmla="*/ 980255 w 1485658"/>
              <a:gd name="connsiteY856" fmla="*/ 1125122 h 1479935"/>
              <a:gd name="connsiteX857" fmla="*/ 1010807 w 1485658"/>
              <a:gd name="connsiteY857" fmla="*/ 1094685 h 1479935"/>
              <a:gd name="connsiteX858" fmla="*/ 980255 w 1485658"/>
              <a:gd name="connsiteY858" fmla="*/ 1064249 h 1479935"/>
              <a:gd name="connsiteX859" fmla="*/ 949702 w 1485658"/>
              <a:gd name="connsiteY859" fmla="*/ 1094685 h 1479935"/>
              <a:gd name="connsiteX860" fmla="*/ 1068391 w 1485658"/>
              <a:gd name="connsiteY860" fmla="*/ 1094685 h 1479935"/>
              <a:gd name="connsiteX861" fmla="*/ 1098944 w 1485658"/>
              <a:gd name="connsiteY861" fmla="*/ 1125122 h 1479935"/>
              <a:gd name="connsiteX862" fmla="*/ 1129496 w 1485658"/>
              <a:gd name="connsiteY862" fmla="*/ 1094685 h 1479935"/>
              <a:gd name="connsiteX863" fmla="*/ 1098944 w 1485658"/>
              <a:gd name="connsiteY863" fmla="*/ 1064249 h 1479935"/>
              <a:gd name="connsiteX864" fmla="*/ 1068391 w 1485658"/>
              <a:gd name="connsiteY864" fmla="*/ 1094685 h 1479935"/>
              <a:gd name="connsiteX865" fmla="*/ 1187080 w 1485658"/>
              <a:gd name="connsiteY865" fmla="*/ 1094685 h 1479935"/>
              <a:gd name="connsiteX866" fmla="*/ 1217633 w 1485658"/>
              <a:gd name="connsiteY866" fmla="*/ 1125122 h 1479935"/>
              <a:gd name="connsiteX867" fmla="*/ 1248185 w 1485658"/>
              <a:gd name="connsiteY867" fmla="*/ 1094685 h 1479935"/>
              <a:gd name="connsiteX868" fmla="*/ 1217633 w 1485658"/>
              <a:gd name="connsiteY868" fmla="*/ 1064249 h 1479935"/>
              <a:gd name="connsiteX869" fmla="*/ 1187080 w 1485658"/>
              <a:gd name="connsiteY869" fmla="*/ 1094685 h 1479935"/>
              <a:gd name="connsiteX870" fmla="*/ 1305769 w 1485658"/>
              <a:gd name="connsiteY870" fmla="*/ 1094685 h 1479935"/>
              <a:gd name="connsiteX871" fmla="*/ 1336322 w 1485658"/>
              <a:gd name="connsiteY871" fmla="*/ 1125122 h 1479935"/>
              <a:gd name="connsiteX872" fmla="*/ 1366874 w 1485658"/>
              <a:gd name="connsiteY872" fmla="*/ 1094685 h 1479935"/>
              <a:gd name="connsiteX873" fmla="*/ 1336322 w 1485658"/>
              <a:gd name="connsiteY873" fmla="*/ 1064249 h 1479935"/>
              <a:gd name="connsiteX874" fmla="*/ 1305769 w 1485658"/>
              <a:gd name="connsiteY874" fmla="*/ 1094685 h 1479935"/>
              <a:gd name="connsiteX875" fmla="*/ 1365161 w 1485658"/>
              <a:gd name="connsiteY875" fmla="*/ 1094685 h 1479935"/>
              <a:gd name="connsiteX876" fmla="*/ 1395714 w 1485658"/>
              <a:gd name="connsiteY876" fmla="*/ 1125122 h 1479935"/>
              <a:gd name="connsiteX877" fmla="*/ 1426266 w 1485658"/>
              <a:gd name="connsiteY877" fmla="*/ 1094685 h 1479935"/>
              <a:gd name="connsiteX878" fmla="*/ 1395714 w 1485658"/>
              <a:gd name="connsiteY878" fmla="*/ 1064249 h 1479935"/>
              <a:gd name="connsiteX879" fmla="*/ 1365161 w 1485658"/>
              <a:gd name="connsiteY879" fmla="*/ 1094685 h 1479935"/>
              <a:gd name="connsiteX880" fmla="*/ 1424553 w 1485658"/>
              <a:gd name="connsiteY880" fmla="*/ 1094685 h 1479935"/>
              <a:gd name="connsiteX881" fmla="*/ 1455106 w 1485658"/>
              <a:gd name="connsiteY881" fmla="*/ 1125122 h 1479935"/>
              <a:gd name="connsiteX882" fmla="*/ 1485658 w 1485658"/>
              <a:gd name="connsiteY882" fmla="*/ 1094685 h 1479935"/>
              <a:gd name="connsiteX883" fmla="*/ 1455106 w 1485658"/>
              <a:gd name="connsiteY883" fmla="*/ 1064249 h 1479935"/>
              <a:gd name="connsiteX884" fmla="*/ 1424553 w 1485658"/>
              <a:gd name="connsiteY884" fmla="*/ 1094685 h 1479935"/>
              <a:gd name="connsiteX885" fmla="*/ 474851 w 1485658"/>
              <a:gd name="connsiteY885" fmla="*/ 1153853 h 1479935"/>
              <a:gd name="connsiteX886" fmla="*/ 505404 w 1485658"/>
              <a:gd name="connsiteY886" fmla="*/ 1184289 h 1479935"/>
              <a:gd name="connsiteX887" fmla="*/ 535956 w 1485658"/>
              <a:gd name="connsiteY887" fmla="*/ 1153853 h 1479935"/>
              <a:gd name="connsiteX888" fmla="*/ 505404 w 1485658"/>
              <a:gd name="connsiteY888" fmla="*/ 1123416 h 1479935"/>
              <a:gd name="connsiteX889" fmla="*/ 474851 w 1485658"/>
              <a:gd name="connsiteY889" fmla="*/ 1153853 h 1479935"/>
              <a:gd name="connsiteX890" fmla="*/ 593635 w 1485658"/>
              <a:gd name="connsiteY890" fmla="*/ 1153853 h 1479935"/>
              <a:gd name="connsiteX891" fmla="*/ 624188 w 1485658"/>
              <a:gd name="connsiteY891" fmla="*/ 1184289 h 1479935"/>
              <a:gd name="connsiteX892" fmla="*/ 654740 w 1485658"/>
              <a:gd name="connsiteY892" fmla="*/ 1153853 h 1479935"/>
              <a:gd name="connsiteX893" fmla="*/ 624188 w 1485658"/>
              <a:gd name="connsiteY893" fmla="*/ 1123416 h 1479935"/>
              <a:gd name="connsiteX894" fmla="*/ 593635 w 1485658"/>
              <a:gd name="connsiteY894" fmla="*/ 1153853 h 1479935"/>
              <a:gd name="connsiteX895" fmla="*/ 652932 w 1485658"/>
              <a:gd name="connsiteY895" fmla="*/ 1153853 h 1479935"/>
              <a:gd name="connsiteX896" fmla="*/ 683485 w 1485658"/>
              <a:gd name="connsiteY896" fmla="*/ 1184289 h 1479935"/>
              <a:gd name="connsiteX897" fmla="*/ 714037 w 1485658"/>
              <a:gd name="connsiteY897" fmla="*/ 1153853 h 1479935"/>
              <a:gd name="connsiteX898" fmla="*/ 683485 w 1485658"/>
              <a:gd name="connsiteY898" fmla="*/ 1123416 h 1479935"/>
              <a:gd name="connsiteX899" fmla="*/ 652932 w 1485658"/>
              <a:gd name="connsiteY899" fmla="*/ 1153853 h 1479935"/>
              <a:gd name="connsiteX900" fmla="*/ 831013 w 1485658"/>
              <a:gd name="connsiteY900" fmla="*/ 1153853 h 1479935"/>
              <a:gd name="connsiteX901" fmla="*/ 861566 w 1485658"/>
              <a:gd name="connsiteY901" fmla="*/ 1184289 h 1479935"/>
              <a:gd name="connsiteX902" fmla="*/ 892118 w 1485658"/>
              <a:gd name="connsiteY902" fmla="*/ 1153853 h 1479935"/>
              <a:gd name="connsiteX903" fmla="*/ 861566 w 1485658"/>
              <a:gd name="connsiteY903" fmla="*/ 1123416 h 1479935"/>
              <a:gd name="connsiteX904" fmla="*/ 831013 w 1485658"/>
              <a:gd name="connsiteY904" fmla="*/ 1153853 h 1479935"/>
              <a:gd name="connsiteX905" fmla="*/ 949702 w 1485658"/>
              <a:gd name="connsiteY905" fmla="*/ 1153853 h 1479935"/>
              <a:gd name="connsiteX906" fmla="*/ 980255 w 1485658"/>
              <a:gd name="connsiteY906" fmla="*/ 1184289 h 1479935"/>
              <a:gd name="connsiteX907" fmla="*/ 1010807 w 1485658"/>
              <a:gd name="connsiteY907" fmla="*/ 1153853 h 1479935"/>
              <a:gd name="connsiteX908" fmla="*/ 980255 w 1485658"/>
              <a:gd name="connsiteY908" fmla="*/ 1123416 h 1479935"/>
              <a:gd name="connsiteX909" fmla="*/ 949702 w 1485658"/>
              <a:gd name="connsiteY909" fmla="*/ 1153853 h 1479935"/>
              <a:gd name="connsiteX910" fmla="*/ 1187080 w 1485658"/>
              <a:gd name="connsiteY910" fmla="*/ 1153853 h 1479935"/>
              <a:gd name="connsiteX911" fmla="*/ 1217633 w 1485658"/>
              <a:gd name="connsiteY911" fmla="*/ 1184289 h 1479935"/>
              <a:gd name="connsiteX912" fmla="*/ 1248185 w 1485658"/>
              <a:gd name="connsiteY912" fmla="*/ 1153853 h 1479935"/>
              <a:gd name="connsiteX913" fmla="*/ 1217633 w 1485658"/>
              <a:gd name="connsiteY913" fmla="*/ 1123416 h 1479935"/>
              <a:gd name="connsiteX914" fmla="*/ 1187080 w 1485658"/>
              <a:gd name="connsiteY914" fmla="*/ 1153853 h 1479935"/>
              <a:gd name="connsiteX915" fmla="*/ 1246472 w 1485658"/>
              <a:gd name="connsiteY915" fmla="*/ 1153853 h 1479935"/>
              <a:gd name="connsiteX916" fmla="*/ 1277025 w 1485658"/>
              <a:gd name="connsiteY916" fmla="*/ 1184289 h 1479935"/>
              <a:gd name="connsiteX917" fmla="*/ 1307577 w 1485658"/>
              <a:gd name="connsiteY917" fmla="*/ 1153853 h 1479935"/>
              <a:gd name="connsiteX918" fmla="*/ 1277025 w 1485658"/>
              <a:gd name="connsiteY918" fmla="*/ 1123416 h 1479935"/>
              <a:gd name="connsiteX919" fmla="*/ 1246472 w 1485658"/>
              <a:gd name="connsiteY919" fmla="*/ 1153853 h 1479935"/>
              <a:gd name="connsiteX920" fmla="*/ 1424553 w 1485658"/>
              <a:gd name="connsiteY920" fmla="*/ 1153853 h 1479935"/>
              <a:gd name="connsiteX921" fmla="*/ 1455106 w 1485658"/>
              <a:gd name="connsiteY921" fmla="*/ 1184289 h 1479935"/>
              <a:gd name="connsiteX922" fmla="*/ 1485658 w 1485658"/>
              <a:gd name="connsiteY922" fmla="*/ 1153853 h 1479935"/>
              <a:gd name="connsiteX923" fmla="*/ 1455106 w 1485658"/>
              <a:gd name="connsiteY923" fmla="*/ 1123416 h 1479935"/>
              <a:gd name="connsiteX924" fmla="*/ 1424553 w 1485658"/>
              <a:gd name="connsiteY924" fmla="*/ 1153853 h 1479935"/>
              <a:gd name="connsiteX925" fmla="*/ 474851 w 1485658"/>
              <a:gd name="connsiteY925" fmla="*/ 1212925 h 1479935"/>
              <a:gd name="connsiteX926" fmla="*/ 505404 w 1485658"/>
              <a:gd name="connsiteY926" fmla="*/ 1243362 h 1479935"/>
              <a:gd name="connsiteX927" fmla="*/ 535956 w 1485658"/>
              <a:gd name="connsiteY927" fmla="*/ 1212925 h 1479935"/>
              <a:gd name="connsiteX928" fmla="*/ 505404 w 1485658"/>
              <a:gd name="connsiteY928" fmla="*/ 1182488 h 1479935"/>
              <a:gd name="connsiteX929" fmla="*/ 474851 w 1485658"/>
              <a:gd name="connsiteY929" fmla="*/ 1212925 h 1479935"/>
              <a:gd name="connsiteX930" fmla="*/ 534243 w 1485658"/>
              <a:gd name="connsiteY930" fmla="*/ 1212925 h 1479935"/>
              <a:gd name="connsiteX931" fmla="*/ 564796 w 1485658"/>
              <a:gd name="connsiteY931" fmla="*/ 1243362 h 1479935"/>
              <a:gd name="connsiteX932" fmla="*/ 595348 w 1485658"/>
              <a:gd name="connsiteY932" fmla="*/ 1212925 h 1479935"/>
              <a:gd name="connsiteX933" fmla="*/ 564796 w 1485658"/>
              <a:gd name="connsiteY933" fmla="*/ 1182488 h 1479935"/>
              <a:gd name="connsiteX934" fmla="*/ 534243 w 1485658"/>
              <a:gd name="connsiteY934" fmla="*/ 1212925 h 1479935"/>
              <a:gd name="connsiteX935" fmla="*/ 652932 w 1485658"/>
              <a:gd name="connsiteY935" fmla="*/ 1212925 h 1479935"/>
              <a:gd name="connsiteX936" fmla="*/ 683485 w 1485658"/>
              <a:gd name="connsiteY936" fmla="*/ 1243362 h 1479935"/>
              <a:gd name="connsiteX937" fmla="*/ 714037 w 1485658"/>
              <a:gd name="connsiteY937" fmla="*/ 1212925 h 1479935"/>
              <a:gd name="connsiteX938" fmla="*/ 683485 w 1485658"/>
              <a:gd name="connsiteY938" fmla="*/ 1182488 h 1479935"/>
              <a:gd name="connsiteX939" fmla="*/ 652932 w 1485658"/>
              <a:gd name="connsiteY939" fmla="*/ 1212925 h 1479935"/>
              <a:gd name="connsiteX940" fmla="*/ 890310 w 1485658"/>
              <a:gd name="connsiteY940" fmla="*/ 1212925 h 1479935"/>
              <a:gd name="connsiteX941" fmla="*/ 920863 w 1485658"/>
              <a:gd name="connsiteY941" fmla="*/ 1243362 h 1479935"/>
              <a:gd name="connsiteX942" fmla="*/ 951415 w 1485658"/>
              <a:gd name="connsiteY942" fmla="*/ 1212925 h 1479935"/>
              <a:gd name="connsiteX943" fmla="*/ 920863 w 1485658"/>
              <a:gd name="connsiteY943" fmla="*/ 1182488 h 1479935"/>
              <a:gd name="connsiteX944" fmla="*/ 890310 w 1485658"/>
              <a:gd name="connsiteY944" fmla="*/ 1212925 h 1479935"/>
              <a:gd name="connsiteX945" fmla="*/ 949702 w 1485658"/>
              <a:gd name="connsiteY945" fmla="*/ 1212925 h 1479935"/>
              <a:gd name="connsiteX946" fmla="*/ 980255 w 1485658"/>
              <a:gd name="connsiteY946" fmla="*/ 1243362 h 1479935"/>
              <a:gd name="connsiteX947" fmla="*/ 1010807 w 1485658"/>
              <a:gd name="connsiteY947" fmla="*/ 1212925 h 1479935"/>
              <a:gd name="connsiteX948" fmla="*/ 980255 w 1485658"/>
              <a:gd name="connsiteY948" fmla="*/ 1182488 h 1479935"/>
              <a:gd name="connsiteX949" fmla="*/ 949702 w 1485658"/>
              <a:gd name="connsiteY949" fmla="*/ 1212925 h 1479935"/>
              <a:gd name="connsiteX950" fmla="*/ 1009094 w 1485658"/>
              <a:gd name="connsiteY950" fmla="*/ 1212925 h 1479935"/>
              <a:gd name="connsiteX951" fmla="*/ 1039647 w 1485658"/>
              <a:gd name="connsiteY951" fmla="*/ 1243362 h 1479935"/>
              <a:gd name="connsiteX952" fmla="*/ 1070199 w 1485658"/>
              <a:gd name="connsiteY952" fmla="*/ 1212925 h 1479935"/>
              <a:gd name="connsiteX953" fmla="*/ 1039647 w 1485658"/>
              <a:gd name="connsiteY953" fmla="*/ 1182488 h 1479935"/>
              <a:gd name="connsiteX954" fmla="*/ 1009094 w 1485658"/>
              <a:gd name="connsiteY954" fmla="*/ 1212925 h 1479935"/>
              <a:gd name="connsiteX955" fmla="*/ 1068391 w 1485658"/>
              <a:gd name="connsiteY955" fmla="*/ 1212925 h 1479935"/>
              <a:gd name="connsiteX956" fmla="*/ 1098944 w 1485658"/>
              <a:gd name="connsiteY956" fmla="*/ 1243362 h 1479935"/>
              <a:gd name="connsiteX957" fmla="*/ 1129496 w 1485658"/>
              <a:gd name="connsiteY957" fmla="*/ 1212925 h 1479935"/>
              <a:gd name="connsiteX958" fmla="*/ 1098944 w 1485658"/>
              <a:gd name="connsiteY958" fmla="*/ 1182488 h 1479935"/>
              <a:gd name="connsiteX959" fmla="*/ 1068391 w 1485658"/>
              <a:gd name="connsiteY959" fmla="*/ 1212925 h 1479935"/>
              <a:gd name="connsiteX960" fmla="*/ 1127783 w 1485658"/>
              <a:gd name="connsiteY960" fmla="*/ 1212925 h 1479935"/>
              <a:gd name="connsiteX961" fmla="*/ 1158336 w 1485658"/>
              <a:gd name="connsiteY961" fmla="*/ 1243362 h 1479935"/>
              <a:gd name="connsiteX962" fmla="*/ 1188888 w 1485658"/>
              <a:gd name="connsiteY962" fmla="*/ 1212925 h 1479935"/>
              <a:gd name="connsiteX963" fmla="*/ 1158336 w 1485658"/>
              <a:gd name="connsiteY963" fmla="*/ 1182488 h 1479935"/>
              <a:gd name="connsiteX964" fmla="*/ 1127783 w 1485658"/>
              <a:gd name="connsiteY964" fmla="*/ 1212925 h 1479935"/>
              <a:gd name="connsiteX965" fmla="*/ 1187080 w 1485658"/>
              <a:gd name="connsiteY965" fmla="*/ 1212925 h 1479935"/>
              <a:gd name="connsiteX966" fmla="*/ 1217633 w 1485658"/>
              <a:gd name="connsiteY966" fmla="*/ 1243362 h 1479935"/>
              <a:gd name="connsiteX967" fmla="*/ 1248185 w 1485658"/>
              <a:gd name="connsiteY967" fmla="*/ 1212925 h 1479935"/>
              <a:gd name="connsiteX968" fmla="*/ 1217633 w 1485658"/>
              <a:gd name="connsiteY968" fmla="*/ 1182488 h 1479935"/>
              <a:gd name="connsiteX969" fmla="*/ 1187080 w 1485658"/>
              <a:gd name="connsiteY969" fmla="*/ 1212925 h 1479935"/>
              <a:gd name="connsiteX970" fmla="*/ 1305769 w 1485658"/>
              <a:gd name="connsiteY970" fmla="*/ 1212925 h 1479935"/>
              <a:gd name="connsiteX971" fmla="*/ 1336322 w 1485658"/>
              <a:gd name="connsiteY971" fmla="*/ 1243362 h 1479935"/>
              <a:gd name="connsiteX972" fmla="*/ 1366874 w 1485658"/>
              <a:gd name="connsiteY972" fmla="*/ 1212925 h 1479935"/>
              <a:gd name="connsiteX973" fmla="*/ 1336322 w 1485658"/>
              <a:gd name="connsiteY973" fmla="*/ 1182488 h 1479935"/>
              <a:gd name="connsiteX974" fmla="*/ 1305769 w 1485658"/>
              <a:gd name="connsiteY974" fmla="*/ 1212925 h 1479935"/>
              <a:gd name="connsiteX975" fmla="*/ 1365161 w 1485658"/>
              <a:gd name="connsiteY975" fmla="*/ 1212925 h 1479935"/>
              <a:gd name="connsiteX976" fmla="*/ 1395714 w 1485658"/>
              <a:gd name="connsiteY976" fmla="*/ 1243362 h 1479935"/>
              <a:gd name="connsiteX977" fmla="*/ 1426266 w 1485658"/>
              <a:gd name="connsiteY977" fmla="*/ 1212925 h 1479935"/>
              <a:gd name="connsiteX978" fmla="*/ 1395714 w 1485658"/>
              <a:gd name="connsiteY978" fmla="*/ 1182488 h 1479935"/>
              <a:gd name="connsiteX979" fmla="*/ 1365161 w 1485658"/>
              <a:gd name="connsiteY979" fmla="*/ 1212925 h 1479935"/>
              <a:gd name="connsiteX980" fmla="*/ 1424553 w 1485658"/>
              <a:gd name="connsiteY980" fmla="*/ 1212925 h 1479935"/>
              <a:gd name="connsiteX981" fmla="*/ 1455106 w 1485658"/>
              <a:gd name="connsiteY981" fmla="*/ 1243362 h 1479935"/>
              <a:gd name="connsiteX982" fmla="*/ 1485658 w 1485658"/>
              <a:gd name="connsiteY982" fmla="*/ 1212925 h 1479935"/>
              <a:gd name="connsiteX983" fmla="*/ 1455106 w 1485658"/>
              <a:gd name="connsiteY983" fmla="*/ 1182488 h 1479935"/>
              <a:gd name="connsiteX984" fmla="*/ 1424553 w 1485658"/>
              <a:gd name="connsiteY984" fmla="*/ 1212925 h 1479935"/>
              <a:gd name="connsiteX985" fmla="*/ 474851 w 1485658"/>
              <a:gd name="connsiteY985" fmla="*/ 1272092 h 1479935"/>
              <a:gd name="connsiteX986" fmla="*/ 505404 w 1485658"/>
              <a:gd name="connsiteY986" fmla="*/ 1302529 h 1479935"/>
              <a:gd name="connsiteX987" fmla="*/ 535956 w 1485658"/>
              <a:gd name="connsiteY987" fmla="*/ 1272092 h 1479935"/>
              <a:gd name="connsiteX988" fmla="*/ 505404 w 1485658"/>
              <a:gd name="connsiteY988" fmla="*/ 1241655 h 1479935"/>
              <a:gd name="connsiteX989" fmla="*/ 474851 w 1485658"/>
              <a:gd name="connsiteY989" fmla="*/ 1272092 h 1479935"/>
              <a:gd name="connsiteX990" fmla="*/ 534243 w 1485658"/>
              <a:gd name="connsiteY990" fmla="*/ 1272092 h 1479935"/>
              <a:gd name="connsiteX991" fmla="*/ 564796 w 1485658"/>
              <a:gd name="connsiteY991" fmla="*/ 1302529 h 1479935"/>
              <a:gd name="connsiteX992" fmla="*/ 595348 w 1485658"/>
              <a:gd name="connsiteY992" fmla="*/ 1272092 h 1479935"/>
              <a:gd name="connsiteX993" fmla="*/ 564796 w 1485658"/>
              <a:gd name="connsiteY993" fmla="*/ 1241655 h 1479935"/>
              <a:gd name="connsiteX994" fmla="*/ 534243 w 1485658"/>
              <a:gd name="connsiteY994" fmla="*/ 1272092 h 1479935"/>
              <a:gd name="connsiteX995" fmla="*/ 712324 w 1485658"/>
              <a:gd name="connsiteY995" fmla="*/ 1272092 h 1479935"/>
              <a:gd name="connsiteX996" fmla="*/ 742877 w 1485658"/>
              <a:gd name="connsiteY996" fmla="*/ 1302529 h 1479935"/>
              <a:gd name="connsiteX997" fmla="*/ 773429 w 1485658"/>
              <a:gd name="connsiteY997" fmla="*/ 1272092 h 1479935"/>
              <a:gd name="connsiteX998" fmla="*/ 742877 w 1485658"/>
              <a:gd name="connsiteY998" fmla="*/ 1241655 h 1479935"/>
              <a:gd name="connsiteX999" fmla="*/ 712324 w 1485658"/>
              <a:gd name="connsiteY999" fmla="*/ 1272092 h 1479935"/>
              <a:gd name="connsiteX1000" fmla="*/ 771621 w 1485658"/>
              <a:gd name="connsiteY1000" fmla="*/ 1272092 h 1479935"/>
              <a:gd name="connsiteX1001" fmla="*/ 802174 w 1485658"/>
              <a:gd name="connsiteY1001" fmla="*/ 1302529 h 1479935"/>
              <a:gd name="connsiteX1002" fmla="*/ 832726 w 1485658"/>
              <a:gd name="connsiteY1002" fmla="*/ 1272092 h 1479935"/>
              <a:gd name="connsiteX1003" fmla="*/ 802174 w 1485658"/>
              <a:gd name="connsiteY1003" fmla="*/ 1241655 h 1479935"/>
              <a:gd name="connsiteX1004" fmla="*/ 771621 w 1485658"/>
              <a:gd name="connsiteY1004" fmla="*/ 1272092 h 1479935"/>
              <a:gd name="connsiteX1005" fmla="*/ 831013 w 1485658"/>
              <a:gd name="connsiteY1005" fmla="*/ 1272092 h 1479935"/>
              <a:gd name="connsiteX1006" fmla="*/ 861566 w 1485658"/>
              <a:gd name="connsiteY1006" fmla="*/ 1302529 h 1479935"/>
              <a:gd name="connsiteX1007" fmla="*/ 892118 w 1485658"/>
              <a:gd name="connsiteY1007" fmla="*/ 1272092 h 1479935"/>
              <a:gd name="connsiteX1008" fmla="*/ 861566 w 1485658"/>
              <a:gd name="connsiteY1008" fmla="*/ 1241655 h 1479935"/>
              <a:gd name="connsiteX1009" fmla="*/ 831013 w 1485658"/>
              <a:gd name="connsiteY1009" fmla="*/ 1272092 h 1479935"/>
              <a:gd name="connsiteX1010" fmla="*/ 890310 w 1485658"/>
              <a:gd name="connsiteY1010" fmla="*/ 1272092 h 1479935"/>
              <a:gd name="connsiteX1011" fmla="*/ 920863 w 1485658"/>
              <a:gd name="connsiteY1011" fmla="*/ 1302529 h 1479935"/>
              <a:gd name="connsiteX1012" fmla="*/ 951415 w 1485658"/>
              <a:gd name="connsiteY1012" fmla="*/ 1272092 h 1479935"/>
              <a:gd name="connsiteX1013" fmla="*/ 920863 w 1485658"/>
              <a:gd name="connsiteY1013" fmla="*/ 1241655 h 1479935"/>
              <a:gd name="connsiteX1014" fmla="*/ 890310 w 1485658"/>
              <a:gd name="connsiteY1014" fmla="*/ 1272092 h 1479935"/>
              <a:gd name="connsiteX1015" fmla="*/ 1009094 w 1485658"/>
              <a:gd name="connsiteY1015" fmla="*/ 1272092 h 1479935"/>
              <a:gd name="connsiteX1016" fmla="*/ 1039647 w 1485658"/>
              <a:gd name="connsiteY1016" fmla="*/ 1302529 h 1479935"/>
              <a:gd name="connsiteX1017" fmla="*/ 1070199 w 1485658"/>
              <a:gd name="connsiteY1017" fmla="*/ 1272092 h 1479935"/>
              <a:gd name="connsiteX1018" fmla="*/ 1039647 w 1485658"/>
              <a:gd name="connsiteY1018" fmla="*/ 1241655 h 1479935"/>
              <a:gd name="connsiteX1019" fmla="*/ 1009094 w 1485658"/>
              <a:gd name="connsiteY1019" fmla="*/ 1272092 h 1479935"/>
              <a:gd name="connsiteX1020" fmla="*/ 1068391 w 1485658"/>
              <a:gd name="connsiteY1020" fmla="*/ 1272092 h 1479935"/>
              <a:gd name="connsiteX1021" fmla="*/ 1098944 w 1485658"/>
              <a:gd name="connsiteY1021" fmla="*/ 1302529 h 1479935"/>
              <a:gd name="connsiteX1022" fmla="*/ 1129496 w 1485658"/>
              <a:gd name="connsiteY1022" fmla="*/ 1272092 h 1479935"/>
              <a:gd name="connsiteX1023" fmla="*/ 1098944 w 1485658"/>
              <a:gd name="connsiteY1023" fmla="*/ 1241655 h 1479935"/>
              <a:gd name="connsiteX1024" fmla="*/ 1068391 w 1485658"/>
              <a:gd name="connsiteY1024" fmla="*/ 1272092 h 1479935"/>
              <a:gd name="connsiteX1025" fmla="*/ 1187080 w 1485658"/>
              <a:gd name="connsiteY1025" fmla="*/ 1272092 h 1479935"/>
              <a:gd name="connsiteX1026" fmla="*/ 1217633 w 1485658"/>
              <a:gd name="connsiteY1026" fmla="*/ 1302529 h 1479935"/>
              <a:gd name="connsiteX1027" fmla="*/ 1248185 w 1485658"/>
              <a:gd name="connsiteY1027" fmla="*/ 1272092 h 1479935"/>
              <a:gd name="connsiteX1028" fmla="*/ 1217633 w 1485658"/>
              <a:gd name="connsiteY1028" fmla="*/ 1241655 h 1479935"/>
              <a:gd name="connsiteX1029" fmla="*/ 1187080 w 1485658"/>
              <a:gd name="connsiteY1029" fmla="*/ 1272092 h 1479935"/>
              <a:gd name="connsiteX1030" fmla="*/ 1246472 w 1485658"/>
              <a:gd name="connsiteY1030" fmla="*/ 1272092 h 1479935"/>
              <a:gd name="connsiteX1031" fmla="*/ 1277025 w 1485658"/>
              <a:gd name="connsiteY1031" fmla="*/ 1302529 h 1479935"/>
              <a:gd name="connsiteX1032" fmla="*/ 1307577 w 1485658"/>
              <a:gd name="connsiteY1032" fmla="*/ 1272092 h 1479935"/>
              <a:gd name="connsiteX1033" fmla="*/ 1277025 w 1485658"/>
              <a:gd name="connsiteY1033" fmla="*/ 1241655 h 1479935"/>
              <a:gd name="connsiteX1034" fmla="*/ 1246472 w 1485658"/>
              <a:gd name="connsiteY1034" fmla="*/ 1272092 h 1479935"/>
              <a:gd name="connsiteX1035" fmla="*/ 1305769 w 1485658"/>
              <a:gd name="connsiteY1035" fmla="*/ 1272092 h 1479935"/>
              <a:gd name="connsiteX1036" fmla="*/ 1336322 w 1485658"/>
              <a:gd name="connsiteY1036" fmla="*/ 1302529 h 1479935"/>
              <a:gd name="connsiteX1037" fmla="*/ 1366874 w 1485658"/>
              <a:gd name="connsiteY1037" fmla="*/ 1272092 h 1479935"/>
              <a:gd name="connsiteX1038" fmla="*/ 1336322 w 1485658"/>
              <a:gd name="connsiteY1038" fmla="*/ 1241655 h 1479935"/>
              <a:gd name="connsiteX1039" fmla="*/ 1305769 w 1485658"/>
              <a:gd name="connsiteY1039" fmla="*/ 1272092 h 1479935"/>
              <a:gd name="connsiteX1040" fmla="*/ 1365161 w 1485658"/>
              <a:gd name="connsiteY1040" fmla="*/ 1272092 h 1479935"/>
              <a:gd name="connsiteX1041" fmla="*/ 1395714 w 1485658"/>
              <a:gd name="connsiteY1041" fmla="*/ 1302529 h 1479935"/>
              <a:gd name="connsiteX1042" fmla="*/ 1426266 w 1485658"/>
              <a:gd name="connsiteY1042" fmla="*/ 1272092 h 1479935"/>
              <a:gd name="connsiteX1043" fmla="*/ 1395714 w 1485658"/>
              <a:gd name="connsiteY1043" fmla="*/ 1241655 h 1479935"/>
              <a:gd name="connsiteX1044" fmla="*/ 1365161 w 1485658"/>
              <a:gd name="connsiteY1044" fmla="*/ 1272092 h 1479935"/>
              <a:gd name="connsiteX1045" fmla="*/ 1424553 w 1485658"/>
              <a:gd name="connsiteY1045" fmla="*/ 1272092 h 1479935"/>
              <a:gd name="connsiteX1046" fmla="*/ 1455106 w 1485658"/>
              <a:gd name="connsiteY1046" fmla="*/ 1302529 h 1479935"/>
              <a:gd name="connsiteX1047" fmla="*/ 1485658 w 1485658"/>
              <a:gd name="connsiteY1047" fmla="*/ 1272092 h 1479935"/>
              <a:gd name="connsiteX1048" fmla="*/ 1455106 w 1485658"/>
              <a:gd name="connsiteY1048" fmla="*/ 1241655 h 1479935"/>
              <a:gd name="connsiteX1049" fmla="*/ 1424553 w 1485658"/>
              <a:gd name="connsiteY1049" fmla="*/ 1272092 h 1479935"/>
              <a:gd name="connsiteX1050" fmla="*/ 474851 w 1485658"/>
              <a:gd name="connsiteY1050" fmla="*/ 1331259 h 1479935"/>
              <a:gd name="connsiteX1051" fmla="*/ 505404 w 1485658"/>
              <a:gd name="connsiteY1051" fmla="*/ 1361696 h 1479935"/>
              <a:gd name="connsiteX1052" fmla="*/ 535956 w 1485658"/>
              <a:gd name="connsiteY1052" fmla="*/ 1331259 h 1479935"/>
              <a:gd name="connsiteX1053" fmla="*/ 505404 w 1485658"/>
              <a:gd name="connsiteY1053" fmla="*/ 1300822 h 1479935"/>
              <a:gd name="connsiteX1054" fmla="*/ 474851 w 1485658"/>
              <a:gd name="connsiteY1054" fmla="*/ 1331259 h 1479935"/>
              <a:gd name="connsiteX1055" fmla="*/ 593635 w 1485658"/>
              <a:gd name="connsiteY1055" fmla="*/ 1331259 h 1479935"/>
              <a:gd name="connsiteX1056" fmla="*/ 624188 w 1485658"/>
              <a:gd name="connsiteY1056" fmla="*/ 1361696 h 1479935"/>
              <a:gd name="connsiteX1057" fmla="*/ 654740 w 1485658"/>
              <a:gd name="connsiteY1057" fmla="*/ 1331259 h 1479935"/>
              <a:gd name="connsiteX1058" fmla="*/ 624188 w 1485658"/>
              <a:gd name="connsiteY1058" fmla="*/ 1300822 h 1479935"/>
              <a:gd name="connsiteX1059" fmla="*/ 593635 w 1485658"/>
              <a:gd name="connsiteY1059" fmla="*/ 1331259 h 1479935"/>
              <a:gd name="connsiteX1060" fmla="*/ 771621 w 1485658"/>
              <a:gd name="connsiteY1060" fmla="*/ 1331259 h 1479935"/>
              <a:gd name="connsiteX1061" fmla="*/ 802174 w 1485658"/>
              <a:gd name="connsiteY1061" fmla="*/ 1361696 h 1479935"/>
              <a:gd name="connsiteX1062" fmla="*/ 832726 w 1485658"/>
              <a:gd name="connsiteY1062" fmla="*/ 1331259 h 1479935"/>
              <a:gd name="connsiteX1063" fmla="*/ 802174 w 1485658"/>
              <a:gd name="connsiteY1063" fmla="*/ 1300822 h 1479935"/>
              <a:gd name="connsiteX1064" fmla="*/ 771621 w 1485658"/>
              <a:gd name="connsiteY1064" fmla="*/ 1331259 h 1479935"/>
              <a:gd name="connsiteX1065" fmla="*/ 831013 w 1485658"/>
              <a:gd name="connsiteY1065" fmla="*/ 1331259 h 1479935"/>
              <a:gd name="connsiteX1066" fmla="*/ 861566 w 1485658"/>
              <a:gd name="connsiteY1066" fmla="*/ 1361696 h 1479935"/>
              <a:gd name="connsiteX1067" fmla="*/ 892118 w 1485658"/>
              <a:gd name="connsiteY1067" fmla="*/ 1331259 h 1479935"/>
              <a:gd name="connsiteX1068" fmla="*/ 861566 w 1485658"/>
              <a:gd name="connsiteY1068" fmla="*/ 1300822 h 1479935"/>
              <a:gd name="connsiteX1069" fmla="*/ 831013 w 1485658"/>
              <a:gd name="connsiteY1069" fmla="*/ 1331259 h 1479935"/>
              <a:gd name="connsiteX1070" fmla="*/ 1246472 w 1485658"/>
              <a:gd name="connsiteY1070" fmla="*/ 1331259 h 1479935"/>
              <a:gd name="connsiteX1071" fmla="*/ 1277025 w 1485658"/>
              <a:gd name="connsiteY1071" fmla="*/ 1361696 h 1479935"/>
              <a:gd name="connsiteX1072" fmla="*/ 1307577 w 1485658"/>
              <a:gd name="connsiteY1072" fmla="*/ 1331259 h 1479935"/>
              <a:gd name="connsiteX1073" fmla="*/ 1277025 w 1485658"/>
              <a:gd name="connsiteY1073" fmla="*/ 1300822 h 1479935"/>
              <a:gd name="connsiteX1074" fmla="*/ 1246472 w 1485658"/>
              <a:gd name="connsiteY1074" fmla="*/ 1331259 h 1479935"/>
              <a:gd name="connsiteX1075" fmla="*/ 1305769 w 1485658"/>
              <a:gd name="connsiteY1075" fmla="*/ 1331259 h 1479935"/>
              <a:gd name="connsiteX1076" fmla="*/ 1336322 w 1485658"/>
              <a:gd name="connsiteY1076" fmla="*/ 1361696 h 1479935"/>
              <a:gd name="connsiteX1077" fmla="*/ 1366874 w 1485658"/>
              <a:gd name="connsiteY1077" fmla="*/ 1331259 h 1479935"/>
              <a:gd name="connsiteX1078" fmla="*/ 1336322 w 1485658"/>
              <a:gd name="connsiteY1078" fmla="*/ 1300822 h 1479935"/>
              <a:gd name="connsiteX1079" fmla="*/ 1305769 w 1485658"/>
              <a:gd name="connsiteY1079" fmla="*/ 1331259 h 1479935"/>
              <a:gd name="connsiteX1080" fmla="*/ 1424553 w 1485658"/>
              <a:gd name="connsiteY1080" fmla="*/ 1331259 h 1479935"/>
              <a:gd name="connsiteX1081" fmla="*/ 1455106 w 1485658"/>
              <a:gd name="connsiteY1081" fmla="*/ 1361696 h 1479935"/>
              <a:gd name="connsiteX1082" fmla="*/ 1485658 w 1485658"/>
              <a:gd name="connsiteY1082" fmla="*/ 1331259 h 1479935"/>
              <a:gd name="connsiteX1083" fmla="*/ 1455106 w 1485658"/>
              <a:gd name="connsiteY1083" fmla="*/ 1300822 h 1479935"/>
              <a:gd name="connsiteX1084" fmla="*/ 1424553 w 1485658"/>
              <a:gd name="connsiteY1084" fmla="*/ 1331259 h 1479935"/>
              <a:gd name="connsiteX1085" fmla="*/ 712324 w 1485658"/>
              <a:gd name="connsiteY1085" fmla="*/ 1390331 h 1479935"/>
              <a:gd name="connsiteX1086" fmla="*/ 742877 w 1485658"/>
              <a:gd name="connsiteY1086" fmla="*/ 1420768 h 1479935"/>
              <a:gd name="connsiteX1087" fmla="*/ 773429 w 1485658"/>
              <a:gd name="connsiteY1087" fmla="*/ 1390331 h 1479935"/>
              <a:gd name="connsiteX1088" fmla="*/ 742877 w 1485658"/>
              <a:gd name="connsiteY1088" fmla="*/ 1359894 h 1479935"/>
              <a:gd name="connsiteX1089" fmla="*/ 712324 w 1485658"/>
              <a:gd name="connsiteY1089" fmla="*/ 1390331 h 1479935"/>
              <a:gd name="connsiteX1090" fmla="*/ 771621 w 1485658"/>
              <a:gd name="connsiteY1090" fmla="*/ 1390331 h 1479935"/>
              <a:gd name="connsiteX1091" fmla="*/ 802174 w 1485658"/>
              <a:gd name="connsiteY1091" fmla="*/ 1420768 h 1479935"/>
              <a:gd name="connsiteX1092" fmla="*/ 832726 w 1485658"/>
              <a:gd name="connsiteY1092" fmla="*/ 1390331 h 1479935"/>
              <a:gd name="connsiteX1093" fmla="*/ 802174 w 1485658"/>
              <a:gd name="connsiteY1093" fmla="*/ 1359894 h 1479935"/>
              <a:gd name="connsiteX1094" fmla="*/ 771621 w 1485658"/>
              <a:gd name="connsiteY1094" fmla="*/ 1390331 h 1479935"/>
              <a:gd name="connsiteX1095" fmla="*/ 949702 w 1485658"/>
              <a:gd name="connsiteY1095" fmla="*/ 1390331 h 1479935"/>
              <a:gd name="connsiteX1096" fmla="*/ 980255 w 1485658"/>
              <a:gd name="connsiteY1096" fmla="*/ 1420768 h 1479935"/>
              <a:gd name="connsiteX1097" fmla="*/ 1010807 w 1485658"/>
              <a:gd name="connsiteY1097" fmla="*/ 1390331 h 1479935"/>
              <a:gd name="connsiteX1098" fmla="*/ 980255 w 1485658"/>
              <a:gd name="connsiteY1098" fmla="*/ 1359894 h 1479935"/>
              <a:gd name="connsiteX1099" fmla="*/ 949702 w 1485658"/>
              <a:gd name="connsiteY1099" fmla="*/ 1390331 h 1479935"/>
              <a:gd name="connsiteX1100" fmla="*/ 1068391 w 1485658"/>
              <a:gd name="connsiteY1100" fmla="*/ 1390331 h 1479935"/>
              <a:gd name="connsiteX1101" fmla="*/ 1098944 w 1485658"/>
              <a:gd name="connsiteY1101" fmla="*/ 1420768 h 1479935"/>
              <a:gd name="connsiteX1102" fmla="*/ 1129496 w 1485658"/>
              <a:gd name="connsiteY1102" fmla="*/ 1390331 h 1479935"/>
              <a:gd name="connsiteX1103" fmla="*/ 1098944 w 1485658"/>
              <a:gd name="connsiteY1103" fmla="*/ 1359894 h 1479935"/>
              <a:gd name="connsiteX1104" fmla="*/ 1068391 w 1485658"/>
              <a:gd name="connsiteY1104" fmla="*/ 1390331 h 1479935"/>
              <a:gd name="connsiteX1105" fmla="*/ 1127783 w 1485658"/>
              <a:gd name="connsiteY1105" fmla="*/ 1390331 h 1479935"/>
              <a:gd name="connsiteX1106" fmla="*/ 1158336 w 1485658"/>
              <a:gd name="connsiteY1106" fmla="*/ 1420768 h 1479935"/>
              <a:gd name="connsiteX1107" fmla="*/ 1188888 w 1485658"/>
              <a:gd name="connsiteY1107" fmla="*/ 1390331 h 1479935"/>
              <a:gd name="connsiteX1108" fmla="*/ 1158336 w 1485658"/>
              <a:gd name="connsiteY1108" fmla="*/ 1359894 h 1479935"/>
              <a:gd name="connsiteX1109" fmla="*/ 1127783 w 1485658"/>
              <a:gd name="connsiteY1109" fmla="*/ 1390331 h 1479935"/>
              <a:gd name="connsiteX1110" fmla="*/ 1187080 w 1485658"/>
              <a:gd name="connsiteY1110" fmla="*/ 1390331 h 1479935"/>
              <a:gd name="connsiteX1111" fmla="*/ 1217633 w 1485658"/>
              <a:gd name="connsiteY1111" fmla="*/ 1420768 h 1479935"/>
              <a:gd name="connsiteX1112" fmla="*/ 1248185 w 1485658"/>
              <a:gd name="connsiteY1112" fmla="*/ 1390331 h 1479935"/>
              <a:gd name="connsiteX1113" fmla="*/ 1217633 w 1485658"/>
              <a:gd name="connsiteY1113" fmla="*/ 1359894 h 1479935"/>
              <a:gd name="connsiteX1114" fmla="*/ 1187080 w 1485658"/>
              <a:gd name="connsiteY1114" fmla="*/ 1390331 h 1479935"/>
              <a:gd name="connsiteX1115" fmla="*/ 1246472 w 1485658"/>
              <a:gd name="connsiteY1115" fmla="*/ 1390331 h 1479935"/>
              <a:gd name="connsiteX1116" fmla="*/ 1277025 w 1485658"/>
              <a:gd name="connsiteY1116" fmla="*/ 1420768 h 1479935"/>
              <a:gd name="connsiteX1117" fmla="*/ 1307577 w 1485658"/>
              <a:gd name="connsiteY1117" fmla="*/ 1390331 h 1479935"/>
              <a:gd name="connsiteX1118" fmla="*/ 1277025 w 1485658"/>
              <a:gd name="connsiteY1118" fmla="*/ 1359894 h 1479935"/>
              <a:gd name="connsiteX1119" fmla="*/ 1246472 w 1485658"/>
              <a:gd name="connsiteY1119" fmla="*/ 1390331 h 1479935"/>
              <a:gd name="connsiteX1120" fmla="*/ 1424553 w 1485658"/>
              <a:gd name="connsiteY1120" fmla="*/ 1390331 h 1479935"/>
              <a:gd name="connsiteX1121" fmla="*/ 1455106 w 1485658"/>
              <a:gd name="connsiteY1121" fmla="*/ 1420768 h 1479935"/>
              <a:gd name="connsiteX1122" fmla="*/ 1485658 w 1485658"/>
              <a:gd name="connsiteY1122" fmla="*/ 1390331 h 1479935"/>
              <a:gd name="connsiteX1123" fmla="*/ 1455106 w 1485658"/>
              <a:gd name="connsiteY1123" fmla="*/ 1359894 h 1479935"/>
              <a:gd name="connsiteX1124" fmla="*/ 1424553 w 1485658"/>
              <a:gd name="connsiteY1124" fmla="*/ 1390331 h 1479935"/>
              <a:gd name="connsiteX1125" fmla="*/ 474851 w 1485658"/>
              <a:gd name="connsiteY1125" fmla="*/ 1449498 h 1479935"/>
              <a:gd name="connsiteX1126" fmla="*/ 505404 w 1485658"/>
              <a:gd name="connsiteY1126" fmla="*/ 1479935 h 1479935"/>
              <a:gd name="connsiteX1127" fmla="*/ 535956 w 1485658"/>
              <a:gd name="connsiteY1127" fmla="*/ 1449498 h 1479935"/>
              <a:gd name="connsiteX1128" fmla="*/ 505404 w 1485658"/>
              <a:gd name="connsiteY1128" fmla="*/ 1419061 h 1479935"/>
              <a:gd name="connsiteX1129" fmla="*/ 474851 w 1485658"/>
              <a:gd name="connsiteY1129" fmla="*/ 1449498 h 1479935"/>
              <a:gd name="connsiteX1130" fmla="*/ 593635 w 1485658"/>
              <a:gd name="connsiteY1130" fmla="*/ 1449498 h 1479935"/>
              <a:gd name="connsiteX1131" fmla="*/ 624188 w 1485658"/>
              <a:gd name="connsiteY1131" fmla="*/ 1479935 h 1479935"/>
              <a:gd name="connsiteX1132" fmla="*/ 654740 w 1485658"/>
              <a:gd name="connsiteY1132" fmla="*/ 1449498 h 1479935"/>
              <a:gd name="connsiteX1133" fmla="*/ 624188 w 1485658"/>
              <a:gd name="connsiteY1133" fmla="*/ 1419061 h 1479935"/>
              <a:gd name="connsiteX1134" fmla="*/ 593635 w 1485658"/>
              <a:gd name="connsiteY1134" fmla="*/ 1449498 h 1479935"/>
              <a:gd name="connsiteX1135" fmla="*/ 712324 w 1485658"/>
              <a:gd name="connsiteY1135" fmla="*/ 1449498 h 1479935"/>
              <a:gd name="connsiteX1136" fmla="*/ 742877 w 1485658"/>
              <a:gd name="connsiteY1136" fmla="*/ 1479935 h 1479935"/>
              <a:gd name="connsiteX1137" fmla="*/ 773429 w 1485658"/>
              <a:gd name="connsiteY1137" fmla="*/ 1449498 h 1479935"/>
              <a:gd name="connsiteX1138" fmla="*/ 742877 w 1485658"/>
              <a:gd name="connsiteY1138" fmla="*/ 1419061 h 1479935"/>
              <a:gd name="connsiteX1139" fmla="*/ 712324 w 1485658"/>
              <a:gd name="connsiteY1139" fmla="*/ 1449498 h 1479935"/>
              <a:gd name="connsiteX1140" fmla="*/ 831013 w 1485658"/>
              <a:gd name="connsiteY1140" fmla="*/ 1449498 h 1479935"/>
              <a:gd name="connsiteX1141" fmla="*/ 861566 w 1485658"/>
              <a:gd name="connsiteY1141" fmla="*/ 1479935 h 1479935"/>
              <a:gd name="connsiteX1142" fmla="*/ 892118 w 1485658"/>
              <a:gd name="connsiteY1142" fmla="*/ 1449498 h 1479935"/>
              <a:gd name="connsiteX1143" fmla="*/ 861566 w 1485658"/>
              <a:gd name="connsiteY1143" fmla="*/ 1419061 h 1479935"/>
              <a:gd name="connsiteX1144" fmla="*/ 831013 w 1485658"/>
              <a:gd name="connsiteY1144" fmla="*/ 1449498 h 1479935"/>
              <a:gd name="connsiteX1145" fmla="*/ 1009094 w 1485658"/>
              <a:gd name="connsiteY1145" fmla="*/ 1449498 h 1479935"/>
              <a:gd name="connsiteX1146" fmla="*/ 1039647 w 1485658"/>
              <a:gd name="connsiteY1146" fmla="*/ 1479935 h 1479935"/>
              <a:gd name="connsiteX1147" fmla="*/ 1070199 w 1485658"/>
              <a:gd name="connsiteY1147" fmla="*/ 1449498 h 1479935"/>
              <a:gd name="connsiteX1148" fmla="*/ 1039647 w 1485658"/>
              <a:gd name="connsiteY1148" fmla="*/ 1419061 h 1479935"/>
              <a:gd name="connsiteX1149" fmla="*/ 1009094 w 1485658"/>
              <a:gd name="connsiteY1149" fmla="*/ 1449498 h 1479935"/>
              <a:gd name="connsiteX1150" fmla="*/ 1068391 w 1485658"/>
              <a:gd name="connsiteY1150" fmla="*/ 1449498 h 1479935"/>
              <a:gd name="connsiteX1151" fmla="*/ 1098944 w 1485658"/>
              <a:gd name="connsiteY1151" fmla="*/ 1479935 h 1479935"/>
              <a:gd name="connsiteX1152" fmla="*/ 1129496 w 1485658"/>
              <a:gd name="connsiteY1152" fmla="*/ 1449498 h 1479935"/>
              <a:gd name="connsiteX1153" fmla="*/ 1098944 w 1485658"/>
              <a:gd name="connsiteY1153" fmla="*/ 1419061 h 1479935"/>
              <a:gd name="connsiteX1154" fmla="*/ 1068391 w 1485658"/>
              <a:gd name="connsiteY1154" fmla="*/ 1449498 h 1479935"/>
              <a:gd name="connsiteX1155" fmla="*/ 1127783 w 1485658"/>
              <a:gd name="connsiteY1155" fmla="*/ 1449498 h 1479935"/>
              <a:gd name="connsiteX1156" fmla="*/ 1158336 w 1485658"/>
              <a:gd name="connsiteY1156" fmla="*/ 1479935 h 1479935"/>
              <a:gd name="connsiteX1157" fmla="*/ 1188888 w 1485658"/>
              <a:gd name="connsiteY1157" fmla="*/ 1449498 h 1479935"/>
              <a:gd name="connsiteX1158" fmla="*/ 1158336 w 1485658"/>
              <a:gd name="connsiteY1158" fmla="*/ 1419061 h 1479935"/>
              <a:gd name="connsiteX1159" fmla="*/ 1127783 w 1485658"/>
              <a:gd name="connsiteY1159" fmla="*/ 1449498 h 1479935"/>
              <a:gd name="connsiteX1160" fmla="*/ 1187080 w 1485658"/>
              <a:gd name="connsiteY1160" fmla="*/ 1449498 h 1479935"/>
              <a:gd name="connsiteX1161" fmla="*/ 1217633 w 1485658"/>
              <a:gd name="connsiteY1161" fmla="*/ 1479935 h 1479935"/>
              <a:gd name="connsiteX1162" fmla="*/ 1248185 w 1485658"/>
              <a:gd name="connsiteY1162" fmla="*/ 1449498 h 1479935"/>
              <a:gd name="connsiteX1163" fmla="*/ 1217633 w 1485658"/>
              <a:gd name="connsiteY1163" fmla="*/ 1419061 h 1479935"/>
              <a:gd name="connsiteX1164" fmla="*/ 1187080 w 1485658"/>
              <a:gd name="connsiteY1164" fmla="*/ 1449498 h 1479935"/>
              <a:gd name="connsiteX1165" fmla="*/ 1246472 w 1485658"/>
              <a:gd name="connsiteY1165" fmla="*/ 1449498 h 1479935"/>
              <a:gd name="connsiteX1166" fmla="*/ 1277025 w 1485658"/>
              <a:gd name="connsiteY1166" fmla="*/ 1479935 h 1479935"/>
              <a:gd name="connsiteX1167" fmla="*/ 1307577 w 1485658"/>
              <a:gd name="connsiteY1167" fmla="*/ 1449498 h 1479935"/>
              <a:gd name="connsiteX1168" fmla="*/ 1277025 w 1485658"/>
              <a:gd name="connsiteY1168" fmla="*/ 1419061 h 1479935"/>
              <a:gd name="connsiteX1169" fmla="*/ 1246472 w 1485658"/>
              <a:gd name="connsiteY1169" fmla="*/ 1449498 h 1479935"/>
              <a:gd name="connsiteX1170" fmla="*/ 1305769 w 1485658"/>
              <a:gd name="connsiteY1170" fmla="*/ 1449498 h 1479935"/>
              <a:gd name="connsiteX1171" fmla="*/ 1336322 w 1485658"/>
              <a:gd name="connsiteY1171" fmla="*/ 1479935 h 1479935"/>
              <a:gd name="connsiteX1172" fmla="*/ 1366874 w 1485658"/>
              <a:gd name="connsiteY1172" fmla="*/ 1449498 h 1479935"/>
              <a:gd name="connsiteX1173" fmla="*/ 1336322 w 1485658"/>
              <a:gd name="connsiteY1173" fmla="*/ 1419061 h 1479935"/>
              <a:gd name="connsiteX1174" fmla="*/ 1305769 w 1485658"/>
              <a:gd name="connsiteY1174" fmla="*/ 1449498 h 1479935"/>
              <a:gd name="connsiteX1175" fmla="*/ 1365161 w 1485658"/>
              <a:gd name="connsiteY1175" fmla="*/ 1449498 h 1479935"/>
              <a:gd name="connsiteX1176" fmla="*/ 1395714 w 1485658"/>
              <a:gd name="connsiteY1176" fmla="*/ 1479935 h 1479935"/>
              <a:gd name="connsiteX1177" fmla="*/ 1426266 w 1485658"/>
              <a:gd name="connsiteY1177" fmla="*/ 1449498 h 1479935"/>
              <a:gd name="connsiteX1178" fmla="*/ 1395714 w 1485658"/>
              <a:gd name="connsiteY1178" fmla="*/ 1419061 h 1479935"/>
              <a:gd name="connsiteX1179" fmla="*/ 1365161 w 1485658"/>
              <a:gd name="connsiteY1179" fmla="*/ 1449498 h 1479935"/>
              <a:gd name="connsiteX1180" fmla="*/ 1424553 w 1485658"/>
              <a:gd name="connsiteY1180" fmla="*/ 1449498 h 1479935"/>
              <a:gd name="connsiteX1181" fmla="*/ 1455106 w 1485658"/>
              <a:gd name="connsiteY1181" fmla="*/ 1479935 h 1479935"/>
              <a:gd name="connsiteX1182" fmla="*/ 1485658 w 1485658"/>
              <a:gd name="connsiteY1182" fmla="*/ 1449498 h 1479935"/>
              <a:gd name="connsiteX1183" fmla="*/ 1455106 w 1485658"/>
              <a:gd name="connsiteY1183" fmla="*/ 1419061 h 1479935"/>
              <a:gd name="connsiteX1184" fmla="*/ 1424553 w 1485658"/>
              <a:gd name="connsiteY1184" fmla="*/ 1449498 h 1479935"/>
              <a:gd name="connsiteX1185" fmla="*/ 207777 w 1485658"/>
              <a:gd name="connsiteY1185" fmla="*/ 0 h 1479935"/>
              <a:gd name="connsiteX1186" fmla="*/ 207777 w 1485658"/>
              <a:gd name="connsiteY1186" fmla="*/ 0 h 1479935"/>
              <a:gd name="connsiteX1187" fmla="*/ 415554 w 1485658"/>
              <a:gd name="connsiteY1187" fmla="*/ 206990 h 1479935"/>
              <a:gd name="connsiteX1188" fmla="*/ 415554 w 1485658"/>
              <a:gd name="connsiteY1188" fmla="*/ 206990 h 1479935"/>
              <a:gd name="connsiteX1189" fmla="*/ 207777 w 1485658"/>
              <a:gd name="connsiteY1189" fmla="*/ 413980 h 1479935"/>
              <a:gd name="connsiteX1190" fmla="*/ 207777 w 1485658"/>
              <a:gd name="connsiteY1190" fmla="*/ 413980 h 1479935"/>
              <a:gd name="connsiteX1191" fmla="*/ 0 w 1485658"/>
              <a:gd name="connsiteY1191" fmla="*/ 206990 h 1479935"/>
              <a:gd name="connsiteX1192" fmla="*/ 0 w 1485658"/>
              <a:gd name="connsiteY1192" fmla="*/ 206990 h 1479935"/>
              <a:gd name="connsiteX1193" fmla="*/ 207777 w 1485658"/>
              <a:gd name="connsiteY1193" fmla="*/ 0 h 1479935"/>
              <a:gd name="connsiteX1194" fmla="*/ 356162 w 1485658"/>
              <a:gd name="connsiteY1194" fmla="*/ 206895 h 1479935"/>
              <a:gd name="connsiteX1195" fmla="*/ 356162 w 1485658"/>
              <a:gd name="connsiteY1195" fmla="*/ 206895 h 1479935"/>
              <a:gd name="connsiteX1196" fmla="*/ 207777 w 1485658"/>
              <a:gd name="connsiteY1196" fmla="*/ 59072 h 1479935"/>
              <a:gd name="connsiteX1197" fmla="*/ 207777 w 1485658"/>
              <a:gd name="connsiteY1197" fmla="*/ 59072 h 1479935"/>
              <a:gd name="connsiteX1198" fmla="*/ 59392 w 1485658"/>
              <a:gd name="connsiteY1198" fmla="*/ 206895 h 1479935"/>
              <a:gd name="connsiteX1199" fmla="*/ 59392 w 1485658"/>
              <a:gd name="connsiteY1199" fmla="*/ 206895 h 1479935"/>
              <a:gd name="connsiteX1200" fmla="*/ 207777 w 1485658"/>
              <a:gd name="connsiteY1200" fmla="*/ 354718 h 1479935"/>
              <a:gd name="connsiteX1201" fmla="*/ 207777 w 1485658"/>
              <a:gd name="connsiteY1201" fmla="*/ 354718 h 1479935"/>
              <a:gd name="connsiteX1202" fmla="*/ 356162 w 1485658"/>
              <a:gd name="connsiteY1202" fmla="*/ 206895 h 1479935"/>
              <a:gd name="connsiteX1203" fmla="*/ 1276168 w 1485658"/>
              <a:gd name="connsiteY1203" fmla="*/ 0 h 1479935"/>
              <a:gd name="connsiteX1204" fmla="*/ 1276168 w 1485658"/>
              <a:gd name="connsiteY1204" fmla="*/ 0 h 1479935"/>
              <a:gd name="connsiteX1205" fmla="*/ 1483945 w 1485658"/>
              <a:gd name="connsiteY1205" fmla="*/ 206990 h 1479935"/>
              <a:gd name="connsiteX1206" fmla="*/ 1483945 w 1485658"/>
              <a:gd name="connsiteY1206" fmla="*/ 206990 h 1479935"/>
              <a:gd name="connsiteX1207" fmla="*/ 1276168 w 1485658"/>
              <a:gd name="connsiteY1207" fmla="*/ 413980 h 1479935"/>
              <a:gd name="connsiteX1208" fmla="*/ 1276168 w 1485658"/>
              <a:gd name="connsiteY1208" fmla="*/ 413980 h 1479935"/>
              <a:gd name="connsiteX1209" fmla="*/ 1068391 w 1485658"/>
              <a:gd name="connsiteY1209" fmla="*/ 206990 h 1479935"/>
              <a:gd name="connsiteX1210" fmla="*/ 1068391 w 1485658"/>
              <a:gd name="connsiteY1210" fmla="*/ 206990 h 1479935"/>
              <a:gd name="connsiteX1211" fmla="*/ 1276168 w 1485658"/>
              <a:gd name="connsiteY1211" fmla="*/ 0 h 1479935"/>
              <a:gd name="connsiteX1212" fmla="*/ 1424553 w 1485658"/>
              <a:gd name="connsiteY1212" fmla="*/ 206895 h 1479935"/>
              <a:gd name="connsiteX1213" fmla="*/ 1424553 w 1485658"/>
              <a:gd name="connsiteY1213" fmla="*/ 206895 h 1479935"/>
              <a:gd name="connsiteX1214" fmla="*/ 1276168 w 1485658"/>
              <a:gd name="connsiteY1214" fmla="*/ 59072 h 1479935"/>
              <a:gd name="connsiteX1215" fmla="*/ 1276168 w 1485658"/>
              <a:gd name="connsiteY1215" fmla="*/ 59072 h 1479935"/>
              <a:gd name="connsiteX1216" fmla="*/ 1127783 w 1485658"/>
              <a:gd name="connsiteY1216" fmla="*/ 206895 h 1479935"/>
              <a:gd name="connsiteX1217" fmla="*/ 1127783 w 1485658"/>
              <a:gd name="connsiteY1217" fmla="*/ 206895 h 1479935"/>
              <a:gd name="connsiteX1218" fmla="*/ 1276168 w 1485658"/>
              <a:gd name="connsiteY1218" fmla="*/ 354718 h 1479935"/>
              <a:gd name="connsiteX1219" fmla="*/ 1276168 w 1485658"/>
              <a:gd name="connsiteY1219" fmla="*/ 354718 h 1479935"/>
              <a:gd name="connsiteX1220" fmla="*/ 1424553 w 1485658"/>
              <a:gd name="connsiteY1220" fmla="*/ 206895 h 1479935"/>
              <a:gd name="connsiteX1221" fmla="*/ 207777 w 1485658"/>
              <a:gd name="connsiteY1221" fmla="*/ 1064249 h 1479935"/>
              <a:gd name="connsiteX1222" fmla="*/ 207777 w 1485658"/>
              <a:gd name="connsiteY1222" fmla="*/ 1064249 h 1479935"/>
              <a:gd name="connsiteX1223" fmla="*/ 415554 w 1485658"/>
              <a:gd name="connsiteY1223" fmla="*/ 1271238 h 1479935"/>
              <a:gd name="connsiteX1224" fmla="*/ 415554 w 1485658"/>
              <a:gd name="connsiteY1224" fmla="*/ 1271238 h 1479935"/>
              <a:gd name="connsiteX1225" fmla="*/ 207777 w 1485658"/>
              <a:gd name="connsiteY1225" fmla="*/ 1478228 h 1479935"/>
              <a:gd name="connsiteX1226" fmla="*/ 207777 w 1485658"/>
              <a:gd name="connsiteY1226" fmla="*/ 1478228 h 1479935"/>
              <a:gd name="connsiteX1227" fmla="*/ 0 w 1485658"/>
              <a:gd name="connsiteY1227" fmla="*/ 1271238 h 1479935"/>
              <a:gd name="connsiteX1228" fmla="*/ 0 w 1485658"/>
              <a:gd name="connsiteY1228" fmla="*/ 1271238 h 1479935"/>
              <a:gd name="connsiteX1229" fmla="*/ 207777 w 1485658"/>
              <a:gd name="connsiteY1229" fmla="*/ 1064249 h 1479935"/>
              <a:gd name="connsiteX1230" fmla="*/ 356162 w 1485658"/>
              <a:gd name="connsiteY1230" fmla="*/ 1271238 h 1479935"/>
              <a:gd name="connsiteX1231" fmla="*/ 356162 w 1485658"/>
              <a:gd name="connsiteY1231" fmla="*/ 1271238 h 1479935"/>
              <a:gd name="connsiteX1232" fmla="*/ 207777 w 1485658"/>
              <a:gd name="connsiteY1232" fmla="*/ 1123416 h 1479935"/>
              <a:gd name="connsiteX1233" fmla="*/ 207777 w 1485658"/>
              <a:gd name="connsiteY1233" fmla="*/ 1123416 h 1479935"/>
              <a:gd name="connsiteX1234" fmla="*/ 59392 w 1485658"/>
              <a:gd name="connsiteY1234" fmla="*/ 1271238 h 1479935"/>
              <a:gd name="connsiteX1235" fmla="*/ 59392 w 1485658"/>
              <a:gd name="connsiteY1235" fmla="*/ 1271238 h 1479935"/>
              <a:gd name="connsiteX1236" fmla="*/ 207777 w 1485658"/>
              <a:gd name="connsiteY1236" fmla="*/ 1419061 h 1479935"/>
              <a:gd name="connsiteX1237" fmla="*/ 207777 w 1485658"/>
              <a:gd name="connsiteY1237" fmla="*/ 1419061 h 1479935"/>
              <a:gd name="connsiteX1238" fmla="*/ 356162 w 1485658"/>
              <a:gd name="connsiteY1238" fmla="*/ 1271238 h 1479935"/>
              <a:gd name="connsiteX1239" fmla="*/ 118784 w 1485658"/>
              <a:gd name="connsiteY1239" fmla="*/ 206895 h 1479935"/>
              <a:gd name="connsiteX1240" fmla="*/ 207777 w 1485658"/>
              <a:gd name="connsiteY1240" fmla="*/ 295551 h 1479935"/>
              <a:gd name="connsiteX1241" fmla="*/ 296770 w 1485658"/>
              <a:gd name="connsiteY1241" fmla="*/ 206895 h 1479935"/>
              <a:gd name="connsiteX1242" fmla="*/ 207777 w 1485658"/>
              <a:gd name="connsiteY1242" fmla="*/ 118239 h 1479935"/>
              <a:gd name="connsiteX1243" fmla="*/ 118784 w 1485658"/>
              <a:gd name="connsiteY1243" fmla="*/ 206895 h 1479935"/>
              <a:gd name="connsiteX1244" fmla="*/ 1187080 w 1485658"/>
              <a:gd name="connsiteY1244" fmla="*/ 206895 h 1479935"/>
              <a:gd name="connsiteX1245" fmla="*/ 1276073 w 1485658"/>
              <a:gd name="connsiteY1245" fmla="*/ 295551 h 1479935"/>
              <a:gd name="connsiteX1246" fmla="*/ 1365066 w 1485658"/>
              <a:gd name="connsiteY1246" fmla="*/ 206895 h 1479935"/>
              <a:gd name="connsiteX1247" fmla="*/ 1276073 w 1485658"/>
              <a:gd name="connsiteY1247" fmla="*/ 118239 h 1479935"/>
              <a:gd name="connsiteX1248" fmla="*/ 1187080 w 1485658"/>
              <a:gd name="connsiteY1248" fmla="*/ 206895 h 1479935"/>
              <a:gd name="connsiteX1249" fmla="*/ 118784 w 1485658"/>
              <a:gd name="connsiteY1249" fmla="*/ 1271238 h 1479935"/>
              <a:gd name="connsiteX1250" fmla="*/ 207777 w 1485658"/>
              <a:gd name="connsiteY1250" fmla="*/ 1359894 h 1479935"/>
              <a:gd name="connsiteX1251" fmla="*/ 296770 w 1485658"/>
              <a:gd name="connsiteY1251" fmla="*/ 1271238 h 1479935"/>
              <a:gd name="connsiteX1252" fmla="*/ 207777 w 1485658"/>
              <a:gd name="connsiteY1252" fmla="*/ 1182583 h 1479935"/>
              <a:gd name="connsiteX1253" fmla="*/ 118784 w 1485658"/>
              <a:gd name="connsiteY1253" fmla="*/ 1271238 h 1479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</a:cxnLst>
            <a:rect l="l" t="t" r="r" b="b"/>
            <a:pathLst>
              <a:path w="1485658" h="1479935">
                <a:moveTo>
                  <a:pt x="564796" y="0"/>
                </a:moveTo>
                <a:cubicBezTo>
                  <a:pt x="581643" y="0"/>
                  <a:pt x="595348" y="13654"/>
                  <a:pt x="595348" y="30437"/>
                </a:cubicBezTo>
                <a:cubicBezTo>
                  <a:pt x="595348" y="47220"/>
                  <a:pt x="581643" y="60874"/>
                  <a:pt x="564796" y="60874"/>
                </a:cubicBezTo>
                <a:cubicBezTo>
                  <a:pt x="547949" y="60874"/>
                  <a:pt x="534243" y="47220"/>
                  <a:pt x="534243" y="30437"/>
                </a:cubicBezTo>
                <a:cubicBezTo>
                  <a:pt x="534243" y="13654"/>
                  <a:pt x="547949" y="0"/>
                  <a:pt x="564796" y="0"/>
                </a:cubicBezTo>
                <a:close/>
                <a:moveTo>
                  <a:pt x="593635" y="30437"/>
                </a:moveTo>
                <a:cubicBezTo>
                  <a:pt x="593635" y="47220"/>
                  <a:pt x="607341" y="60874"/>
                  <a:pt x="624188" y="60874"/>
                </a:cubicBezTo>
                <a:cubicBezTo>
                  <a:pt x="641035" y="60874"/>
                  <a:pt x="654740" y="47220"/>
                  <a:pt x="654740" y="30437"/>
                </a:cubicBezTo>
                <a:cubicBezTo>
                  <a:pt x="654740" y="13654"/>
                  <a:pt x="641035" y="0"/>
                  <a:pt x="624188" y="0"/>
                </a:cubicBezTo>
                <a:cubicBezTo>
                  <a:pt x="607341" y="0"/>
                  <a:pt x="593635" y="13654"/>
                  <a:pt x="593635" y="30437"/>
                </a:cubicBezTo>
                <a:close/>
                <a:moveTo>
                  <a:pt x="652932" y="30437"/>
                </a:moveTo>
                <a:cubicBezTo>
                  <a:pt x="652932" y="47220"/>
                  <a:pt x="666638" y="60874"/>
                  <a:pt x="683485" y="60874"/>
                </a:cubicBezTo>
                <a:cubicBezTo>
                  <a:pt x="700332" y="60874"/>
                  <a:pt x="714037" y="47220"/>
                  <a:pt x="714037" y="30437"/>
                </a:cubicBezTo>
                <a:cubicBezTo>
                  <a:pt x="714037" y="13654"/>
                  <a:pt x="700332" y="0"/>
                  <a:pt x="683485" y="0"/>
                </a:cubicBezTo>
                <a:cubicBezTo>
                  <a:pt x="666638" y="0"/>
                  <a:pt x="652932" y="13654"/>
                  <a:pt x="652932" y="30437"/>
                </a:cubicBezTo>
                <a:close/>
                <a:moveTo>
                  <a:pt x="831013" y="30437"/>
                </a:moveTo>
                <a:cubicBezTo>
                  <a:pt x="831013" y="47220"/>
                  <a:pt x="844719" y="60874"/>
                  <a:pt x="861566" y="60874"/>
                </a:cubicBezTo>
                <a:cubicBezTo>
                  <a:pt x="878413" y="60874"/>
                  <a:pt x="892118" y="47220"/>
                  <a:pt x="892118" y="30437"/>
                </a:cubicBezTo>
                <a:cubicBezTo>
                  <a:pt x="892118" y="13654"/>
                  <a:pt x="878413" y="0"/>
                  <a:pt x="861566" y="0"/>
                </a:cubicBezTo>
                <a:cubicBezTo>
                  <a:pt x="844719" y="0"/>
                  <a:pt x="831013" y="13654"/>
                  <a:pt x="831013" y="30437"/>
                </a:cubicBezTo>
                <a:close/>
                <a:moveTo>
                  <a:pt x="949702" y="30437"/>
                </a:moveTo>
                <a:cubicBezTo>
                  <a:pt x="949702" y="47220"/>
                  <a:pt x="963408" y="60874"/>
                  <a:pt x="980255" y="60874"/>
                </a:cubicBezTo>
                <a:cubicBezTo>
                  <a:pt x="997101" y="60874"/>
                  <a:pt x="1010807" y="47220"/>
                  <a:pt x="1010807" y="30437"/>
                </a:cubicBezTo>
                <a:cubicBezTo>
                  <a:pt x="1010807" y="13654"/>
                  <a:pt x="997101" y="0"/>
                  <a:pt x="980255" y="0"/>
                </a:cubicBezTo>
                <a:cubicBezTo>
                  <a:pt x="963408" y="0"/>
                  <a:pt x="949702" y="13654"/>
                  <a:pt x="949702" y="30437"/>
                </a:cubicBezTo>
                <a:close/>
                <a:moveTo>
                  <a:pt x="593635" y="89509"/>
                </a:moveTo>
                <a:cubicBezTo>
                  <a:pt x="593635" y="106292"/>
                  <a:pt x="607341" y="119946"/>
                  <a:pt x="624188" y="119946"/>
                </a:cubicBezTo>
                <a:cubicBezTo>
                  <a:pt x="641035" y="119946"/>
                  <a:pt x="654740" y="106292"/>
                  <a:pt x="654740" y="89509"/>
                </a:cubicBezTo>
                <a:cubicBezTo>
                  <a:pt x="654740" y="72726"/>
                  <a:pt x="641035" y="59072"/>
                  <a:pt x="624188" y="59072"/>
                </a:cubicBezTo>
                <a:cubicBezTo>
                  <a:pt x="607341" y="59072"/>
                  <a:pt x="593635" y="72726"/>
                  <a:pt x="593635" y="89509"/>
                </a:cubicBezTo>
                <a:close/>
                <a:moveTo>
                  <a:pt x="771621" y="89509"/>
                </a:moveTo>
                <a:cubicBezTo>
                  <a:pt x="771621" y="106292"/>
                  <a:pt x="785327" y="119946"/>
                  <a:pt x="802174" y="119946"/>
                </a:cubicBezTo>
                <a:cubicBezTo>
                  <a:pt x="819021" y="119946"/>
                  <a:pt x="832726" y="106292"/>
                  <a:pt x="832726" y="89509"/>
                </a:cubicBezTo>
                <a:cubicBezTo>
                  <a:pt x="832726" y="72726"/>
                  <a:pt x="819021" y="59072"/>
                  <a:pt x="802174" y="59072"/>
                </a:cubicBezTo>
                <a:cubicBezTo>
                  <a:pt x="785327" y="59072"/>
                  <a:pt x="771621" y="72726"/>
                  <a:pt x="771621" y="89509"/>
                </a:cubicBezTo>
                <a:close/>
                <a:moveTo>
                  <a:pt x="890310" y="89509"/>
                </a:moveTo>
                <a:cubicBezTo>
                  <a:pt x="890310" y="106292"/>
                  <a:pt x="904016" y="119946"/>
                  <a:pt x="920863" y="119946"/>
                </a:cubicBezTo>
                <a:cubicBezTo>
                  <a:pt x="937709" y="119946"/>
                  <a:pt x="951415" y="106292"/>
                  <a:pt x="951415" y="89509"/>
                </a:cubicBezTo>
                <a:cubicBezTo>
                  <a:pt x="951415" y="72726"/>
                  <a:pt x="937709" y="59072"/>
                  <a:pt x="920863" y="59072"/>
                </a:cubicBezTo>
                <a:cubicBezTo>
                  <a:pt x="904016" y="59072"/>
                  <a:pt x="890310" y="72726"/>
                  <a:pt x="890310" y="89509"/>
                </a:cubicBezTo>
                <a:close/>
                <a:moveTo>
                  <a:pt x="474851" y="148676"/>
                </a:moveTo>
                <a:cubicBezTo>
                  <a:pt x="474851" y="165459"/>
                  <a:pt x="488557" y="179113"/>
                  <a:pt x="505404" y="179113"/>
                </a:cubicBezTo>
                <a:cubicBezTo>
                  <a:pt x="522250" y="179113"/>
                  <a:pt x="535956" y="165459"/>
                  <a:pt x="535956" y="148676"/>
                </a:cubicBezTo>
                <a:cubicBezTo>
                  <a:pt x="535956" y="131893"/>
                  <a:pt x="522250" y="118239"/>
                  <a:pt x="505404" y="118239"/>
                </a:cubicBezTo>
                <a:cubicBezTo>
                  <a:pt x="488557" y="118239"/>
                  <a:pt x="474851" y="131893"/>
                  <a:pt x="474851" y="148676"/>
                </a:cubicBezTo>
                <a:close/>
                <a:moveTo>
                  <a:pt x="712324" y="148676"/>
                </a:moveTo>
                <a:cubicBezTo>
                  <a:pt x="712324" y="165459"/>
                  <a:pt x="726030" y="179113"/>
                  <a:pt x="742877" y="179113"/>
                </a:cubicBezTo>
                <a:cubicBezTo>
                  <a:pt x="759724" y="179113"/>
                  <a:pt x="773429" y="165459"/>
                  <a:pt x="773429" y="148676"/>
                </a:cubicBezTo>
                <a:cubicBezTo>
                  <a:pt x="773429" y="131893"/>
                  <a:pt x="759724" y="118239"/>
                  <a:pt x="742877" y="118239"/>
                </a:cubicBezTo>
                <a:cubicBezTo>
                  <a:pt x="726030" y="118239"/>
                  <a:pt x="712324" y="131893"/>
                  <a:pt x="712324" y="148676"/>
                </a:cubicBezTo>
                <a:close/>
                <a:moveTo>
                  <a:pt x="949702" y="148676"/>
                </a:moveTo>
                <a:cubicBezTo>
                  <a:pt x="949702" y="165459"/>
                  <a:pt x="963408" y="179113"/>
                  <a:pt x="980255" y="179113"/>
                </a:cubicBezTo>
                <a:cubicBezTo>
                  <a:pt x="997101" y="179113"/>
                  <a:pt x="1010807" y="165459"/>
                  <a:pt x="1010807" y="148676"/>
                </a:cubicBezTo>
                <a:cubicBezTo>
                  <a:pt x="1010807" y="131893"/>
                  <a:pt x="997101" y="118239"/>
                  <a:pt x="980255" y="118239"/>
                </a:cubicBezTo>
                <a:cubicBezTo>
                  <a:pt x="963408" y="118239"/>
                  <a:pt x="949702" y="131893"/>
                  <a:pt x="949702" y="148676"/>
                </a:cubicBezTo>
                <a:close/>
                <a:moveTo>
                  <a:pt x="474851" y="207843"/>
                </a:moveTo>
                <a:cubicBezTo>
                  <a:pt x="474851" y="224626"/>
                  <a:pt x="488557" y="238280"/>
                  <a:pt x="505404" y="238280"/>
                </a:cubicBezTo>
                <a:cubicBezTo>
                  <a:pt x="522250" y="238280"/>
                  <a:pt x="535956" y="224626"/>
                  <a:pt x="535956" y="207843"/>
                </a:cubicBezTo>
                <a:cubicBezTo>
                  <a:pt x="535956" y="191060"/>
                  <a:pt x="522250" y="177406"/>
                  <a:pt x="505404" y="177406"/>
                </a:cubicBezTo>
                <a:cubicBezTo>
                  <a:pt x="488557" y="177406"/>
                  <a:pt x="474851" y="191060"/>
                  <a:pt x="474851" y="207843"/>
                </a:cubicBezTo>
                <a:close/>
                <a:moveTo>
                  <a:pt x="534243" y="207843"/>
                </a:moveTo>
                <a:cubicBezTo>
                  <a:pt x="534243" y="224626"/>
                  <a:pt x="547949" y="238280"/>
                  <a:pt x="564796" y="238280"/>
                </a:cubicBezTo>
                <a:cubicBezTo>
                  <a:pt x="581643" y="238280"/>
                  <a:pt x="595348" y="224626"/>
                  <a:pt x="595348" y="207843"/>
                </a:cubicBezTo>
                <a:cubicBezTo>
                  <a:pt x="595348" y="191060"/>
                  <a:pt x="581643" y="177406"/>
                  <a:pt x="564796" y="177406"/>
                </a:cubicBezTo>
                <a:cubicBezTo>
                  <a:pt x="547949" y="177406"/>
                  <a:pt x="534243" y="191060"/>
                  <a:pt x="534243" y="207843"/>
                </a:cubicBezTo>
                <a:close/>
                <a:moveTo>
                  <a:pt x="593635" y="207843"/>
                </a:moveTo>
                <a:cubicBezTo>
                  <a:pt x="593635" y="224626"/>
                  <a:pt x="607341" y="238280"/>
                  <a:pt x="624188" y="238280"/>
                </a:cubicBezTo>
                <a:cubicBezTo>
                  <a:pt x="641035" y="238280"/>
                  <a:pt x="654740" y="224626"/>
                  <a:pt x="654740" y="207843"/>
                </a:cubicBezTo>
                <a:cubicBezTo>
                  <a:pt x="654740" y="191060"/>
                  <a:pt x="641035" y="177406"/>
                  <a:pt x="624188" y="177406"/>
                </a:cubicBezTo>
                <a:cubicBezTo>
                  <a:pt x="607341" y="177406"/>
                  <a:pt x="593635" y="191060"/>
                  <a:pt x="593635" y="207843"/>
                </a:cubicBezTo>
                <a:close/>
                <a:moveTo>
                  <a:pt x="652932" y="207843"/>
                </a:moveTo>
                <a:cubicBezTo>
                  <a:pt x="652932" y="224626"/>
                  <a:pt x="666638" y="238280"/>
                  <a:pt x="683485" y="238280"/>
                </a:cubicBezTo>
                <a:cubicBezTo>
                  <a:pt x="700332" y="238280"/>
                  <a:pt x="714037" y="224626"/>
                  <a:pt x="714037" y="207843"/>
                </a:cubicBezTo>
                <a:cubicBezTo>
                  <a:pt x="714037" y="191060"/>
                  <a:pt x="700332" y="177406"/>
                  <a:pt x="683485" y="177406"/>
                </a:cubicBezTo>
                <a:cubicBezTo>
                  <a:pt x="666638" y="177406"/>
                  <a:pt x="652932" y="191060"/>
                  <a:pt x="652932" y="207843"/>
                </a:cubicBezTo>
                <a:close/>
                <a:moveTo>
                  <a:pt x="771621" y="207843"/>
                </a:moveTo>
                <a:cubicBezTo>
                  <a:pt x="771621" y="224626"/>
                  <a:pt x="785327" y="238280"/>
                  <a:pt x="802174" y="238280"/>
                </a:cubicBezTo>
                <a:cubicBezTo>
                  <a:pt x="819021" y="238280"/>
                  <a:pt x="832726" y="224626"/>
                  <a:pt x="832726" y="207843"/>
                </a:cubicBezTo>
                <a:cubicBezTo>
                  <a:pt x="832726" y="191060"/>
                  <a:pt x="819021" y="177406"/>
                  <a:pt x="802174" y="177406"/>
                </a:cubicBezTo>
                <a:cubicBezTo>
                  <a:pt x="785327" y="177406"/>
                  <a:pt x="771621" y="191060"/>
                  <a:pt x="771621" y="207843"/>
                </a:cubicBezTo>
                <a:close/>
                <a:moveTo>
                  <a:pt x="831013" y="207843"/>
                </a:moveTo>
                <a:cubicBezTo>
                  <a:pt x="831013" y="224626"/>
                  <a:pt x="844719" y="238280"/>
                  <a:pt x="861566" y="238280"/>
                </a:cubicBezTo>
                <a:cubicBezTo>
                  <a:pt x="878413" y="238280"/>
                  <a:pt x="892118" y="224626"/>
                  <a:pt x="892118" y="207843"/>
                </a:cubicBezTo>
                <a:cubicBezTo>
                  <a:pt x="892118" y="191060"/>
                  <a:pt x="878413" y="177406"/>
                  <a:pt x="861566" y="177406"/>
                </a:cubicBezTo>
                <a:cubicBezTo>
                  <a:pt x="844719" y="177406"/>
                  <a:pt x="831013" y="191060"/>
                  <a:pt x="831013" y="207843"/>
                </a:cubicBezTo>
                <a:close/>
                <a:moveTo>
                  <a:pt x="474851" y="266915"/>
                </a:moveTo>
                <a:cubicBezTo>
                  <a:pt x="474851" y="283698"/>
                  <a:pt x="488557" y="297352"/>
                  <a:pt x="505404" y="297352"/>
                </a:cubicBezTo>
                <a:cubicBezTo>
                  <a:pt x="522250" y="297352"/>
                  <a:pt x="535956" y="283698"/>
                  <a:pt x="535956" y="266915"/>
                </a:cubicBezTo>
                <a:cubicBezTo>
                  <a:pt x="535956" y="250133"/>
                  <a:pt x="522250" y="236479"/>
                  <a:pt x="505404" y="236479"/>
                </a:cubicBezTo>
                <a:cubicBezTo>
                  <a:pt x="488557" y="236479"/>
                  <a:pt x="474851" y="250133"/>
                  <a:pt x="474851" y="266915"/>
                </a:cubicBezTo>
                <a:close/>
                <a:moveTo>
                  <a:pt x="652932" y="266915"/>
                </a:moveTo>
                <a:cubicBezTo>
                  <a:pt x="652932" y="283698"/>
                  <a:pt x="666638" y="297352"/>
                  <a:pt x="683485" y="297352"/>
                </a:cubicBezTo>
                <a:cubicBezTo>
                  <a:pt x="700332" y="297352"/>
                  <a:pt x="714037" y="283698"/>
                  <a:pt x="714037" y="266915"/>
                </a:cubicBezTo>
                <a:cubicBezTo>
                  <a:pt x="714037" y="250133"/>
                  <a:pt x="700332" y="236479"/>
                  <a:pt x="683485" y="236479"/>
                </a:cubicBezTo>
                <a:cubicBezTo>
                  <a:pt x="666638" y="236479"/>
                  <a:pt x="652932" y="250133"/>
                  <a:pt x="652932" y="266915"/>
                </a:cubicBezTo>
                <a:close/>
                <a:moveTo>
                  <a:pt x="712324" y="266915"/>
                </a:moveTo>
                <a:cubicBezTo>
                  <a:pt x="712324" y="283698"/>
                  <a:pt x="726030" y="297352"/>
                  <a:pt x="742877" y="297352"/>
                </a:cubicBezTo>
                <a:cubicBezTo>
                  <a:pt x="759724" y="297352"/>
                  <a:pt x="773429" y="283698"/>
                  <a:pt x="773429" y="266915"/>
                </a:cubicBezTo>
                <a:cubicBezTo>
                  <a:pt x="773429" y="250133"/>
                  <a:pt x="759724" y="236479"/>
                  <a:pt x="742877" y="236479"/>
                </a:cubicBezTo>
                <a:cubicBezTo>
                  <a:pt x="726030" y="236479"/>
                  <a:pt x="712324" y="250133"/>
                  <a:pt x="712324" y="266915"/>
                </a:cubicBezTo>
                <a:close/>
                <a:moveTo>
                  <a:pt x="831013" y="266915"/>
                </a:moveTo>
                <a:cubicBezTo>
                  <a:pt x="831013" y="283698"/>
                  <a:pt x="844719" y="297352"/>
                  <a:pt x="861566" y="297352"/>
                </a:cubicBezTo>
                <a:cubicBezTo>
                  <a:pt x="878413" y="297352"/>
                  <a:pt x="892118" y="283698"/>
                  <a:pt x="892118" y="266915"/>
                </a:cubicBezTo>
                <a:cubicBezTo>
                  <a:pt x="892118" y="250133"/>
                  <a:pt x="878413" y="236479"/>
                  <a:pt x="861566" y="236479"/>
                </a:cubicBezTo>
                <a:cubicBezTo>
                  <a:pt x="844719" y="236479"/>
                  <a:pt x="831013" y="250133"/>
                  <a:pt x="831013" y="266915"/>
                </a:cubicBezTo>
                <a:close/>
                <a:moveTo>
                  <a:pt x="474851" y="326083"/>
                </a:moveTo>
                <a:cubicBezTo>
                  <a:pt x="474851" y="342866"/>
                  <a:pt x="488557" y="356519"/>
                  <a:pt x="505404" y="356519"/>
                </a:cubicBezTo>
                <a:cubicBezTo>
                  <a:pt x="522250" y="356519"/>
                  <a:pt x="535956" y="342866"/>
                  <a:pt x="535956" y="326083"/>
                </a:cubicBezTo>
                <a:cubicBezTo>
                  <a:pt x="535956" y="309300"/>
                  <a:pt x="522250" y="295646"/>
                  <a:pt x="505404" y="295646"/>
                </a:cubicBezTo>
                <a:cubicBezTo>
                  <a:pt x="488557" y="295646"/>
                  <a:pt x="474851" y="309300"/>
                  <a:pt x="474851" y="326083"/>
                </a:cubicBezTo>
                <a:close/>
                <a:moveTo>
                  <a:pt x="593635" y="326083"/>
                </a:moveTo>
                <a:cubicBezTo>
                  <a:pt x="593635" y="342866"/>
                  <a:pt x="607341" y="356519"/>
                  <a:pt x="624188" y="356519"/>
                </a:cubicBezTo>
                <a:cubicBezTo>
                  <a:pt x="641035" y="356519"/>
                  <a:pt x="654740" y="342866"/>
                  <a:pt x="654740" y="326083"/>
                </a:cubicBezTo>
                <a:cubicBezTo>
                  <a:pt x="654740" y="309300"/>
                  <a:pt x="641035" y="295646"/>
                  <a:pt x="624188" y="295646"/>
                </a:cubicBezTo>
                <a:cubicBezTo>
                  <a:pt x="607341" y="295646"/>
                  <a:pt x="593635" y="309300"/>
                  <a:pt x="593635" y="326083"/>
                </a:cubicBezTo>
                <a:close/>
                <a:moveTo>
                  <a:pt x="831013" y="326083"/>
                </a:moveTo>
                <a:cubicBezTo>
                  <a:pt x="831013" y="342866"/>
                  <a:pt x="844719" y="356519"/>
                  <a:pt x="861566" y="356519"/>
                </a:cubicBezTo>
                <a:cubicBezTo>
                  <a:pt x="878413" y="356519"/>
                  <a:pt x="892118" y="342866"/>
                  <a:pt x="892118" y="326083"/>
                </a:cubicBezTo>
                <a:cubicBezTo>
                  <a:pt x="892118" y="309300"/>
                  <a:pt x="878413" y="295646"/>
                  <a:pt x="861566" y="295646"/>
                </a:cubicBezTo>
                <a:cubicBezTo>
                  <a:pt x="844719" y="295646"/>
                  <a:pt x="831013" y="309300"/>
                  <a:pt x="831013" y="326083"/>
                </a:cubicBezTo>
                <a:close/>
                <a:moveTo>
                  <a:pt x="890310" y="326083"/>
                </a:moveTo>
                <a:cubicBezTo>
                  <a:pt x="890310" y="342866"/>
                  <a:pt x="904016" y="356519"/>
                  <a:pt x="920863" y="356519"/>
                </a:cubicBezTo>
                <a:cubicBezTo>
                  <a:pt x="937709" y="356519"/>
                  <a:pt x="951415" y="342866"/>
                  <a:pt x="951415" y="326083"/>
                </a:cubicBezTo>
                <a:cubicBezTo>
                  <a:pt x="951415" y="309300"/>
                  <a:pt x="937709" y="295646"/>
                  <a:pt x="920863" y="295646"/>
                </a:cubicBezTo>
                <a:cubicBezTo>
                  <a:pt x="904016" y="295646"/>
                  <a:pt x="890310" y="309300"/>
                  <a:pt x="890310" y="326083"/>
                </a:cubicBezTo>
                <a:close/>
                <a:moveTo>
                  <a:pt x="949702" y="326083"/>
                </a:moveTo>
                <a:cubicBezTo>
                  <a:pt x="949702" y="342866"/>
                  <a:pt x="963408" y="356519"/>
                  <a:pt x="980255" y="356519"/>
                </a:cubicBezTo>
                <a:cubicBezTo>
                  <a:pt x="997101" y="356519"/>
                  <a:pt x="1010807" y="342866"/>
                  <a:pt x="1010807" y="326083"/>
                </a:cubicBezTo>
                <a:cubicBezTo>
                  <a:pt x="1010807" y="309300"/>
                  <a:pt x="997101" y="295646"/>
                  <a:pt x="980255" y="295646"/>
                </a:cubicBezTo>
                <a:cubicBezTo>
                  <a:pt x="963408" y="295646"/>
                  <a:pt x="949702" y="309300"/>
                  <a:pt x="949702" y="326083"/>
                </a:cubicBezTo>
                <a:close/>
                <a:moveTo>
                  <a:pt x="474851" y="385155"/>
                </a:moveTo>
                <a:cubicBezTo>
                  <a:pt x="474851" y="401938"/>
                  <a:pt x="488557" y="415592"/>
                  <a:pt x="505404" y="415592"/>
                </a:cubicBezTo>
                <a:cubicBezTo>
                  <a:pt x="522250" y="415592"/>
                  <a:pt x="535956" y="401938"/>
                  <a:pt x="535956" y="385155"/>
                </a:cubicBezTo>
                <a:cubicBezTo>
                  <a:pt x="535956" y="368372"/>
                  <a:pt x="522250" y="354718"/>
                  <a:pt x="505404" y="354718"/>
                </a:cubicBezTo>
                <a:cubicBezTo>
                  <a:pt x="488557" y="354718"/>
                  <a:pt x="474851" y="368372"/>
                  <a:pt x="474851" y="385155"/>
                </a:cubicBezTo>
                <a:close/>
                <a:moveTo>
                  <a:pt x="593635" y="385155"/>
                </a:moveTo>
                <a:cubicBezTo>
                  <a:pt x="593635" y="401938"/>
                  <a:pt x="607341" y="415592"/>
                  <a:pt x="624188" y="415592"/>
                </a:cubicBezTo>
                <a:cubicBezTo>
                  <a:pt x="641035" y="415592"/>
                  <a:pt x="654740" y="401938"/>
                  <a:pt x="654740" y="385155"/>
                </a:cubicBezTo>
                <a:cubicBezTo>
                  <a:pt x="654740" y="368372"/>
                  <a:pt x="641035" y="354718"/>
                  <a:pt x="624188" y="354718"/>
                </a:cubicBezTo>
                <a:cubicBezTo>
                  <a:pt x="607341" y="354718"/>
                  <a:pt x="593635" y="368372"/>
                  <a:pt x="593635" y="385155"/>
                </a:cubicBezTo>
                <a:close/>
                <a:moveTo>
                  <a:pt x="712324" y="385155"/>
                </a:moveTo>
                <a:cubicBezTo>
                  <a:pt x="712324" y="401938"/>
                  <a:pt x="726030" y="415592"/>
                  <a:pt x="742877" y="415592"/>
                </a:cubicBezTo>
                <a:cubicBezTo>
                  <a:pt x="759724" y="415592"/>
                  <a:pt x="773429" y="401938"/>
                  <a:pt x="773429" y="385155"/>
                </a:cubicBezTo>
                <a:cubicBezTo>
                  <a:pt x="773429" y="368372"/>
                  <a:pt x="759724" y="354718"/>
                  <a:pt x="742877" y="354718"/>
                </a:cubicBezTo>
                <a:cubicBezTo>
                  <a:pt x="726030" y="354718"/>
                  <a:pt x="712324" y="368372"/>
                  <a:pt x="712324" y="385155"/>
                </a:cubicBezTo>
                <a:close/>
                <a:moveTo>
                  <a:pt x="831013" y="385155"/>
                </a:moveTo>
                <a:cubicBezTo>
                  <a:pt x="831013" y="401938"/>
                  <a:pt x="844719" y="415592"/>
                  <a:pt x="861566" y="415592"/>
                </a:cubicBezTo>
                <a:cubicBezTo>
                  <a:pt x="878413" y="415592"/>
                  <a:pt x="892118" y="401938"/>
                  <a:pt x="892118" y="385155"/>
                </a:cubicBezTo>
                <a:cubicBezTo>
                  <a:pt x="892118" y="368372"/>
                  <a:pt x="878413" y="354718"/>
                  <a:pt x="861566" y="354718"/>
                </a:cubicBezTo>
                <a:cubicBezTo>
                  <a:pt x="844719" y="354718"/>
                  <a:pt x="831013" y="368372"/>
                  <a:pt x="831013" y="385155"/>
                </a:cubicBezTo>
                <a:close/>
                <a:moveTo>
                  <a:pt x="949702" y="385155"/>
                </a:moveTo>
                <a:cubicBezTo>
                  <a:pt x="949702" y="401938"/>
                  <a:pt x="963408" y="415592"/>
                  <a:pt x="980255" y="415592"/>
                </a:cubicBezTo>
                <a:cubicBezTo>
                  <a:pt x="997101" y="415592"/>
                  <a:pt x="1010807" y="401938"/>
                  <a:pt x="1010807" y="385155"/>
                </a:cubicBezTo>
                <a:cubicBezTo>
                  <a:pt x="1010807" y="368372"/>
                  <a:pt x="997101" y="354718"/>
                  <a:pt x="980255" y="354718"/>
                </a:cubicBezTo>
                <a:cubicBezTo>
                  <a:pt x="963408" y="354718"/>
                  <a:pt x="949702" y="368372"/>
                  <a:pt x="949702" y="385155"/>
                </a:cubicBezTo>
                <a:close/>
                <a:moveTo>
                  <a:pt x="474851" y="444322"/>
                </a:moveTo>
                <a:cubicBezTo>
                  <a:pt x="474851" y="461105"/>
                  <a:pt x="488557" y="474759"/>
                  <a:pt x="505404" y="474759"/>
                </a:cubicBezTo>
                <a:cubicBezTo>
                  <a:pt x="522250" y="474759"/>
                  <a:pt x="535956" y="461105"/>
                  <a:pt x="535956" y="444322"/>
                </a:cubicBezTo>
                <a:cubicBezTo>
                  <a:pt x="535956" y="427539"/>
                  <a:pt x="522250" y="413885"/>
                  <a:pt x="505404" y="413885"/>
                </a:cubicBezTo>
                <a:cubicBezTo>
                  <a:pt x="488557" y="413885"/>
                  <a:pt x="474851" y="427539"/>
                  <a:pt x="474851" y="444322"/>
                </a:cubicBezTo>
                <a:close/>
                <a:moveTo>
                  <a:pt x="831013" y="444322"/>
                </a:moveTo>
                <a:cubicBezTo>
                  <a:pt x="831013" y="461105"/>
                  <a:pt x="844719" y="474759"/>
                  <a:pt x="861566" y="474759"/>
                </a:cubicBezTo>
                <a:cubicBezTo>
                  <a:pt x="878413" y="474759"/>
                  <a:pt x="892118" y="461105"/>
                  <a:pt x="892118" y="444322"/>
                </a:cubicBezTo>
                <a:cubicBezTo>
                  <a:pt x="892118" y="427539"/>
                  <a:pt x="878413" y="413885"/>
                  <a:pt x="861566" y="413885"/>
                </a:cubicBezTo>
                <a:cubicBezTo>
                  <a:pt x="844719" y="413885"/>
                  <a:pt x="831013" y="427539"/>
                  <a:pt x="831013" y="444322"/>
                </a:cubicBezTo>
                <a:close/>
                <a:moveTo>
                  <a:pt x="890310" y="444322"/>
                </a:moveTo>
                <a:cubicBezTo>
                  <a:pt x="890310" y="461105"/>
                  <a:pt x="904016" y="474759"/>
                  <a:pt x="920863" y="474759"/>
                </a:cubicBezTo>
                <a:cubicBezTo>
                  <a:pt x="937709" y="474759"/>
                  <a:pt x="951415" y="461105"/>
                  <a:pt x="951415" y="444322"/>
                </a:cubicBezTo>
                <a:cubicBezTo>
                  <a:pt x="951415" y="427539"/>
                  <a:pt x="937709" y="413885"/>
                  <a:pt x="920863" y="413885"/>
                </a:cubicBezTo>
                <a:cubicBezTo>
                  <a:pt x="904016" y="413885"/>
                  <a:pt x="890310" y="427539"/>
                  <a:pt x="890310" y="444322"/>
                </a:cubicBezTo>
                <a:close/>
                <a:moveTo>
                  <a:pt x="95" y="503394"/>
                </a:moveTo>
                <a:cubicBezTo>
                  <a:pt x="95" y="520177"/>
                  <a:pt x="13801" y="533831"/>
                  <a:pt x="30648" y="533831"/>
                </a:cubicBezTo>
                <a:cubicBezTo>
                  <a:pt x="47495" y="533831"/>
                  <a:pt x="61200" y="520177"/>
                  <a:pt x="61200" y="503394"/>
                </a:cubicBezTo>
                <a:cubicBezTo>
                  <a:pt x="61200" y="486611"/>
                  <a:pt x="47495" y="472957"/>
                  <a:pt x="30648" y="472957"/>
                </a:cubicBezTo>
                <a:cubicBezTo>
                  <a:pt x="13801" y="472957"/>
                  <a:pt x="95" y="486611"/>
                  <a:pt x="95" y="503394"/>
                </a:cubicBezTo>
                <a:close/>
                <a:moveTo>
                  <a:pt x="118784" y="503394"/>
                </a:moveTo>
                <a:cubicBezTo>
                  <a:pt x="118784" y="520177"/>
                  <a:pt x="132490" y="533831"/>
                  <a:pt x="149337" y="533831"/>
                </a:cubicBezTo>
                <a:cubicBezTo>
                  <a:pt x="166184" y="533831"/>
                  <a:pt x="179889" y="520177"/>
                  <a:pt x="179889" y="503394"/>
                </a:cubicBezTo>
                <a:cubicBezTo>
                  <a:pt x="179889" y="486611"/>
                  <a:pt x="166184" y="472957"/>
                  <a:pt x="149337" y="472957"/>
                </a:cubicBezTo>
                <a:cubicBezTo>
                  <a:pt x="132490" y="472957"/>
                  <a:pt x="118784" y="486611"/>
                  <a:pt x="118784" y="503394"/>
                </a:cubicBezTo>
                <a:close/>
                <a:moveTo>
                  <a:pt x="178081" y="503394"/>
                </a:moveTo>
                <a:cubicBezTo>
                  <a:pt x="178081" y="520177"/>
                  <a:pt x="191787" y="533831"/>
                  <a:pt x="208634" y="533831"/>
                </a:cubicBezTo>
                <a:cubicBezTo>
                  <a:pt x="225480" y="533831"/>
                  <a:pt x="239186" y="520177"/>
                  <a:pt x="239186" y="503394"/>
                </a:cubicBezTo>
                <a:cubicBezTo>
                  <a:pt x="239186" y="486611"/>
                  <a:pt x="225480" y="472957"/>
                  <a:pt x="208634" y="472957"/>
                </a:cubicBezTo>
                <a:cubicBezTo>
                  <a:pt x="191787" y="472957"/>
                  <a:pt x="178081" y="486611"/>
                  <a:pt x="178081" y="503394"/>
                </a:cubicBezTo>
                <a:close/>
                <a:moveTo>
                  <a:pt x="237473" y="503394"/>
                </a:moveTo>
                <a:cubicBezTo>
                  <a:pt x="237473" y="520177"/>
                  <a:pt x="251179" y="533831"/>
                  <a:pt x="268026" y="533831"/>
                </a:cubicBezTo>
                <a:cubicBezTo>
                  <a:pt x="284873" y="533831"/>
                  <a:pt x="298578" y="520177"/>
                  <a:pt x="298578" y="503394"/>
                </a:cubicBezTo>
                <a:cubicBezTo>
                  <a:pt x="298578" y="486611"/>
                  <a:pt x="284873" y="472957"/>
                  <a:pt x="268026" y="472957"/>
                </a:cubicBezTo>
                <a:cubicBezTo>
                  <a:pt x="251179" y="472957"/>
                  <a:pt x="237473" y="486611"/>
                  <a:pt x="237473" y="503394"/>
                </a:cubicBezTo>
                <a:close/>
                <a:moveTo>
                  <a:pt x="296865" y="503394"/>
                </a:moveTo>
                <a:cubicBezTo>
                  <a:pt x="296865" y="520177"/>
                  <a:pt x="310571" y="533831"/>
                  <a:pt x="327418" y="533831"/>
                </a:cubicBezTo>
                <a:cubicBezTo>
                  <a:pt x="344265" y="533831"/>
                  <a:pt x="357970" y="520177"/>
                  <a:pt x="357970" y="503394"/>
                </a:cubicBezTo>
                <a:cubicBezTo>
                  <a:pt x="357970" y="486611"/>
                  <a:pt x="344265" y="472957"/>
                  <a:pt x="327418" y="472957"/>
                </a:cubicBezTo>
                <a:cubicBezTo>
                  <a:pt x="310571" y="472957"/>
                  <a:pt x="296865" y="486611"/>
                  <a:pt x="296865" y="503394"/>
                </a:cubicBezTo>
                <a:close/>
                <a:moveTo>
                  <a:pt x="356162" y="503394"/>
                </a:moveTo>
                <a:cubicBezTo>
                  <a:pt x="356162" y="520177"/>
                  <a:pt x="369868" y="533831"/>
                  <a:pt x="386715" y="533831"/>
                </a:cubicBezTo>
                <a:cubicBezTo>
                  <a:pt x="403562" y="533831"/>
                  <a:pt x="417267" y="520177"/>
                  <a:pt x="417267" y="503394"/>
                </a:cubicBezTo>
                <a:cubicBezTo>
                  <a:pt x="417267" y="486611"/>
                  <a:pt x="403562" y="472957"/>
                  <a:pt x="386715" y="472957"/>
                </a:cubicBezTo>
                <a:cubicBezTo>
                  <a:pt x="369868" y="472957"/>
                  <a:pt x="356162" y="486611"/>
                  <a:pt x="356162" y="503394"/>
                </a:cubicBezTo>
                <a:close/>
                <a:moveTo>
                  <a:pt x="534243" y="503394"/>
                </a:moveTo>
                <a:cubicBezTo>
                  <a:pt x="534243" y="520177"/>
                  <a:pt x="547949" y="533831"/>
                  <a:pt x="564796" y="533831"/>
                </a:cubicBezTo>
                <a:cubicBezTo>
                  <a:pt x="581643" y="533831"/>
                  <a:pt x="595348" y="520177"/>
                  <a:pt x="595348" y="503394"/>
                </a:cubicBezTo>
                <a:cubicBezTo>
                  <a:pt x="595348" y="486611"/>
                  <a:pt x="581643" y="472957"/>
                  <a:pt x="564796" y="472957"/>
                </a:cubicBezTo>
                <a:cubicBezTo>
                  <a:pt x="547949" y="472957"/>
                  <a:pt x="534243" y="486611"/>
                  <a:pt x="534243" y="503394"/>
                </a:cubicBezTo>
                <a:close/>
                <a:moveTo>
                  <a:pt x="712324" y="503394"/>
                </a:moveTo>
                <a:cubicBezTo>
                  <a:pt x="712324" y="520177"/>
                  <a:pt x="726030" y="533831"/>
                  <a:pt x="742877" y="533831"/>
                </a:cubicBezTo>
                <a:cubicBezTo>
                  <a:pt x="759724" y="533831"/>
                  <a:pt x="773429" y="520177"/>
                  <a:pt x="773429" y="503394"/>
                </a:cubicBezTo>
                <a:cubicBezTo>
                  <a:pt x="773429" y="486611"/>
                  <a:pt x="759724" y="472957"/>
                  <a:pt x="742877" y="472957"/>
                </a:cubicBezTo>
                <a:cubicBezTo>
                  <a:pt x="726030" y="472957"/>
                  <a:pt x="712324" y="486611"/>
                  <a:pt x="712324" y="503394"/>
                </a:cubicBezTo>
                <a:close/>
                <a:moveTo>
                  <a:pt x="771621" y="503394"/>
                </a:moveTo>
                <a:cubicBezTo>
                  <a:pt x="771621" y="520177"/>
                  <a:pt x="785327" y="533831"/>
                  <a:pt x="802174" y="533831"/>
                </a:cubicBezTo>
                <a:cubicBezTo>
                  <a:pt x="819021" y="533831"/>
                  <a:pt x="832726" y="520177"/>
                  <a:pt x="832726" y="503394"/>
                </a:cubicBezTo>
                <a:cubicBezTo>
                  <a:pt x="832726" y="486611"/>
                  <a:pt x="819021" y="472957"/>
                  <a:pt x="802174" y="472957"/>
                </a:cubicBezTo>
                <a:cubicBezTo>
                  <a:pt x="785327" y="472957"/>
                  <a:pt x="771621" y="486611"/>
                  <a:pt x="771621" y="503394"/>
                </a:cubicBezTo>
                <a:close/>
                <a:moveTo>
                  <a:pt x="949702" y="503394"/>
                </a:moveTo>
                <a:cubicBezTo>
                  <a:pt x="949702" y="520177"/>
                  <a:pt x="963408" y="533831"/>
                  <a:pt x="980255" y="533831"/>
                </a:cubicBezTo>
                <a:cubicBezTo>
                  <a:pt x="997101" y="533831"/>
                  <a:pt x="1010807" y="520177"/>
                  <a:pt x="1010807" y="503394"/>
                </a:cubicBezTo>
                <a:cubicBezTo>
                  <a:pt x="1010807" y="486611"/>
                  <a:pt x="997101" y="472957"/>
                  <a:pt x="980255" y="472957"/>
                </a:cubicBezTo>
                <a:cubicBezTo>
                  <a:pt x="963408" y="472957"/>
                  <a:pt x="949702" y="486611"/>
                  <a:pt x="949702" y="503394"/>
                </a:cubicBezTo>
                <a:close/>
                <a:moveTo>
                  <a:pt x="1068391" y="503394"/>
                </a:moveTo>
                <a:cubicBezTo>
                  <a:pt x="1068391" y="520177"/>
                  <a:pt x="1082097" y="533831"/>
                  <a:pt x="1098944" y="533831"/>
                </a:cubicBezTo>
                <a:cubicBezTo>
                  <a:pt x="1115790" y="533831"/>
                  <a:pt x="1129496" y="520177"/>
                  <a:pt x="1129496" y="503394"/>
                </a:cubicBezTo>
                <a:cubicBezTo>
                  <a:pt x="1129496" y="486611"/>
                  <a:pt x="1115790" y="472957"/>
                  <a:pt x="1098944" y="472957"/>
                </a:cubicBezTo>
                <a:cubicBezTo>
                  <a:pt x="1082097" y="472957"/>
                  <a:pt x="1068391" y="486611"/>
                  <a:pt x="1068391" y="503394"/>
                </a:cubicBezTo>
                <a:close/>
                <a:moveTo>
                  <a:pt x="1127783" y="503394"/>
                </a:moveTo>
                <a:cubicBezTo>
                  <a:pt x="1127783" y="520177"/>
                  <a:pt x="1141489" y="533831"/>
                  <a:pt x="1158336" y="533831"/>
                </a:cubicBezTo>
                <a:cubicBezTo>
                  <a:pt x="1175183" y="533831"/>
                  <a:pt x="1188888" y="520177"/>
                  <a:pt x="1188888" y="503394"/>
                </a:cubicBezTo>
                <a:cubicBezTo>
                  <a:pt x="1188888" y="486611"/>
                  <a:pt x="1175183" y="472957"/>
                  <a:pt x="1158336" y="472957"/>
                </a:cubicBezTo>
                <a:cubicBezTo>
                  <a:pt x="1141489" y="472957"/>
                  <a:pt x="1127783" y="486611"/>
                  <a:pt x="1127783" y="503394"/>
                </a:cubicBezTo>
                <a:close/>
                <a:moveTo>
                  <a:pt x="1187080" y="503394"/>
                </a:moveTo>
                <a:cubicBezTo>
                  <a:pt x="1187080" y="520177"/>
                  <a:pt x="1200786" y="533831"/>
                  <a:pt x="1217633" y="533831"/>
                </a:cubicBezTo>
                <a:cubicBezTo>
                  <a:pt x="1234479" y="533831"/>
                  <a:pt x="1248185" y="520177"/>
                  <a:pt x="1248185" y="503394"/>
                </a:cubicBezTo>
                <a:cubicBezTo>
                  <a:pt x="1248185" y="486611"/>
                  <a:pt x="1234479" y="472957"/>
                  <a:pt x="1217633" y="472957"/>
                </a:cubicBezTo>
                <a:cubicBezTo>
                  <a:pt x="1200786" y="472957"/>
                  <a:pt x="1187080" y="486611"/>
                  <a:pt x="1187080" y="503394"/>
                </a:cubicBezTo>
                <a:close/>
                <a:moveTo>
                  <a:pt x="1246472" y="503394"/>
                </a:moveTo>
                <a:cubicBezTo>
                  <a:pt x="1246472" y="520177"/>
                  <a:pt x="1260178" y="533831"/>
                  <a:pt x="1277025" y="533831"/>
                </a:cubicBezTo>
                <a:cubicBezTo>
                  <a:pt x="1293872" y="533831"/>
                  <a:pt x="1307577" y="520177"/>
                  <a:pt x="1307577" y="503394"/>
                </a:cubicBezTo>
                <a:cubicBezTo>
                  <a:pt x="1307577" y="486611"/>
                  <a:pt x="1293872" y="472957"/>
                  <a:pt x="1277025" y="472957"/>
                </a:cubicBezTo>
                <a:cubicBezTo>
                  <a:pt x="1260178" y="472957"/>
                  <a:pt x="1246472" y="486611"/>
                  <a:pt x="1246472" y="503394"/>
                </a:cubicBezTo>
                <a:close/>
                <a:moveTo>
                  <a:pt x="1305769" y="503394"/>
                </a:moveTo>
                <a:cubicBezTo>
                  <a:pt x="1305769" y="520177"/>
                  <a:pt x="1319475" y="533831"/>
                  <a:pt x="1336322" y="533831"/>
                </a:cubicBezTo>
                <a:cubicBezTo>
                  <a:pt x="1353168" y="533831"/>
                  <a:pt x="1366874" y="520177"/>
                  <a:pt x="1366874" y="503394"/>
                </a:cubicBezTo>
                <a:cubicBezTo>
                  <a:pt x="1366874" y="486611"/>
                  <a:pt x="1353168" y="472957"/>
                  <a:pt x="1336322" y="472957"/>
                </a:cubicBezTo>
                <a:cubicBezTo>
                  <a:pt x="1319475" y="472957"/>
                  <a:pt x="1305769" y="486611"/>
                  <a:pt x="1305769" y="503394"/>
                </a:cubicBezTo>
                <a:close/>
                <a:moveTo>
                  <a:pt x="95" y="562561"/>
                </a:moveTo>
                <a:cubicBezTo>
                  <a:pt x="95" y="579344"/>
                  <a:pt x="13801" y="592998"/>
                  <a:pt x="30648" y="592998"/>
                </a:cubicBezTo>
                <a:cubicBezTo>
                  <a:pt x="47495" y="592998"/>
                  <a:pt x="61200" y="579344"/>
                  <a:pt x="61200" y="562561"/>
                </a:cubicBezTo>
                <a:cubicBezTo>
                  <a:pt x="61200" y="545778"/>
                  <a:pt x="47495" y="532124"/>
                  <a:pt x="30648" y="532124"/>
                </a:cubicBezTo>
                <a:cubicBezTo>
                  <a:pt x="13801" y="532124"/>
                  <a:pt x="95" y="545778"/>
                  <a:pt x="95" y="562561"/>
                </a:cubicBezTo>
                <a:close/>
                <a:moveTo>
                  <a:pt x="118784" y="562561"/>
                </a:moveTo>
                <a:cubicBezTo>
                  <a:pt x="118784" y="579344"/>
                  <a:pt x="132490" y="592998"/>
                  <a:pt x="149337" y="592998"/>
                </a:cubicBezTo>
                <a:cubicBezTo>
                  <a:pt x="166184" y="592998"/>
                  <a:pt x="179889" y="579344"/>
                  <a:pt x="179889" y="562561"/>
                </a:cubicBezTo>
                <a:cubicBezTo>
                  <a:pt x="179889" y="545778"/>
                  <a:pt x="166184" y="532124"/>
                  <a:pt x="149337" y="532124"/>
                </a:cubicBezTo>
                <a:cubicBezTo>
                  <a:pt x="132490" y="532124"/>
                  <a:pt x="118784" y="545778"/>
                  <a:pt x="118784" y="562561"/>
                </a:cubicBezTo>
                <a:close/>
                <a:moveTo>
                  <a:pt x="237473" y="562561"/>
                </a:moveTo>
                <a:cubicBezTo>
                  <a:pt x="237473" y="579344"/>
                  <a:pt x="251179" y="592998"/>
                  <a:pt x="268026" y="592998"/>
                </a:cubicBezTo>
                <a:cubicBezTo>
                  <a:pt x="284873" y="592998"/>
                  <a:pt x="298578" y="579344"/>
                  <a:pt x="298578" y="562561"/>
                </a:cubicBezTo>
                <a:cubicBezTo>
                  <a:pt x="298578" y="545778"/>
                  <a:pt x="284873" y="532124"/>
                  <a:pt x="268026" y="532124"/>
                </a:cubicBezTo>
                <a:cubicBezTo>
                  <a:pt x="251179" y="532124"/>
                  <a:pt x="237473" y="545778"/>
                  <a:pt x="237473" y="562561"/>
                </a:cubicBezTo>
                <a:close/>
                <a:moveTo>
                  <a:pt x="534243" y="562561"/>
                </a:moveTo>
                <a:cubicBezTo>
                  <a:pt x="534243" y="579344"/>
                  <a:pt x="547949" y="592998"/>
                  <a:pt x="564796" y="592998"/>
                </a:cubicBezTo>
                <a:cubicBezTo>
                  <a:pt x="581643" y="592998"/>
                  <a:pt x="595348" y="579344"/>
                  <a:pt x="595348" y="562561"/>
                </a:cubicBezTo>
                <a:cubicBezTo>
                  <a:pt x="595348" y="545778"/>
                  <a:pt x="581643" y="532124"/>
                  <a:pt x="564796" y="532124"/>
                </a:cubicBezTo>
                <a:cubicBezTo>
                  <a:pt x="547949" y="532124"/>
                  <a:pt x="534243" y="545778"/>
                  <a:pt x="534243" y="562561"/>
                </a:cubicBezTo>
                <a:close/>
                <a:moveTo>
                  <a:pt x="712324" y="562561"/>
                </a:moveTo>
                <a:cubicBezTo>
                  <a:pt x="712324" y="579344"/>
                  <a:pt x="726030" y="592998"/>
                  <a:pt x="742877" y="592998"/>
                </a:cubicBezTo>
                <a:cubicBezTo>
                  <a:pt x="759724" y="592998"/>
                  <a:pt x="773429" y="579344"/>
                  <a:pt x="773429" y="562561"/>
                </a:cubicBezTo>
                <a:cubicBezTo>
                  <a:pt x="773429" y="545778"/>
                  <a:pt x="759724" y="532124"/>
                  <a:pt x="742877" y="532124"/>
                </a:cubicBezTo>
                <a:cubicBezTo>
                  <a:pt x="726030" y="532124"/>
                  <a:pt x="712324" y="545778"/>
                  <a:pt x="712324" y="562561"/>
                </a:cubicBezTo>
                <a:close/>
                <a:moveTo>
                  <a:pt x="771621" y="562561"/>
                </a:moveTo>
                <a:cubicBezTo>
                  <a:pt x="771621" y="579344"/>
                  <a:pt x="785327" y="592998"/>
                  <a:pt x="802174" y="592998"/>
                </a:cubicBezTo>
                <a:cubicBezTo>
                  <a:pt x="819021" y="592998"/>
                  <a:pt x="832726" y="579344"/>
                  <a:pt x="832726" y="562561"/>
                </a:cubicBezTo>
                <a:cubicBezTo>
                  <a:pt x="832726" y="545778"/>
                  <a:pt x="819021" y="532124"/>
                  <a:pt x="802174" y="532124"/>
                </a:cubicBezTo>
                <a:cubicBezTo>
                  <a:pt x="785327" y="532124"/>
                  <a:pt x="771621" y="545778"/>
                  <a:pt x="771621" y="562561"/>
                </a:cubicBezTo>
                <a:close/>
                <a:moveTo>
                  <a:pt x="949702" y="562561"/>
                </a:moveTo>
                <a:cubicBezTo>
                  <a:pt x="949702" y="579344"/>
                  <a:pt x="963408" y="592998"/>
                  <a:pt x="980255" y="592998"/>
                </a:cubicBezTo>
                <a:cubicBezTo>
                  <a:pt x="997101" y="592998"/>
                  <a:pt x="1010807" y="579344"/>
                  <a:pt x="1010807" y="562561"/>
                </a:cubicBezTo>
                <a:cubicBezTo>
                  <a:pt x="1010807" y="545778"/>
                  <a:pt x="997101" y="532124"/>
                  <a:pt x="980255" y="532124"/>
                </a:cubicBezTo>
                <a:cubicBezTo>
                  <a:pt x="963408" y="532124"/>
                  <a:pt x="949702" y="545778"/>
                  <a:pt x="949702" y="562561"/>
                </a:cubicBezTo>
                <a:close/>
                <a:moveTo>
                  <a:pt x="1009094" y="562561"/>
                </a:moveTo>
                <a:cubicBezTo>
                  <a:pt x="1009094" y="579344"/>
                  <a:pt x="1022800" y="592998"/>
                  <a:pt x="1039647" y="592998"/>
                </a:cubicBezTo>
                <a:cubicBezTo>
                  <a:pt x="1056494" y="592998"/>
                  <a:pt x="1070199" y="579344"/>
                  <a:pt x="1070199" y="562561"/>
                </a:cubicBezTo>
                <a:cubicBezTo>
                  <a:pt x="1070199" y="545778"/>
                  <a:pt x="1056494" y="532124"/>
                  <a:pt x="1039647" y="532124"/>
                </a:cubicBezTo>
                <a:cubicBezTo>
                  <a:pt x="1022800" y="532124"/>
                  <a:pt x="1009094" y="545778"/>
                  <a:pt x="1009094" y="562561"/>
                </a:cubicBezTo>
                <a:close/>
                <a:moveTo>
                  <a:pt x="1127783" y="562561"/>
                </a:moveTo>
                <a:cubicBezTo>
                  <a:pt x="1127783" y="579344"/>
                  <a:pt x="1141489" y="592998"/>
                  <a:pt x="1158336" y="592998"/>
                </a:cubicBezTo>
                <a:cubicBezTo>
                  <a:pt x="1175183" y="592998"/>
                  <a:pt x="1188888" y="579344"/>
                  <a:pt x="1188888" y="562561"/>
                </a:cubicBezTo>
                <a:cubicBezTo>
                  <a:pt x="1188888" y="545778"/>
                  <a:pt x="1175183" y="532124"/>
                  <a:pt x="1158336" y="532124"/>
                </a:cubicBezTo>
                <a:cubicBezTo>
                  <a:pt x="1141489" y="532124"/>
                  <a:pt x="1127783" y="545778"/>
                  <a:pt x="1127783" y="562561"/>
                </a:cubicBezTo>
                <a:close/>
                <a:moveTo>
                  <a:pt x="1365161" y="562561"/>
                </a:moveTo>
                <a:cubicBezTo>
                  <a:pt x="1365161" y="579344"/>
                  <a:pt x="1378867" y="592998"/>
                  <a:pt x="1395714" y="592998"/>
                </a:cubicBezTo>
                <a:cubicBezTo>
                  <a:pt x="1412561" y="592998"/>
                  <a:pt x="1426266" y="579344"/>
                  <a:pt x="1426266" y="562561"/>
                </a:cubicBezTo>
                <a:cubicBezTo>
                  <a:pt x="1426266" y="545778"/>
                  <a:pt x="1412561" y="532124"/>
                  <a:pt x="1395714" y="532124"/>
                </a:cubicBezTo>
                <a:cubicBezTo>
                  <a:pt x="1378867" y="532124"/>
                  <a:pt x="1365161" y="545778"/>
                  <a:pt x="1365161" y="562561"/>
                </a:cubicBezTo>
                <a:close/>
                <a:moveTo>
                  <a:pt x="95" y="621728"/>
                </a:moveTo>
                <a:cubicBezTo>
                  <a:pt x="95" y="638511"/>
                  <a:pt x="13801" y="652165"/>
                  <a:pt x="30648" y="652165"/>
                </a:cubicBezTo>
                <a:cubicBezTo>
                  <a:pt x="47495" y="652165"/>
                  <a:pt x="61200" y="638511"/>
                  <a:pt x="61200" y="621728"/>
                </a:cubicBezTo>
                <a:cubicBezTo>
                  <a:pt x="61200" y="604945"/>
                  <a:pt x="47495" y="591291"/>
                  <a:pt x="30648" y="591291"/>
                </a:cubicBezTo>
                <a:cubicBezTo>
                  <a:pt x="13801" y="591291"/>
                  <a:pt x="95" y="604945"/>
                  <a:pt x="95" y="621728"/>
                </a:cubicBezTo>
                <a:close/>
                <a:moveTo>
                  <a:pt x="118784" y="621728"/>
                </a:moveTo>
                <a:cubicBezTo>
                  <a:pt x="118784" y="638511"/>
                  <a:pt x="132490" y="652165"/>
                  <a:pt x="149337" y="652165"/>
                </a:cubicBezTo>
                <a:cubicBezTo>
                  <a:pt x="166184" y="652165"/>
                  <a:pt x="179889" y="638511"/>
                  <a:pt x="179889" y="621728"/>
                </a:cubicBezTo>
                <a:cubicBezTo>
                  <a:pt x="179889" y="604945"/>
                  <a:pt x="166184" y="591291"/>
                  <a:pt x="149337" y="591291"/>
                </a:cubicBezTo>
                <a:cubicBezTo>
                  <a:pt x="132490" y="591291"/>
                  <a:pt x="118784" y="604945"/>
                  <a:pt x="118784" y="621728"/>
                </a:cubicBezTo>
                <a:close/>
                <a:moveTo>
                  <a:pt x="237473" y="621728"/>
                </a:moveTo>
                <a:cubicBezTo>
                  <a:pt x="237473" y="638511"/>
                  <a:pt x="251179" y="652165"/>
                  <a:pt x="268026" y="652165"/>
                </a:cubicBezTo>
                <a:cubicBezTo>
                  <a:pt x="284873" y="652165"/>
                  <a:pt x="298578" y="638511"/>
                  <a:pt x="298578" y="621728"/>
                </a:cubicBezTo>
                <a:cubicBezTo>
                  <a:pt x="298578" y="604945"/>
                  <a:pt x="284873" y="591291"/>
                  <a:pt x="268026" y="591291"/>
                </a:cubicBezTo>
                <a:cubicBezTo>
                  <a:pt x="251179" y="591291"/>
                  <a:pt x="237473" y="604945"/>
                  <a:pt x="237473" y="621728"/>
                </a:cubicBezTo>
                <a:close/>
                <a:moveTo>
                  <a:pt x="296865" y="621728"/>
                </a:moveTo>
                <a:cubicBezTo>
                  <a:pt x="296865" y="638511"/>
                  <a:pt x="310571" y="652165"/>
                  <a:pt x="327418" y="652165"/>
                </a:cubicBezTo>
                <a:cubicBezTo>
                  <a:pt x="344265" y="652165"/>
                  <a:pt x="357970" y="638511"/>
                  <a:pt x="357970" y="621728"/>
                </a:cubicBezTo>
                <a:cubicBezTo>
                  <a:pt x="357970" y="604945"/>
                  <a:pt x="344265" y="591291"/>
                  <a:pt x="327418" y="591291"/>
                </a:cubicBezTo>
                <a:cubicBezTo>
                  <a:pt x="310571" y="591291"/>
                  <a:pt x="296865" y="604945"/>
                  <a:pt x="296865" y="621728"/>
                </a:cubicBezTo>
                <a:close/>
                <a:moveTo>
                  <a:pt x="356162" y="621728"/>
                </a:moveTo>
                <a:cubicBezTo>
                  <a:pt x="356162" y="638511"/>
                  <a:pt x="369868" y="652165"/>
                  <a:pt x="386715" y="652165"/>
                </a:cubicBezTo>
                <a:cubicBezTo>
                  <a:pt x="403562" y="652165"/>
                  <a:pt x="417267" y="638511"/>
                  <a:pt x="417267" y="621728"/>
                </a:cubicBezTo>
                <a:cubicBezTo>
                  <a:pt x="417267" y="604945"/>
                  <a:pt x="403562" y="591291"/>
                  <a:pt x="386715" y="591291"/>
                </a:cubicBezTo>
                <a:cubicBezTo>
                  <a:pt x="369868" y="591291"/>
                  <a:pt x="356162" y="604945"/>
                  <a:pt x="356162" y="621728"/>
                </a:cubicBezTo>
                <a:close/>
                <a:moveTo>
                  <a:pt x="474851" y="621728"/>
                </a:moveTo>
                <a:cubicBezTo>
                  <a:pt x="474851" y="638511"/>
                  <a:pt x="488557" y="652165"/>
                  <a:pt x="505404" y="652165"/>
                </a:cubicBezTo>
                <a:cubicBezTo>
                  <a:pt x="522250" y="652165"/>
                  <a:pt x="535956" y="638511"/>
                  <a:pt x="535956" y="621728"/>
                </a:cubicBezTo>
                <a:cubicBezTo>
                  <a:pt x="535956" y="604945"/>
                  <a:pt x="522250" y="591291"/>
                  <a:pt x="505404" y="591291"/>
                </a:cubicBezTo>
                <a:cubicBezTo>
                  <a:pt x="488557" y="591291"/>
                  <a:pt x="474851" y="604945"/>
                  <a:pt x="474851" y="621728"/>
                </a:cubicBezTo>
                <a:close/>
                <a:moveTo>
                  <a:pt x="593635" y="621728"/>
                </a:moveTo>
                <a:cubicBezTo>
                  <a:pt x="593635" y="638511"/>
                  <a:pt x="607341" y="652165"/>
                  <a:pt x="624188" y="652165"/>
                </a:cubicBezTo>
                <a:cubicBezTo>
                  <a:pt x="641035" y="652165"/>
                  <a:pt x="654740" y="638511"/>
                  <a:pt x="654740" y="621728"/>
                </a:cubicBezTo>
                <a:cubicBezTo>
                  <a:pt x="654740" y="604945"/>
                  <a:pt x="641035" y="591291"/>
                  <a:pt x="624188" y="591291"/>
                </a:cubicBezTo>
                <a:cubicBezTo>
                  <a:pt x="607341" y="591291"/>
                  <a:pt x="593635" y="604945"/>
                  <a:pt x="593635" y="621728"/>
                </a:cubicBezTo>
                <a:close/>
                <a:moveTo>
                  <a:pt x="652932" y="621728"/>
                </a:moveTo>
                <a:cubicBezTo>
                  <a:pt x="652932" y="638511"/>
                  <a:pt x="666638" y="652165"/>
                  <a:pt x="683485" y="652165"/>
                </a:cubicBezTo>
                <a:cubicBezTo>
                  <a:pt x="700332" y="652165"/>
                  <a:pt x="714037" y="638511"/>
                  <a:pt x="714037" y="621728"/>
                </a:cubicBezTo>
                <a:cubicBezTo>
                  <a:pt x="714037" y="604945"/>
                  <a:pt x="700332" y="591291"/>
                  <a:pt x="683485" y="591291"/>
                </a:cubicBezTo>
                <a:cubicBezTo>
                  <a:pt x="666638" y="591291"/>
                  <a:pt x="652932" y="604945"/>
                  <a:pt x="652932" y="621728"/>
                </a:cubicBezTo>
                <a:close/>
                <a:moveTo>
                  <a:pt x="712324" y="621728"/>
                </a:moveTo>
                <a:cubicBezTo>
                  <a:pt x="712324" y="638511"/>
                  <a:pt x="726030" y="652165"/>
                  <a:pt x="742877" y="652165"/>
                </a:cubicBezTo>
                <a:cubicBezTo>
                  <a:pt x="759724" y="652165"/>
                  <a:pt x="773429" y="638511"/>
                  <a:pt x="773429" y="621728"/>
                </a:cubicBezTo>
                <a:cubicBezTo>
                  <a:pt x="773429" y="604945"/>
                  <a:pt x="759724" y="591291"/>
                  <a:pt x="742877" y="591291"/>
                </a:cubicBezTo>
                <a:cubicBezTo>
                  <a:pt x="726030" y="591291"/>
                  <a:pt x="712324" y="604945"/>
                  <a:pt x="712324" y="621728"/>
                </a:cubicBezTo>
                <a:close/>
                <a:moveTo>
                  <a:pt x="771621" y="621728"/>
                </a:moveTo>
                <a:cubicBezTo>
                  <a:pt x="771621" y="638511"/>
                  <a:pt x="785327" y="652165"/>
                  <a:pt x="802174" y="652165"/>
                </a:cubicBezTo>
                <a:cubicBezTo>
                  <a:pt x="819021" y="652165"/>
                  <a:pt x="832726" y="638511"/>
                  <a:pt x="832726" y="621728"/>
                </a:cubicBezTo>
                <a:cubicBezTo>
                  <a:pt x="832726" y="604945"/>
                  <a:pt x="819021" y="591291"/>
                  <a:pt x="802174" y="591291"/>
                </a:cubicBezTo>
                <a:cubicBezTo>
                  <a:pt x="785327" y="591291"/>
                  <a:pt x="771621" y="604945"/>
                  <a:pt x="771621" y="621728"/>
                </a:cubicBezTo>
                <a:close/>
                <a:moveTo>
                  <a:pt x="831013" y="621728"/>
                </a:moveTo>
                <a:cubicBezTo>
                  <a:pt x="831013" y="638511"/>
                  <a:pt x="844719" y="652165"/>
                  <a:pt x="861566" y="652165"/>
                </a:cubicBezTo>
                <a:cubicBezTo>
                  <a:pt x="878413" y="652165"/>
                  <a:pt x="892118" y="638511"/>
                  <a:pt x="892118" y="621728"/>
                </a:cubicBezTo>
                <a:cubicBezTo>
                  <a:pt x="892118" y="604945"/>
                  <a:pt x="878413" y="591291"/>
                  <a:pt x="861566" y="591291"/>
                </a:cubicBezTo>
                <a:cubicBezTo>
                  <a:pt x="844719" y="591291"/>
                  <a:pt x="831013" y="604945"/>
                  <a:pt x="831013" y="621728"/>
                </a:cubicBezTo>
                <a:close/>
                <a:moveTo>
                  <a:pt x="890310" y="621728"/>
                </a:moveTo>
                <a:cubicBezTo>
                  <a:pt x="890310" y="638511"/>
                  <a:pt x="904016" y="652165"/>
                  <a:pt x="920863" y="652165"/>
                </a:cubicBezTo>
                <a:cubicBezTo>
                  <a:pt x="937709" y="652165"/>
                  <a:pt x="951415" y="638511"/>
                  <a:pt x="951415" y="621728"/>
                </a:cubicBezTo>
                <a:cubicBezTo>
                  <a:pt x="951415" y="604945"/>
                  <a:pt x="937709" y="591291"/>
                  <a:pt x="920863" y="591291"/>
                </a:cubicBezTo>
                <a:cubicBezTo>
                  <a:pt x="904016" y="591291"/>
                  <a:pt x="890310" y="604945"/>
                  <a:pt x="890310" y="621728"/>
                </a:cubicBezTo>
                <a:close/>
                <a:moveTo>
                  <a:pt x="949702" y="621728"/>
                </a:moveTo>
                <a:cubicBezTo>
                  <a:pt x="949702" y="638511"/>
                  <a:pt x="963408" y="652165"/>
                  <a:pt x="980255" y="652165"/>
                </a:cubicBezTo>
                <a:cubicBezTo>
                  <a:pt x="997101" y="652165"/>
                  <a:pt x="1010807" y="638511"/>
                  <a:pt x="1010807" y="621728"/>
                </a:cubicBezTo>
                <a:cubicBezTo>
                  <a:pt x="1010807" y="604945"/>
                  <a:pt x="997101" y="591291"/>
                  <a:pt x="980255" y="591291"/>
                </a:cubicBezTo>
                <a:cubicBezTo>
                  <a:pt x="963408" y="591291"/>
                  <a:pt x="949702" y="604945"/>
                  <a:pt x="949702" y="621728"/>
                </a:cubicBezTo>
                <a:close/>
                <a:moveTo>
                  <a:pt x="1009094" y="621728"/>
                </a:moveTo>
                <a:cubicBezTo>
                  <a:pt x="1009094" y="638511"/>
                  <a:pt x="1022800" y="652165"/>
                  <a:pt x="1039647" y="652165"/>
                </a:cubicBezTo>
                <a:cubicBezTo>
                  <a:pt x="1056494" y="652165"/>
                  <a:pt x="1070199" y="638511"/>
                  <a:pt x="1070199" y="621728"/>
                </a:cubicBezTo>
                <a:cubicBezTo>
                  <a:pt x="1070199" y="604945"/>
                  <a:pt x="1056494" y="591291"/>
                  <a:pt x="1039647" y="591291"/>
                </a:cubicBezTo>
                <a:cubicBezTo>
                  <a:pt x="1022800" y="591291"/>
                  <a:pt x="1009094" y="604945"/>
                  <a:pt x="1009094" y="621728"/>
                </a:cubicBezTo>
                <a:close/>
                <a:moveTo>
                  <a:pt x="1068391" y="621728"/>
                </a:moveTo>
                <a:cubicBezTo>
                  <a:pt x="1068391" y="638511"/>
                  <a:pt x="1082097" y="652165"/>
                  <a:pt x="1098944" y="652165"/>
                </a:cubicBezTo>
                <a:cubicBezTo>
                  <a:pt x="1115790" y="652165"/>
                  <a:pt x="1129496" y="638511"/>
                  <a:pt x="1129496" y="621728"/>
                </a:cubicBezTo>
                <a:cubicBezTo>
                  <a:pt x="1129496" y="604945"/>
                  <a:pt x="1115790" y="591291"/>
                  <a:pt x="1098944" y="591291"/>
                </a:cubicBezTo>
                <a:cubicBezTo>
                  <a:pt x="1082097" y="591291"/>
                  <a:pt x="1068391" y="604945"/>
                  <a:pt x="1068391" y="621728"/>
                </a:cubicBezTo>
                <a:close/>
                <a:moveTo>
                  <a:pt x="1127783" y="621728"/>
                </a:moveTo>
                <a:cubicBezTo>
                  <a:pt x="1127783" y="638511"/>
                  <a:pt x="1141489" y="652165"/>
                  <a:pt x="1158336" y="652165"/>
                </a:cubicBezTo>
                <a:cubicBezTo>
                  <a:pt x="1175183" y="652165"/>
                  <a:pt x="1188888" y="638511"/>
                  <a:pt x="1188888" y="621728"/>
                </a:cubicBezTo>
                <a:cubicBezTo>
                  <a:pt x="1188888" y="604945"/>
                  <a:pt x="1175183" y="591291"/>
                  <a:pt x="1158336" y="591291"/>
                </a:cubicBezTo>
                <a:cubicBezTo>
                  <a:pt x="1141489" y="591291"/>
                  <a:pt x="1127783" y="604945"/>
                  <a:pt x="1127783" y="621728"/>
                </a:cubicBezTo>
                <a:close/>
                <a:moveTo>
                  <a:pt x="1187080" y="621728"/>
                </a:moveTo>
                <a:cubicBezTo>
                  <a:pt x="1187080" y="638511"/>
                  <a:pt x="1200786" y="652165"/>
                  <a:pt x="1217633" y="652165"/>
                </a:cubicBezTo>
                <a:cubicBezTo>
                  <a:pt x="1234479" y="652165"/>
                  <a:pt x="1248185" y="638511"/>
                  <a:pt x="1248185" y="621728"/>
                </a:cubicBezTo>
                <a:cubicBezTo>
                  <a:pt x="1248185" y="604945"/>
                  <a:pt x="1234479" y="591291"/>
                  <a:pt x="1217633" y="591291"/>
                </a:cubicBezTo>
                <a:cubicBezTo>
                  <a:pt x="1200786" y="591291"/>
                  <a:pt x="1187080" y="604945"/>
                  <a:pt x="1187080" y="621728"/>
                </a:cubicBezTo>
                <a:close/>
                <a:moveTo>
                  <a:pt x="1246472" y="621728"/>
                </a:moveTo>
                <a:cubicBezTo>
                  <a:pt x="1246472" y="638511"/>
                  <a:pt x="1260178" y="652165"/>
                  <a:pt x="1277025" y="652165"/>
                </a:cubicBezTo>
                <a:cubicBezTo>
                  <a:pt x="1293872" y="652165"/>
                  <a:pt x="1307577" y="638511"/>
                  <a:pt x="1307577" y="621728"/>
                </a:cubicBezTo>
                <a:cubicBezTo>
                  <a:pt x="1307577" y="604945"/>
                  <a:pt x="1293872" y="591291"/>
                  <a:pt x="1277025" y="591291"/>
                </a:cubicBezTo>
                <a:cubicBezTo>
                  <a:pt x="1260178" y="591291"/>
                  <a:pt x="1246472" y="604945"/>
                  <a:pt x="1246472" y="621728"/>
                </a:cubicBezTo>
                <a:close/>
                <a:moveTo>
                  <a:pt x="1365161" y="621728"/>
                </a:moveTo>
                <a:cubicBezTo>
                  <a:pt x="1365161" y="638511"/>
                  <a:pt x="1378867" y="652165"/>
                  <a:pt x="1395714" y="652165"/>
                </a:cubicBezTo>
                <a:cubicBezTo>
                  <a:pt x="1412561" y="652165"/>
                  <a:pt x="1426266" y="638511"/>
                  <a:pt x="1426266" y="621728"/>
                </a:cubicBezTo>
                <a:cubicBezTo>
                  <a:pt x="1426266" y="604945"/>
                  <a:pt x="1412561" y="591291"/>
                  <a:pt x="1395714" y="591291"/>
                </a:cubicBezTo>
                <a:cubicBezTo>
                  <a:pt x="1378867" y="591291"/>
                  <a:pt x="1365161" y="604945"/>
                  <a:pt x="1365161" y="621728"/>
                </a:cubicBezTo>
                <a:close/>
                <a:moveTo>
                  <a:pt x="1424553" y="621728"/>
                </a:moveTo>
                <a:cubicBezTo>
                  <a:pt x="1424553" y="638511"/>
                  <a:pt x="1438259" y="652165"/>
                  <a:pt x="1455106" y="652165"/>
                </a:cubicBezTo>
                <a:cubicBezTo>
                  <a:pt x="1471953" y="652165"/>
                  <a:pt x="1485658" y="638511"/>
                  <a:pt x="1485658" y="621728"/>
                </a:cubicBezTo>
                <a:cubicBezTo>
                  <a:pt x="1485658" y="604945"/>
                  <a:pt x="1471953" y="591291"/>
                  <a:pt x="1455106" y="591291"/>
                </a:cubicBezTo>
                <a:cubicBezTo>
                  <a:pt x="1438259" y="591291"/>
                  <a:pt x="1424553" y="604945"/>
                  <a:pt x="1424553" y="621728"/>
                </a:cubicBezTo>
                <a:close/>
                <a:moveTo>
                  <a:pt x="118784" y="680800"/>
                </a:moveTo>
                <a:cubicBezTo>
                  <a:pt x="118784" y="697583"/>
                  <a:pt x="132490" y="711237"/>
                  <a:pt x="149337" y="711237"/>
                </a:cubicBezTo>
                <a:cubicBezTo>
                  <a:pt x="166184" y="711237"/>
                  <a:pt x="179889" y="697583"/>
                  <a:pt x="179889" y="680800"/>
                </a:cubicBezTo>
                <a:cubicBezTo>
                  <a:pt x="179889" y="664018"/>
                  <a:pt x="166184" y="650364"/>
                  <a:pt x="149337" y="650364"/>
                </a:cubicBezTo>
                <a:cubicBezTo>
                  <a:pt x="132490" y="650364"/>
                  <a:pt x="118784" y="664018"/>
                  <a:pt x="118784" y="680800"/>
                </a:cubicBezTo>
                <a:close/>
                <a:moveTo>
                  <a:pt x="178081" y="680800"/>
                </a:moveTo>
                <a:cubicBezTo>
                  <a:pt x="178081" y="697583"/>
                  <a:pt x="191787" y="711237"/>
                  <a:pt x="208634" y="711237"/>
                </a:cubicBezTo>
                <a:cubicBezTo>
                  <a:pt x="225480" y="711237"/>
                  <a:pt x="239186" y="697583"/>
                  <a:pt x="239186" y="680800"/>
                </a:cubicBezTo>
                <a:cubicBezTo>
                  <a:pt x="239186" y="664018"/>
                  <a:pt x="225480" y="650364"/>
                  <a:pt x="208634" y="650364"/>
                </a:cubicBezTo>
                <a:cubicBezTo>
                  <a:pt x="191787" y="650364"/>
                  <a:pt x="178081" y="664018"/>
                  <a:pt x="178081" y="680800"/>
                </a:cubicBezTo>
                <a:close/>
                <a:moveTo>
                  <a:pt x="237473" y="680800"/>
                </a:moveTo>
                <a:cubicBezTo>
                  <a:pt x="237473" y="697583"/>
                  <a:pt x="251179" y="711237"/>
                  <a:pt x="268026" y="711237"/>
                </a:cubicBezTo>
                <a:cubicBezTo>
                  <a:pt x="284873" y="711237"/>
                  <a:pt x="298578" y="697583"/>
                  <a:pt x="298578" y="680800"/>
                </a:cubicBezTo>
                <a:cubicBezTo>
                  <a:pt x="298578" y="664018"/>
                  <a:pt x="284873" y="650364"/>
                  <a:pt x="268026" y="650364"/>
                </a:cubicBezTo>
                <a:cubicBezTo>
                  <a:pt x="251179" y="650364"/>
                  <a:pt x="237473" y="664018"/>
                  <a:pt x="237473" y="680800"/>
                </a:cubicBezTo>
                <a:close/>
                <a:moveTo>
                  <a:pt x="296865" y="680800"/>
                </a:moveTo>
                <a:cubicBezTo>
                  <a:pt x="296865" y="697583"/>
                  <a:pt x="310571" y="711237"/>
                  <a:pt x="327418" y="711237"/>
                </a:cubicBezTo>
                <a:cubicBezTo>
                  <a:pt x="344265" y="711237"/>
                  <a:pt x="357970" y="697583"/>
                  <a:pt x="357970" y="680800"/>
                </a:cubicBezTo>
                <a:cubicBezTo>
                  <a:pt x="357970" y="664018"/>
                  <a:pt x="344265" y="650364"/>
                  <a:pt x="327418" y="650364"/>
                </a:cubicBezTo>
                <a:cubicBezTo>
                  <a:pt x="310571" y="650364"/>
                  <a:pt x="296865" y="664018"/>
                  <a:pt x="296865" y="680800"/>
                </a:cubicBezTo>
                <a:close/>
                <a:moveTo>
                  <a:pt x="474851" y="680800"/>
                </a:moveTo>
                <a:cubicBezTo>
                  <a:pt x="474851" y="697583"/>
                  <a:pt x="488557" y="711237"/>
                  <a:pt x="505404" y="711237"/>
                </a:cubicBezTo>
                <a:cubicBezTo>
                  <a:pt x="522250" y="711237"/>
                  <a:pt x="535956" y="697583"/>
                  <a:pt x="535956" y="680800"/>
                </a:cubicBezTo>
                <a:cubicBezTo>
                  <a:pt x="535956" y="664018"/>
                  <a:pt x="522250" y="650364"/>
                  <a:pt x="505404" y="650364"/>
                </a:cubicBezTo>
                <a:cubicBezTo>
                  <a:pt x="488557" y="650364"/>
                  <a:pt x="474851" y="664018"/>
                  <a:pt x="474851" y="680800"/>
                </a:cubicBezTo>
                <a:close/>
                <a:moveTo>
                  <a:pt x="593635" y="680800"/>
                </a:moveTo>
                <a:cubicBezTo>
                  <a:pt x="593635" y="697583"/>
                  <a:pt x="607341" y="711237"/>
                  <a:pt x="624188" y="711237"/>
                </a:cubicBezTo>
                <a:cubicBezTo>
                  <a:pt x="641035" y="711237"/>
                  <a:pt x="654740" y="697583"/>
                  <a:pt x="654740" y="680800"/>
                </a:cubicBezTo>
                <a:cubicBezTo>
                  <a:pt x="654740" y="664018"/>
                  <a:pt x="641035" y="650364"/>
                  <a:pt x="624188" y="650364"/>
                </a:cubicBezTo>
                <a:cubicBezTo>
                  <a:pt x="607341" y="650364"/>
                  <a:pt x="593635" y="664018"/>
                  <a:pt x="593635" y="680800"/>
                </a:cubicBezTo>
                <a:close/>
                <a:moveTo>
                  <a:pt x="652932" y="680800"/>
                </a:moveTo>
                <a:cubicBezTo>
                  <a:pt x="652932" y="697583"/>
                  <a:pt x="666638" y="711237"/>
                  <a:pt x="683485" y="711237"/>
                </a:cubicBezTo>
                <a:cubicBezTo>
                  <a:pt x="700332" y="711237"/>
                  <a:pt x="714037" y="697583"/>
                  <a:pt x="714037" y="680800"/>
                </a:cubicBezTo>
                <a:cubicBezTo>
                  <a:pt x="714037" y="664018"/>
                  <a:pt x="700332" y="650364"/>
                  <a:pt x="683485" y="650364"/>
                </a:cubicBezTo>
                <a:cubicBezTo>
                  <a:pt x="666638" y="650364"/>
                  <a:pt x="652932" y="664018"/>
                  <a:pt x="652932" y="680800"/>
                </a:cubicBezTo>
                <a:close/>
                <a:moveTo>
                  <a:pt x="712324" y="680800"/>
                </a:moveTo>
                <a:cubicBezTo>
                  <a:pt x="712324" y="697583"/>
                  <a:pt x="726030" y="711237"/>
                  <a:pt x="742877" y="711237"/>
                </a:cubicBezTo>
                <a:cubicBezTo>
                  <a:pt x="759724" y="711237"/>
                  <a:pt x="773429" y="697583"/>
                  <a:pt x="773429" y="680800"/>
                </a:cubicBezTo>
                <a:cubicBezTo>
                  <a:pt x="773429" y="664018"/>
                  <a:pt x="759724" y="650364"/>
                  <a:pt x="742877" y="650364"/>
                </a:cubicBezTo>
                <a:cubicBezTo>
                  <a:pt x="726030" y="650364"/>
                  <a:pt x="712324" y="664018"/>
                  <a:pt x="712324" y="680800"/>
                </a:cubicBezTo>
                <a:close/>
                <a:moveTo>
                  <a:pt x="831013" y="680800"/>
                </a:moveTo>
                <a:cubicBezTo>
                  <a:pt x="831013" y="697583"/>
                  <a:pt x="844719" y="711237"/>
                  <a:pt x="861566" y="711237"/>
                </a:cubicBezTo>
                <a:cubicBezTo>
                  <a:pt x="878413" y="711237"/>
                  <a:pt x="892118" y="697583"/>
                  <a:pt x="892118" y="680800"/>
                </a:cubicBezTo>
                <a:cubicBezTo>
                  <a:pt x="892118" y="664018"/>
                  <a:pt x="878413" y="650364"/>
                  <a:pt x="861566" y="650364"/>
                </a:cubicBezTo>
                <a:cubicBezTo>
                  <a:pt x="844719" y="650364"/>
                  <a:pt x="831013" y="664018"/>
                  <a:pt x="831013" y="680800"/>
                </a:cubicBezTo>
                <a:close/>
                <a:moveTo>
                  <a:pt x="949702" y="680800"/>
                </a:moveTo>
                <a:cubicBezTo>
                  <a:pt x="949702" y="697583"/>
                  <a:pt x="963408" y="711237"/>
                  <a:pt x="980255" y="711237"/>
                </a:cubicBezTo>
                <a:cubicBezTo>
                  <a:pt x="997101" y="711237"/>
                  <a:pt x="1010807" y="697583"/>
                  <a:pt x="1010807" y="680800"/>
                </a:cubicBezTo>
                <a:cubicBezTo>
                  <a:pt x="1010807" y="664018"/>
                  <a:pt x="997101" y="650364"/>
                  <a:pt x="980255" y="650364"/>
                </a:cubicBezTo>
                <a:cubicBezTo>
                  <a:pt x="963408" y="650364"/>
                  <a:pt x="949702" y="664018"/>
                  <a:pt x="949702" y="680800"/>
                </a:cubicBezTo>
                <a:close/>
                <a:moveTo>
                  <a:pt x="1068391" y="680800"/>
                </a:moveTo>
                <a:cubicBezTo>
                  <a:pt x="1068391" y="697583"/>
                  <a:pt x="1082097" y="711237"/>
                  <a:pt x="1098944" y="711237"/>
                </a:cubicBezTo>
                <a:cubicBezTo>
                  <a:pt x="1115790" y="711237"/>
                  <a:pt x="1129496" y="697583"/>
                  <a:pt x="1129496" y="680800"/>
                </a:cubicBezTo>
                <a:cubicBezTo>
                  <a:pt x="1129496" y="664018"/>
                  <a:pt x="1115790" y="650364"/>
                  <a:pt x="1098944" y="650364"/>
                </a:cubicBezTo>
                <a:cubicBezTo>
                  <a:pt x="1082097" y="650364"/>
                  <a:pt x="1068391" y="664018"/>
                  <a:pt x="1068391" y="680800"/>
                </a:cubicBezTo>
                <a:close/>
                <a:moveTo>
                  <a:pt x="1424553" y="680800"/>
                </a:moveTo>
                <a:cubicBezTo>
                  <a:pt x="1424553" y="697583"/>
                  <a:pt x="1438259" y="711237"/>
                  <a:pt x="1455106" y="711237"/>
                </a:cubicBezTo>
                <a:cubicBezTo>
                  <a:pt x="1471953" y="711237"/>
                  <a:pt x="1485658" y="697583"/>
                  <a:pt x="1485658" y="680800"/>
                </a:cubicBezTo>
                <a:cubicBezTo>
                  <a:pt x="1485658" y="664018"/>
                  <a:pt x="1471953" y="650364"/>
                  <a:pt x="1455106" y="650364"/>
                </a:cubicBezTo>
                <a:cubicBezTo>
                  <a:pt x="1438259" y="650364"/>
                  <a:pt x="1424553" y="664018"/>
                  <a:pt x="1424553" y="680800"/>
                </a:cubicBezTo>
                <a:close/>
                <a:moveTo>
                  <a:pt x="59392" y="739968"/>
                </a:moveTo>
                <a:cubicBezTo>
                  <a:pt x="59392" y="756751"/>
                  <a:pt x="73098" y="770404"/>
                  <a:pt x="89945" y="770404"/>
                </a:cubicBezTo>
                <a:cubicBezTo>
                  <a:pt x="106792" y="770404"/>
                  <a:pt x="120497" y="756751"/>
                  <a:pt x="120497" y="739968"/>
                </a:cubicBezTo>
                <a:cubicBezTo>
                  <a:pt x="120497" y="723185"/>
                  <a:pt x="106792" y="709531"/>
                  <a:pt x="89945" y="709531"/>
                </a:cubicBezTo>
                <a:cubicBezTo>
                  <a:pt x="73098" y="709531"/>
                  <a:pt x="59392" y="723185"/>
                  <a:pt x="59392" y="739968"/>
                </a:cubicBezTo>
                <a:close/>
                <a:moveTo>
                  <a:pt x="118784" y="739968"/>
                </a:moveTo>
                <a:cubicBezTo>
                  <a:pt x="118784" y="756751"/>
                  <a:pt x="132490" y="770404"/>
                  <a:pt x="149337" y="770404"/>
                </a:cubicBezTo>
                <a:cubicBezTo>
                  <a:pt x="166184" y="770404"/>
                  <a:pt x="179889" y="756751"/>
                  <a:pt x="179889" y="739968"/>
                </a:cubicBezTo>
                <a:cubicBezTo>
                  <a:pt x="179889" y="723185"/>
                  <a:pt x="166184" y="709531"/>
                  <a:pt x="149337" y="709531"/>
                </a:cubicBezTo>
                <a:cubicBezTo>
                  <a:pt x="132490" y="709531"/>
                  <a:pt x="118784" y="723185"/>
                  <a:pt x="118784" y="739968"/>
                </a:cubicBezTo>
                <a:close/>
                <a:moveTo>
                  <a:pt x="237473" y="739968"/>
                </a:moveTo>
                <a:cubicBezTo>
                  <a:pt x="237473" y="756751"/>
                  <a:pt x="251179" y="770404"/>
                  <a:pt x="268026" y="770404"/>
                </a:cubicBezTo>
                <a:cubicBezTo>
                  <a:pt x="284873" y="770404"/>
                  <a:pt x="298578" y="756751"/>
                  <a:pt x="298578" y="739968"/>
                </a:cubicBezTo>
                <a:cubicBezTo>
                  <a:pt x="298578" y="723185"/>
                  <a:pt x="284873" y="709531"/>
                  <a:pt x="268026" y="709531"/>
                </a:cubicBezTo>
                <a:cubicBezTo>
                  <a:pt x="251179" y="709531"/>
                  <a:pt x="237473" y="723185"/>
                  <a:pt x="237473" y="739968"/>
                </a:cubicBezTo>
                <a:close/>
                <a:moveTo>
                  <a:pt x="296865" y="739968"/>
                </a:moveTo>
                <a:cubicBezTo>
                  <a:pt x="296865" y="756751"/>
                  <a:pt x="310571" y="770404"/>
                  <a:pt x="327418" y="770404"/>
                </a:cubicBezTo>
                <a:cubicBezTo>
                  <a:pt x="344265" y="770404"/>
                  <a:pt x="357970" y="756751"/>
                  <a:pt x="357970" y="739968"/>
                </a:cubicBezTo>
                <a:cubicBezTo>
                  <a:pt x="357970" y="723185"/>
                  <a:pt x="344265" y="709531"/>
                  <a:pt x="327418" y="709531"/>
                </a:cubicBezTo>
                <a:cubicBezTo>
                  <a:pt x="310571" y="709531"/>
                  <a:pt x="296865" y="723185"/>
                  <a:pt x="296865" y="739968"/>
                </a:cubicBezTo>
                <a:close/>
                <a:moveTo>
                  <a:pt x="356162" y="739968"/>
                </a:moveTo>
                <a:cubicBezTo>
                  <a:pt x="356162" y="756751"/>
                  <a:pt x="369868" y="770404"/>
                  <a:pt x="386715" y="770404"/>
                </a:cubicBezTo>
                <a:cubicBezTo>
                  <a:pt x="403562" y="770404"/>
                  <a:pt x="417267" y="756751"/>
                  <a:pt x="417267" y="739968"/>
                </a:cubicBezTo>
                <a:cubicBezTo>
                  <a:pt x="417267" y="723185"/>
                  <a:pt x="403562" y="709531"/>
                  <a:pt x="386715" y="709531"/>
                </a:cubicBezTo>
                <a:cubicBezTo>
                  <a:pt x="369868" y="709531"/>
                  <a:pt x="356162" y="723185"/>
                  <a:pt x="356162" y="739968"/>
                </a:cubicBezTo>
                <a:close/>
                <a:moveTo>
                  <a:pt x="415554" y="739968"/>
                </a:moveTo>
                <a:cubicBezTo>
                  <a:pt x="415554" y="756751"/>
                  <a:pt x="429260" y="770404"/>
                  <a:pt x="446107" y="770404"/>
                </a:cubicBezTo>
                <a:cubicBezTo>
                  <a:pt x="462954" y="770404"/>
                  <a:pt x="476659" y="756751"/>
                  <a:pt x="476659" y="739968"/>
                </a:cubicBezTo>
                <a:cubicBezTo>
                  <a:pt x="476659" y="723185"/>
                  <a:pt x="462954" y="709531"/>
                  <a:pt x="446107" y="709531"/>
                </a:cubicBezTo>
                <a:cubicBezTo>
                  <a:pt x="429260" y="709531"/>
                  <a:pt x="415554" y="723185"/>
                  <a:pt x="415554" y="739968"/>
                </a:cubicBezTo>
                <a:close/>
                <a:moveTo>
                  <a:pt x="474851" y="739968"/>
                </a:moveTo>
                <a:cubicBezTo>
                  <a:pt x="474851" y="756751"/>
                  <a:pt x="488557" y="770404"/>
                  <a:pt x="505404" y="770404"/>
                </a:cubicBezTo>
                <a:cubicBezTo>
                  <a:pt x="522250" y="770404"/>
                  <a:pt x="535956" y="756751"/>
                  <a:pt x="535956" y="739968"/>
                </a:cubicBezTo>
                <a:cubicBezTo>
                  <a:pt x="535956" y="723185"/>
                  <a:pt x="522250" y="709531"/>
                  <a:pt x="505404" y="709531"/>
                </a:cubicBezTo>
                <a:cubicBezTo>
                  <a:pt x="488557" y="709531"/>
                  <a:pt x="474851" y="723185"/>
                  <a:pt x="474851" y="739968"/>
                </a:cubicBezTo>
                <a:close/>
                <a:moveTo>
                  <a:pt x="534243" y="739968"/>
                </a:moveTo>
                <a:cubicBezTo>
                  <a:pt x="534243" y="756751"/>
                  <a:pt x="547949" y="770404"/>
                  <a:pt x="564796" y="770404"/>
                </a:cubicBezTo>
                <a:cubicBezTo>
                  <a:pt x="581643" y="770404"/>
                  <a:pt x="595348" y="756751"/>
                  <a:pt x="595348" y="739968"/>
                </a:cubicBezTo>
                <a:cubicBezTo>
                  <a:pt x="595348" y="723185"/>
                  <a:pt x="581643" y="709531"/>
                  <a:pt x="564796" y="709531"/>
                </a:cubicBezTo>
                <a:cubicBezTo>
                  <a:pt x="547949" y="709531"/>
                  <a:pt x="534243" y="723185"/>
                  <a:pt x="534243" y="739968"/>
                </a:cubicBezTo>
                <a:close/>
                <a:moveTo>
                  <a:pt x="652932" y="739968"/>
                </a:moveTo>
                <a:cubicBezTo>
                  <a:pt x="652932" y="756751"/>
                  <a:pt x="666638" y="770404"/>
                  <a:pt x="683485" y="770404"/>
                </a:cubicBezTo>
                <a:cubicBezTo>
                  <a:pt x="700332" y="770404"/>
                  <a:pt x="714037" y="756751"/>
                  <a:pt x="714037" y="739968"/>
                </a:cubicBezTo>
                <a:cubicBezTo>
                  <a:pt x="714037" y="723185"/>
                  <a:pt x="700332" y="709531"/>
                  <a:pt x="683485" y="709531"/>
                </a:cubicBezTo>
                <a:cubicBezTo>
                  <a:pt x="666638" y="709531"/>
                  <a:pt x="652932" y="723185"/>
                  <a:pt x="652932" y="739968"/>
                </a:cubicBezTo>
                <a:close/>
                <a:moveTo>
                  <a:pt x="890310" y="739968"/>
                </a:moveTo>
                <a:cubicBezTo>
                  <a:pt x="890310" y="756751"/>
                  <a:pt x="904016" y="770404"/>
                  <a:pt x="920863" y="770404"/>
                </a:cubicBezTo>
                <a:cubicBezTo>
                  <a:pt x="937709" y="770404"/>
                  <a:pt x="951415" y="756751"/>
                  <a:pt x="951415" y="739968"/>
                </a:cubicBezTo>
                <a:cubicBezTo>
                  <a:pt x="951415" y="723185"/>
                  <a:pt x="937709" y="709531"/>
                  <a:pt x="920863" y="709531"/>
                </a:cubicBezTo>
                <a:cubicBezTo>
                  <a:pt x="904016" y="709531"/>
                  <a:pt x="890310" y="723185"/>
                  <a:pt x="890310" y="739968"/>
                </a:cubicBezTo>
                <a:close/>
                <a:moveTo>
                  <a:pt x="1009094" y="739968"/>
                </a:moveTo>
                <a:cubicBezTo>
                  <a:pt x="1009094" y="756751"/>
                  <a:pt x="1022800" y="770404"/>
                  <a:pt x="1039647" y="770404"/>
                </a:cubicBezTo>
                <a:cubicBezTo>
                  <a:pt x="1056494" y="770404"/>
                  <a:pt x="1070199" y="756751"/>
                  <a:pt x="1070199" y="739968"/>
                </a:cubicBezTo>
                <a:cubicBezTo>
                  <a:pt x="1070199" y="723185"/>
                  <a:pt x="1056494" y="709531"/>
                  <a:pt x="1039647" y="709531"/>
                </a:cubicBezTo>
                <a:cubicBezTo>
                  <a:pt x="1022800" y="709531"/>
                  <a:pt x="1009094" y="723185"/>
                  <a:pt x="1009094" y="739968"/>
                </a:cubicBezTo>
                <a:close/>
                <a:moveTo>
                  <a:pt x="1068391" y="739968"/>
                </a:moveTo>
                <a:cubicBezTo>
                  <a:pt x="1068391" y="756751"/>
                  <a:pt x="1082097" y="770404"/>
                  <a:pt x="1098944" y="770404"/>
                </a:cubicBezTo>
                <a:cubicBezTo>
                  <a:pt x="1115790" y="770404"/>
                  <a:pt x="1129496" y="756751"/>
                  <a:pt x="1129496" y="739968"/>
                </a:cubicBezTo>
                <a:cubicBezTo>
                  <a:pt x="1129496" y="723185"/>
                  <a:pt x="1115790" y="709531"/>
                  <a:pt x="1098944" y="709531"/>
                </a:cubicBezTo>
                <a:cubicBezTo>
                  <a:pt x="1082097" y="709531"/>
                  <a:pt x="1068391" y="723185"/>
                  <a:pt x="1068391" y="739968"/>
                </a:cubicBezTo>
                <a:close/>
                <a:moveTo>
                  <a:pt x="1127783" y="739968"/>
                </a:moveTo>
                <a:cubicBezTo>
                  <a:pt x="1127783" y="756751"/>
                  <a:pt x="1141489" y="770404"/>
                  <a:pt x="1158336" y="770404"/>
                </a:cubicBezTo>
                <a:cubicBezTo>
                  <a:pt x="1175183" y="770404"/>
                  <a:pt x="1188888" y="756751"/>
                  <a:pt x="1188888" y="739968"/>
                </a:cubicBezTo>
                <a:cubicBezTo>
                  <a:pt x="1188888" y="723185"/>
                  <a:pt x="1175183" y="709531"/>
                  <a:pt x="1158336" y="709531"/>
                </a:cubicBezTo>
                <a:cubicBezTo>
                  <a:pt x="1141489" y="709531"/>
                  <a:pt x="1127783" y="723185"/>
                  <a:pt x="1127783" y="739968"/>
                </a:cubicBezTo>
                <a:close/>
                <a:moveTo>
                  <a:pt x="1187080" y="739968"/>
                </a:moveTo>
                <a:cubicBezTo>
                  <a:pt x="1187080" y="756751"/>
                  <a:pt x="1200786" y="770404"/>
                  <a:pt x="1217633" y="770404"/>
                </a:cubicBezTo>
                <a:cubicBezTo>
                  <a:pt x="1234479" y="770404"/>
                  <a:pt x="1248185" y="756751"/>
                  <a:pt x="1248185" y="739968"/>
                </a:cubicBezTo>
                <a:cubicBezTo>
                  <a:pt x="1248185" y="723185"/>
                  <a:pt x="1234479" y="709531"/>
                  <a:pt x="1217633" y="709531"/>
                </a:cubicBezTo>
                <a:cubicBezTo>
                  <a:pt x="1200786" y="709531"/>
                  <a:pt x="1187080" y="723185"/>
                  <a:pt x="1187080" y="739968"/>
                </a:cubicBezTo>
                <a:close/>
                <a:moveTo>
                  <a:pt x="1305769" y="739968"/>
                </a:moveTo>
                <a:cubicBezTo>
                  <a:pt x="1305769" y="756751"/>
                  <a:pt x="1319475" y="770404"/>
                  <a:pt x="1336322" y="770404"/>
                </a:cubicBezTo>
                <a:cubicBezTo>
                  <a:pt x="1353168" y="770404"/>
                  <a:pt x="1366874" y="756751"/>
                  <a:pt x="1366874" y="739968"/>
                </a:cubicBezTo>
                <a:cubicBezTo>
                  <a:pt x="1366874" y="723185"/>
                  <a:pt x="1353168" y="709531"/>
                  <a:pt x="1336322" y="709531"/>
                </a:cubicBezTo>
                <a:cubicBezTo>
                  <a:pt x="1319475" y="709531"/>
                  <a:pt x="1305769" y="723185"/>
                  <a:pt x="1305769" y="739968"/>
                </a:cubicBezTo>
                <a:close/>
                <a:moveTo>
                  <a:pt x="1365161" y="739968"/>
                </a:moveTo>
                <a:cubicBezTo>
                  <a:pt x="1365161" y="756751"/>
                  <a:pt x="1378867" y="770404"/>
                  <a:pt x="1395714" y="770404"/>
                </a:cubicBezTo>
                <a:cubicBezTo>
                  <a:pt x="1412561" y="770404"/>
                  <a:pt x="1426266" y="756751"/>
                  <a:pt x="1426266" y="739968"/>
                </a:cubicBezTo>
                <a:cubicBezTo>
                  <a:pt x="1426266" y="723185"/>
                  <a:pt x="1412561" y="709531"/>
                  <a:pt x="1395714" y="709531"/>
                </a:cubicBezTo>
                <a:cubicBezTo>
                  <a:pt x="1378867" y="709531"/>
                  <a:pt x="1365161" y="723185"/>
                  <a:pt x="1365161" y="739968"/>
                </a:cubicBezTo>
                <a:close/>
                <a:moveTo>
                  <a:pt x="1424553" y="739968"/>
                </a:moveTo>
                <a:cubicBezTo>
                  <a:pt x="1424553" y="756751"/>
                  <a:pt x="1438259" y="770404"/>
                  <a:pt x="1455106" y="770404"/>
                </a:cubicBezTo>
                <a:cubicBezTo>
                  <a:pt x="1471953" y="770404"/>
                  <a:pt x="1485658" y="756751"/>
                  <a:pt x="1485658" y="739968"/>
                </a:cubicBezTo>
                <a:cubicBezTo>
                  <a:pt x="1485658" y="723185"/>
                  <a:pt x="1471953" y="709531"/>
                  <a:pt x="1455106" y="709531"/>
                </a:cubicBezTo>
                <a:cubicBezTo>
                  <a:pt x="1438259" y="709531"/>
                  <a:pt x="1424553" y="723185"/>
                  <a:pt x="1424553" y="739968"/>
                </a:cubicBezTo>
                <a:close/>
                <a:moveTo>
                  <a:pt x="95" y="799040"/>
                </a:moveTo>
                <a:cubicBezTo>
                  <a:pt x="95" y="815823"/>
                  <a:pt x="13801" y="829477"/>
                  <a:pt x="30648" y="829477"/>
                </a:cubicBezTo>
                <a:cubicBezTo>
                  <a:pt x="47495" y="829477"/>
                  <a:pt x="61200" y="815823"/>
                  <a:pt x="61200" y="799040"/>
                </a:cubicBezTo>
                <a:cubicBezTo>
                  <a:pt x="61200" y="782257"/>
                  <a:pt x="47495" y="768603"/>
                  <a:pt x="30648" y="768603"/>
                </a:cubicBezTo>
                <a:cubicBezTo>
                  <a:pt x="13801" y="768603"/>
                  <a:pt x="95" y="782257"/>
                  <a:pt x="95" y="799040"/>
                </a:cubicBezTo>
                <a:close/>
                <a:moveTo>
                  <a:pt x="118784" y="799040"/>
                </a:moveTo>
                <a:cubicBezTo>
                  <a:pt x="118784" y="815823"/>
                  <a:pt x="132490" y="829477"/>
                  <a:pt x="149337" y="829477"/>
                </a:cubicBezTo>
                <a:cubicBezTo>
                  <a:pt x="166184" y="829477"/>
                  <a:pt x="179889" y="815823"/>
                  <a:pt x="179889" y="799040"/>
                </a:cubicBezTo>
                <a:cubicBezTo>
                  <a:pt x="179889" y="782257"/>
                  <a:pt x="166184" y="768603"/>
                  <a:pt x="149337" y="768603"/>
                </a:cubicBezTo>
                <a:cubicBezTo>
                  <a:pt x="132490" y="768603"/>
                  <a:pt x="118784" y="782257"/>
                  <a:pt x="118784" y="799040"/>
                </a:cubicBezTo>
                <a:close/>
                <a:moveTo>
                  <a:pt x="178081" y="799040"/>
                </a:moveTo>
                <a:cubicBezTo>
                  <a:pt x="178081" y="815823"/>
                  <a:pt x="191787" y="829477"/>
                  <a:pt x="208634" y="829477"/>
                </a:cubicBezTo>
                <a:cubicBezTo>
                  <a:pt x="225480" y="829477"/>
                  <a:pt x="239186" y="815823"/>
                  <a:pt x="239186" y="799040"/>
                </a:cubicBezTo>
                <a:cubicBezTo>
                  <a:pt x="239186" y="782257"/>
                  <a:pt x="225480" y="768603"/>
                  <a:pt x="208634" y="768603"/>
                </a:cubicBezTo>
                <a:cubicBezTo>
                  <a:pt x="191787" y="768603"/>
                  <a:pt x="178081" y="782257"/>
                  <a:pt x="178081" y="799040"/>
                </a:cubicBezTo>
                <a:close/>
                <a:moveTo>
                  <a:pt x="237473" y="799040"/>
                </a:moveTo>
                <a:cubicBezTo>
                  <a:pt x="237473" y="815823"/>
                  <a:pt x="251179" y="829477"/>
                  <a:pt x="268026" y="829477"/>
                </a:cubicBezTo>
                <a:cubicBezTo>
                  <a:pt x="284873" y="829477"/>
                  <a:pt x="298578" y="815823"/>
                  <a:pt x="298578" y="799040"/>
                </a:cubicBezTo>
                <a:cubicBezTo>
                  <a:pt x="298578" y="782257"/>
                  <a:pt x="284873" y="768603"/>
                  <a:pt x="268026" y="768603"/>
                </a:cubicBezTo>
                <a:cubicBezTo>
                  <a:pt x="251179" y="768603"/>
                  <a:pt x="237473" y="782257"/>
                  <a:pt x="237473" y="799040"/>
                </a:cubicBezTo>
                <a:close/>
                <a:moveTo>
                  <a:pt x="415554" y="799040"/>
                </a:moveTo>
                <a:cubicBezTo>
                  <a:pt x="415554" y="815823"/>
                  <a:pt x="429260" y="829477"/>
                  <a:pt x="446107" y="829477"/>
                </a:cubicBezTo>
                <a:cubicBezTo>
                  <a:pt x="462954" y="829477"/>
                  <a:pt x="476659" y="815823"/>
                  <a:pt x="476659" y="799040"/>
                </a:cubicBezTo>
                <a:cubicBezTo>
                  <a:pt x="476659" y="782257"/>
                  <a:pt x="462954" y="768603"/>
                  <a:pt x="446107" y="768603"/>
                </a:cubicBezTo>
                <a:cubicBezTo>
                  <a:pt x="429260" y="768603"/>
                  <a:pt x="415554" y="782257"/>
                  <a:pt x="415554" y="799040"/>
                </a:cubicBezTo>
                <a:close/>
                <a:moveTo>
                  <a:pt x="474851" y="799040"/>
                </a:moveTo>
                <a:cubicBezTo>
                  <a:pt x="474851" y="815823"/>
                  <a:pt x="488557" y="829477"/>
                  <a:pt x="505404" y="829477"/>
                </a:cubicBezTo>
                <a:cubicBezTo>
                  <a:pt x="522250" y="829477"/>
                  <a:pt x="535956" y="815823"/>
                  <a:pt x="535956" y="799040"/>
                </a:cubicBezTo>
                <a:cubicBezTo>
                  <a:pt x="535956" y="782257"/>
                  <a:pt x="522250" y="768603"/>
                  <a:pt x="505404" y="768603"/>
                </a:cubicBezTo>
                <a:cubicBezTo>
                  <a:pt x="488557" y="768603"/>
                  <a:pt x="474851" y="782257"/>
                  <a:pt x="474851" y="799040"/>
                </a:cubicBezTo>
                <a:close/>
                <a:moveTo>
                  <a:pt x="534243" y="799040"/>
                </a:moveTo>
                <a:cubicBezTo>
                  <a:pt x="534243" y="815823"/>
                  <a:pt x="547949" y="829477"/>
                  <a:pt x="564796" y="829477"/>
                </a:cubicBezTo>
                <a:cubicBezTo>
                  <a:pt x="581643" y="829477"/>
                  <a:pt x="595348" y="815823"/>
                  <a:pt x="595348" y="799040"/>
                </a:cubicBezTo>
                <a:cubicBezTo>
                  <a:pt x="595348" y="782257"/>
                  <a:pt x="581643" y="768603"/>
                  <a:pt x="564796" y="768603"/>
                </a:cubicBezTo>
                <a:cubicBezTo>
                  <a:pt x="547949" y="768603"/>
                  <a:pt x="534243" y="782257"/>
                  <a:pt x="534243" y="799040"/>
                </a:cubicBezTo>
                <a:close/>
                <a:moveTo>
                  <a:pt x="593635" y="799040"/>
                </a:moveTo>
                <a:cubicBezTo>
                  <a:pt x="593635" y="815823"/>
                  <a:pt x="607341" y="829477"/>
                  <a:pt x="624188" y="829477"/>
                </a:cubicBezTo>
                <a:cubicBezTo>
                  <a:pt x="641035" y="829477"/>
                  <a:pt x="654740" y="815823"/>
                  <a:pt x="654740" y="799040"/>
                </a:cubicBezTo>
                <a:cubicBezTo>
                  <a:pt x="654740" y="782257"/>
                  <a:pt x="641035" y="768603"/>
                  <a:pt x="624188" y="768603"/>
                </a:cubicBezTo>
                <a:cubicBezTo>
                  <a:pt x="607341" y="768603"/>
                  <a:pt x="593635" y="782257"/>
                  <a:pt x="593635" y="799040"/>
                </a:cubicBezTo>
                <a:close/>
                <a:moveTo>
                  <a:pt x="712324" y="799040"/>
                </a:moveTo>
                <a:cubicBezTo>
                  <a:pt x="712324" y="815823"/>
                  <a:pt x="726030" y="829477"/>
                  <a:pt x="742877" y="829477"/>
                </a:cubicBezTo>
                <a:cubicBezTo>
                  <a:pt x="759724" y="829477"/>
                  <a:pt x="773429" y="815823"/>
                  <a:pt x="773429" y="799040"/>
                </a:cubicBezTo>
                <a:cubicBezTo>
                  <a:pt x="773429" y="782257"/>
                  <a:pt x="759724" y="768603"/>
                  <a:pt x="742877" y="768603"/>
                </a:cubicBezTo>
                <a:cubicBezTo>
                  <a:pt x="726030" y="768603"/>
                  <a:pt x="712324" y="782257"/>
                  <a:pt x="712324" y="799040"/>
                </a:cubicBezTo>
                <a:close/>
                <a:moveTo>
                  <a:pt x="771621" y="799040"/>
                </a:moveTo>
                <a:cubicBezTo>
                  <a:pt x="771621" y="815823"/>
                  <a:pt x="785327" y="829477"/>
                  <a:pt x="802174" y="829477"/>
                </a:cubicBezTo>
                <a:cubicBezTo>
                  <a:pt x="819021" y="829477"/>
                  <a:pt x="832726" y="815823"/>
                  <a:pt x="832726" y="799040"/>
                </a:cubicBezTo>
                <a:cubicBezTo>
                  <a:pt x="832726" y="782257"/>
                  <a:pt x="819021" y="768603"/>
                  <a:pt x="802174" y="768603"/>
                </a:cubicBezTo>
                <a:cubicBezTo>
                  <a:pt x="785327" y="768603"/>
                  <a:pt x="771621" y="782257"/>
                  <a:pt x="771621" y="799040"/>
                </a:cubicBezTo>
                <a:close/>
                <a:moveTo>
                  <a:pt x="949702" y="799040"/>
                </a:moveTo>
                <a:cubicBezTo>
                  <a:pt x="949702" y="815823"/>
                  <a:pt x="963408" y="829477"/>
                  <a:pt x="980255" y="829477"/>
                </a:cubicBezTo>
                <a:cubicBezTo>
                  <a:pt x="997101" y="829477"/>
                  <a:pt x="1010807" y="815823"/>
                  <a:pt x="1010807" y="799040"/>
                </a:cubicBezTo>
                <a:cubicBezTo>
                  <a:pt x="1010807" y="782257"/>
                  <a:pt x="997101" y="768603"/>
                  <a:pt x="980255" y="768603"/>
                </a:cubicBezTo>
                <a:cubicBezTo>
                  <a:pt x="963408" y="768603"/>
                  <a:pt x="949702" y="782257"/>
                  <a:pt x="949702" y="799040"/>
                </a:cubicBezTo>
                <a:close/>
                <a:moveTo>
                  <a:pt x="1009094" y="799040"/>
                </a:moveTo>
                <a:cubicBezTo>
                  <a:pt x="1009094" y="815823"/>
                  <a:pt x="1022800" y="829477"/>
                  <a:pt x="1039647" y="829477"/>
                </a:cubicBezTo>
                <a:cubicBezTo>
                  <a:pt x="1056494" y="829477"/>
                  <a:pt x="1070199" y="815823"/>
                  <a:pt x="1070199" y="799040"/>
                </a:cubicBezTo>
                <a:cubicBezTo>
                  <a:pt x="1070199" y="782257"/>
                  <a:pt x="1056494" y="768603"/>
                  <a:pt x="1039647" y="768603"/>
                </a:cubicBezTo>
                <a:cubicBezTo>
                  <a:pt x="1022800" y="768603"/>
                  <a:pt x="1009094" y="782257"/>
                  <a:pt x="1009094" y="799040"/>
                </a:cubicBezTo>
                <a:close/>
                <a:moveTo>
                  <a:pt x="1127783" y="799040"/>
                </a:moveTo>
                <a:cubicBezTo>
                  <a:pt x="1127783" y="815823"/>
                  <a:pt x="1141489" y="829477"/>
                  <a:pt x="1158336" y="829477"/>
                </a:cubicBezTo>
                <a:cubicBezTo>
                  <a:pt x="1175183" y="829477"/>
                  <a:pt x="1188888" y="815823"/>
                  <a:pt x="1188888" y="799040"/>
                </a:cubicBezTo>
                <a:cubicBezTo>
                  <a:pt x="1188888" y="782257"/>
                  <a:pt x="1175183" y="768603"/>
                  <a:pt x="1158336" y="768603"/>
                </a:cubicBezTo>
                <a:cubicBezTo>
                  <a:pt x="1141489" y="768603"/>
                  <a:pt x="1127783" y="782257"/>
                  <a:pt x="1127783" y="799040"/>
                </a:cubicBezTo>
                <a:close/>
                <a:moveTo>
                  <a:pt x="1246472" y="799040"/>
                </a:moveTo>
                <a:cubicBezTo>
                  <a:pt x="1246472" y="815823"/>
                  <a:pt x="1260178" y="829477"/>
                  <a:pt x="1277025" y="829477"/>
                </a:cubicBezTo>
                <a:cubicBezTo>
                  <a:pt x="1293872" y="829477"/>
                  <a:pt x="1307577" y="815823"/>
                  <a:pt x="1307577" y="799040"/>
                </a:cubicBezTo>
                <a:cubicBezTo>
                  <a:pt x="1307577" y="782257"/>
                  <a:pt x="1293872" y="768603"/>
                  <a:pt x="1277025" y="768603"/>
                </a:cubicBezTo>
                <a:cubicBezTo>
                  <a:pt x="1260178" y="768603"/>
                  <a:pt x="1246472" y="782257"/>
                  <a:pt x="1246472" y="799040"/>
                </a:cubicBezTo>
                <a:close/>
                <a:moveTo>
                  <a:pt x="1365161" y="799040"/>
                </a:moveTo>
                <a:cubicBezTo>
                  <a:pt x="1365161" y="815823"/>
                  <a:pt x="1378867" y="829477"/>
                  <a:pt x="1395714" y="829477"/>
                </a:cubicBezTo>
                <a:cubicBezTo>
                  <a:pt x="1412561" y="829477"/>
                  <a:pt x="1426266" y="815823"/>
                  <a:pt x="1426266" y="799040"/>
                </a:cubicBezTo>
                <a:cubicBezTo>
                  <a:pt x="1426266" y="782257"/>
                  <a:pt x="1412561" y="768603"/>
                  <a:pt x="1395714" y="768603"/>
                </a:cubicBezTo>
                <a:cubicBezTo>
                  <a:pt x="1378867" y="768603"/>
                  <a:pt x="1365161" y="782257"/>
                  <a:pt x="1365161" y="799040"/>
                </a:cubicBezTo>
                <a:close/>
                <a:moveTo>
                  <a:pt x="95" y="858207"/>
                </a:moveTo>
                <a:cubicBezTo>
                  <a:pt x="95" y="874990"/>
                  <a:pt x="13801" y="888644"/>
                  <a:pt x="30648" y="888644"/>
                </a:cubicBezTo>
                <a:cubicBezTo>
                  <a:pt x="47495" y="888644"/>
                  <a:pt x="61200" y="874990"/>
                  <a:pt x="61200" y="858207"/>
                </a:cubicBezTo>
                <a:cubicBezTo>
                  <a:pt x="61200" y="841424"/>
                  <a:pt x="47495" y="827770"/>
                  <a:pt x="30648" y="827770"/>
                </a:cubicBezTo>
                <a:cubicBezTo>
                  <a:pt x="13801" y="827770"/>
                  <a:pt x="95" y="841424"/>
                  <a:pt x="95" y="858207"/>
                </a:cubicBezTo>
                <a:close/>
                <a:moveTo>
                  <a:pt x="118784" y="858207"/>
                </a:moveTo>
                <a:cubicBezTo>
                  <a:pt x="118784" y="874990"/>
                  <a:pt x="132490" y="888644"/>
                  <a:pt x="149337" y="888644"/>
                </a:cubicBezTo>
                <a:cubicBezTo>
                  <a:pt x="166184" y="888644"/>
                  <a:pt x="179889" y="874990"/>
                  <a:pt x="179889" y="858207"/>
                </a:cubicBezTo>
                <a:cubicBezTo>
                  <a:pt x="179889" y="841424"/>
                  <a:pt x="166184" y="827770"/>
                  <a:pt x="149337" y="827770"/>
                </a:cubicBezTo>
                <a:cubicBezTo>
                  <a:pt x="132490" y="827770"/>
                  <a:pt x="118784" y="841424"/>
                  <a:pt x="118784" y="858207"/>
                </a:cubicBezTo>
                <a:close/>
                <a:moveTo>
                  <a:pt x="178081" y="858207"/>
                </a:moveTo>
                <a:cubicBezTo>
                  <a:pt x="178081" y="874990"/>
                  <a:pt x="191787" y="888644"/>
                  <a:pt x="208634" y="888644"/>
                </a:cubicBezTo>
                <a:cubicBezTo>
                  <a:pt x="225480" y="888644"/>
                  <a:pt x="239186" y="874990"/>
                  <a:pt x="239186" y="858207"/>
                </a:cubicBezTo>
                <a:cubicBezTo>
                  <a:pt x="239186" y="841424"/>
                  <a:pt x="225480" y="827770"/>
                  <a:pt x="208634" y="827770"/>
                </a:cubicBezTo>
                <a:cubicBezTo>
                  <a:pt x="191787" y="827770"/>
                  <a:pt x="178081" y="841424"/>
                  <a:pt x="178081" y="858207"/>
                </a:cubicBezTo>
                <a:close/>
                <a:moveTo>
                  <a:pt x="356162" y="858207"/>
                </a:moveTo>
                <a:cubicBezTo>
                  <a:pt x="356162" y="874990"/>
                  <a:pt x="369868" y="888644"/>
                  <a:pt x="386715" y="888644"/>
                </a:cubicBezTo>
                <a:cubicBezTo>
                  <a:pt x="403562" y="888644"/>
                  <a:pt x="417267" y="874990"/>
                  <a:pt x="417267" y="858207"/>
                </a:cubicBezTo>
                <a:cubicBezTo>
                  <a:pt x="417267" y="841424"/>
                  <a:pt x="403562" y="827770"/>
                  <a:pt x="386715" y="827770"/>
                </a:cubicBezTo>
                <a:cubicBezTo>
                  <a:pt x="369868" y="827770"/>
                  <a:pt x="356162" y="841424"/>
                  <a:pt x="356162" y="858207"/>
                </a:cubicBezTo>
                <a:close/>
                <a:moveTo>
                  <a:pt x="474851" y="858207"/>
                </a:moveTo>
                <a:cubicBezTo>
                  <a:pt x="474851" y="874990"/>
                  <a:pt x="488557" y="888644"/>
                  <a:pt x="505404" y="888644"/>
                </a:cubicBezTo>
                <a:cubicBezTo>
                  <a:pt x="522250" y="888644"/>
                  <a:pt x="535956" y="874990"/>
                  <a:pt x="535956" y="858207"/>
                </a:cubicBezTo>
                <a:cubicBezTo>
                  <a:pt x="535956" y="841424"/>
                  <a:pt x="522250" y="827770"/>
                  <a:pt x="505404" y="827770"/>
                </a:cubicBezTo>
                <a:cubicBezTo>
                  <a:pt x="488557" y="827770"/>
                  <a:pt x="474851" y="841424"/>
                  <a:pt x="474851" y="858207"/>
                </a:cubicBezTo>
                <a:close/>
                <a:moveTo>
                  <a:pt x="771621" y="858207"/>
                </a:moveTo>
                <a:cubicBezTo>
                  <a:pt x="771621" y="874990"/>
                  <a:pt x="785327" y="888644"/>
                  <a:pt x="802174" y="888644"/>
                </a:cubicBezTo>
                <a:cubicBezTo>
                  <a:pt x="819021" y="888644"/>
                  <a:pt x="832726" y="874990"/>
                  <a:pt x="832726" y="858207"/>
                </a:cubicBezTo>
                <a:cubicBezTo>
                  <a:pt x="832726" y="841424"/>
                  <a:pt x="819021" y="827770"/>
                  <a:pt x="802174" y="827770"/>
                </a:cubicBezTo>
                <a:cubicBezTo>
                  <a:pt x="785327" y="827770"/>
                  <a:pt x="771621" y="841424"/>
                  <a:pt x="771621" y="858207"/>
                </a:cubicBezTo>
                <a:close/>
                <a:moveTo>
                  <a:pt x="831013" y="858207"/>
                </a:moveTo>
                <a:cubicBezTo>
                  <a:pt x="831013" y="874990"/>
                  <a:pt x="844719" y="888644"/>
                  <a:pt x="861566" y="888644"/>
                </a:cubicBezTo>
                <a:cubicBezTo>
                  <a:pt x="878413" y="888644"/>
                  <a:pt x="892118" y="874990"/>
                  <a:pt x="892118" y="858207"/>
                </a:cubicBezTo>
                <a:cubicBezTo>
                  <a:pt x="892118" y="841424"/>
                  <a:pt x="878413" y="827770"/>
                  <a:pt x="861566" y="827770"/>
                </a:cubicBezTo>
                <a:cubicBezTo>
                  <a:pt x="844719" y="827770"/>
                  <a:pt x="831013" y="841424"/>
                  <a:pt x="831013" y="858207"/>
                </a:cubicBezTo>
                <a:close/>
                <a:moveTo>
                  <a:pt x="890310" y="858207"/>
                </a:moveTo>
                <a:cubicBezTo>
                  <a:pt x="890310" y="874990"/>
                  <a:pt x="904016" y="888644"/>
                  <a:pt x="920863" y="888644"/>
                </a:cubicBezTo>
                <a:cubicBezTo>
                  <a:pt x="937709" y="888644"/>
                  <a:pt x="951415" y="874990"/>
                  <a:pt x="951415" y="858207"/>
                </a:cubicBezTo>
                <a:cubicBezTo>
                  <a:pt x="951415" y="841424"/>
                  <a:pt x="937709" y="827770"/>
                  <a:pt x="920863" y="827770"/>
                </a:cubicBezTo>
                <a:cubicBezTo>
                  <a:pt x="904016" y="827770"/>
                  <a:pt x="890310" y="841424"/>
                  <a:pt x="890310" y="858207"/>
                </a:cubicBezTo>
                <a:close/>
                <a:moveTo>
                  <a:pt x="949702" y="858207"/>
                </a:moveTo>
                <a:cubicBezTo>
                  <a:pt x="949702" y="874990"/>
                  <a:pt x="963408" y="888644"/>
                  <a:pt x="980255" y="888644"/>
                </a:cubicBezTo>
                <a:cubicBezTo>
                  <a:pt x="997101" y="888644"/>
                  <a:pt x="1010807" y="874990"/>
                  <a:pt x="1010807" y="858207"/>
                </a:cubicBezTo>
                <a:cubicBezTo>
                  <a:pt x="1010807" y="841424"/>
                  <a:pt x="997101" y="827770"/>
                  <a:pt x="980255" y="827770"/>
                </a:cubicBezTo>
                <a:cubicBezTo>
                  <a:pt x="963408" y="827770"/>
                  <a:pt x="949702" y="841424"/>
                  <a:pt x="949702" y="858207"/>
                </a:cubicBezTo>
                <a:close/>
                <a:moveTo>
                  <a:pt x="1068391" y="858207"/>
                </a:moveTo>
                <a:cubicBezTo>
                  <a:pt x="1068391" y="874990"/>
                  <a:pt x="1082097" y="888644"/>
                  <a:pt x="1098944" y="888644"/>
                </a:cubicBezTo>
                <a:cubicBezTo>
                  <a:pt x="1115790" y="888644"/>
                  <a:pt x="1129496" y="874990"/>
                  <a:pt x="1129496" y="858207"/>
                </a:cubicBezTo>
                <a:cubicBezTo>
                  <a:pt x="1129496" y="841424"/>
                  <a:pt x="1115790" y="827770"/>
                  <a:pt x="1098944" y="827770"/>
                </a:cubicBezTo>
                <a:cubicBezTo>
                  <a:pt x="1082097" y="827770"/>
                  <a:pt x="1068391" y="841424"/>
                  <a:pt x="1068391" y="858207"/>
                </a:cubicBezTo>
                <a:close/>
                <a:moveTo>
                  <a:pt x="1127783" y="858207"/>
                </a:moveTo>
                <a:cubicBezTo>
                  <a:pt x="1127783" y="874990"/>
                  <a:pt x="1141489" y="888644"/>
                  <a:pt x="1158336" y="888644"/>
                </a:cubicBezTo>
                <a:cubicBezTo>
                  <a:pt x="1175183" y="888644"/>
                  <a:pt x="1188888" y="874990"/>
                  <a:pt x="1188888" y="858207"/>
                </a:cubicBezTo>
                <a:cubicBezTo>
                  <a:pt x="1188888" y="841424"/>
                  <a:pt x="1175183" y="827770"/>
                  <a:pt x="1158336" y="827770"/>
                </a:cubicBezTo>
                <a:cubicBezTo>
                  <a:pt x="1141489" y="827770"/>
                  <a:pt x="1127783" y="841424"/>
                  <a:pt x="1127783" y="858207"/>
                </a:cubicBezTo>
                <a:close/>
                <a:moveTo>
                  <a:pt x="1187080" y="858207"/>
                </a:moveTo>
                <a:cubicBezTo>
                  <a:pt x="1187080" y="874990"/>
                  <a:pt x="1200786" y="888644"/>
                  <a:pt x="1217633" y="888644"/>
                </a:cubicBezTo>
                <a:cubicBezTo>
                  <a:pt x="1234479" y="888644"/>
                  <a:pt x="1248185" y="874990"/>
                  <a:pt x="1248185" y="858207"/>
                </a:cubicBezTo>
                <a:cubicBezTo>
                  <a:pt x="1248185" y="841424"/>
                  <a:pt x="1234479" y="827770"/>
                  <a:pt x="1217633" y="827770"/>
                </a:cubicBezTo>
                <a:cubicBezTo>
                  <a:pt x="1200786" y="827770"/>
                  <a:pt x="1187080" y="841424"/>
                  <a:pt x="1187080" y="858207"/>
                </a:cubicBezTo>
                <a:close/>
                <a:moveTo>
                  <a:pt x="1246472" y="858207"/>
                </a:moveTo>
                <a:cubicBezTo>
                  <a:pt x="1246472" y="874990"/>
                  <a:pt x="1260178" y="888644"/>
                  <a:pt x="1277025" y="888644"/>
                </a:cubicBezTo>
                <a:cubicBezTo>
                  <a:pt x="1293872" y="888644"/>
                  <a:pt x="1307577" y="874990"/>
                  <a:pt x="1307577" y="858207"/>
                </a:cubicBezTo>
                <a:cubicBezTo>
                  <a:pt x="1307577" y="841424"/>
                  <a:pt x="1293872" y="827770"/>
                  <a:pt x="1277025" y="827770"/>
                </a:cubicBezTo>
                <a:cubicBezTo>
                  <a:pt x="1260178" y="827770"/>
                  <a:pt x="1246472" y="841424"/>
                  <a:pt x="1246472" y="858207"/>
                </a:cubicBezTo>
                <a:close/>
                <a:moveTo>
                  <a:pt x="1365161" y="858207"/>
                </a:moveTo>
                <a:cubicBezTo>
                  <a:pt x="1365161" y="874990"/>
                  <a:pt x="1378867" y="888644"/>
                  <a:pt x="1395714" y="888644"/>
                </a:cubicBezTo>
                <a:cubicBezTo>
                  <a:pt x="1412561" y="888644"/>
                  <a:pt x="1426266" y="874990"/>
                  <a:pt x="1426266" y="858207"/>
                </a:cubicBezTo>
                <a:cubicBezTo>
                  <a:pt x="1426266" y="841424"/>
                  <a:pt x="1412561" y="827770"/>
                  <a:pt x="1395714" y="827770"/>
                </a:cubicBezTo>
                <a:cubicBezTo>
                  <a:pt x="1378867" y="827770"/>
                  <a:pt x="1365161" y="841424"/>
                  <a:pt x="1365161" y="858207"/>
                </a:cubicBezTo>
                <a:close/>
                <a:moveTo>
                  <a:pt x="1424553" y="858207"/>
                </a:moveTo>
                <a:cubicBezTo>
                  <a:pt x="1424553" y="874990"/>
                  <a:pt x="1438259" y="888644"/>
                  <a:pt x="1455106" y="888644"/>
                </a:cubicBezTo>
                <a:cubicBezTo>
                  <a:pt x="1471953" y="888644"/>
                  <a:pt x="1485658" y="874990"/>
                  <a:pt x="1485658" y="858207"/>
                </a:cubicBezTo>
                <a:cubicBezTo>
                  <a:pt x="1485658" y="841424"/>
                  <a:pt x="1471953" y="827770"/>
                  <a:pt x="1455106" y="827770"/>
                </a:cubicBezTo>
                <a:cubicBezTo>
                  <a:pt x="1438259" y="827770"/>
                  <a:pt x="1424553" y="841424"/>
                  <a:pt x="1424553" y="858207"/>
                </a:cubicBezTo>
                <a:close/>
                <a:moveTo>
                  <a:pt x="95" y="917374"/>
                </a:moveTo>
                <a:cubicBezTo>
                  <a:pt x="95" y="934157"/>
                  <a:pt x="13801" y="947811"/>
                  <a:pt x="30648" y="947811"/>
                </a:cubicBezTo>
                <a:cubicBezTo>
                  <a:pt x="47495" y="947811"/>
                  <a:pt x="61200" y="934157"/>
                  <a:pt x="61200" y="917374"/>
                </a:cubicBezTo>
                <a:cubicBezTo>
                  <a:pt x="61200" y="900591"/>
                  <a:pt x="47495" y="886937"/>
                  <a:pt x="30648" y="886937"/>
                </a:cubicBezTo>
                <a:cubicBezTo>
                  <a:pt x="13801" y="886937"/>
                  <a:pt x="95" y="900591"/>
                  <a:pt x="95" y="917374"/>
                </a:cubicBezTo>
                <a:close/>
                <a:moveTo>
                  <a:pt x="593635" y="917374"/>
                </a:moveTo>
                <a:cubicBezTo>
                  <a:pt x="593635" y="934157"/>
                  <a:pt x="607341" y="947811"/>
                  <a:pt x="624188" y="947811"/>
                </a:cubicBezTo>
                <a:cubicBezTo>
                  <a:pt x="641035" y="947811"/>
                  <a:pt x="654740" y="934157"/>
                  <a:pt x="654740" y="917374"/>
                </a:cubicBezTo>
                <a:cubicBezTo>
                  <a:pt x="654740" y="900591"/>
                  <a:pt x="641035" y="886937"/>
                  <a:pt x="624188" y="886937"/>
                </a:cubicBezTo>
                <a:cubicBezTo>
                  <a:pt x="607341" y="886937"/>
                  <a:pt x="593635" y="900591"/>
                  <a:pt x="593635" y="917374"/>
                </a:cubicBezTo>
                <a:close/>
                <a:moveTo>
                  <a:pt x="712324" y="917374"/>
                </a:moveTo>
                <a:cubicBezTo>
                  <a:pt x="712324" y="934157"/>
                  <a:pt x="726030" y="947811"/>
                  <a:pt x="742877" y="947811"/>
                </a:cubicBezTo>
                <a:cubicBezTo>
                  <a:pt x="759724" y="947811"/>
                  <a:pt x="773429" y="934157"/>
                  <a:pt x="773429" y="917374"/>
                </a:cubicBezTo>
                <a:cubicBezTo>
                  <a:pt x="773429" y="900591"/>
                  <a:pt x="759724" y="886937"/>
                  <a:pt x="742877" y="886937"/>
                </a:cubicBezTo>
                <a:cubicBezTo>
                  <a:pt x="726030" y="886937"/>
                  <a:pt x="712324" y="900591"/>
                  <a:pt x="712324" y="917374"/>
                </a:cubicBezTo>
                <a:close/>
                <a:moveTo>
                  <a:pt x="771621" y="917374"/>
                </a:moveTo>
                <a:cubicBezTo>
                  <a:pt x="771621" y="934157"/>
                  <a:pt x="785327" y="947811"/>
                  <a:pt x="802174" y="947811"/>
                </a:cubicBezTo>
                <a:cubicBezTo>
                  <a:pt x="819021" y="947811"/>
                  <a:pt x="832726" y="934157"/>
                  <a:pt x="832726" y="917374"/>
                </a:cubicBezTo>
                <a:cubicBezTo>
                  <a:pt x="832726" y="900591"/>
                  <a:pt x="819021" y="886937"/>
                  <a:pt x="802174" y="886937"/>
                </a:cubicBezTo>
                <a:cubicBezTo>
                  <a:pt x="785327" y="886937"/>
                  <a:pt x="771621" y="900591"/>
                  <a:pt x="771621" y="917374"/>
                </a:cubicBezTo>
                <a:close/>
                <a:moveTo>
                  <a:pt x="890310" y="917374"/>
                </a:moveTo>
                <a:cubicBezTo>
                  <a:pt x="890310" y="934157"/>
                  <a:pt x="904016" y="947811"/>
                  <a:pt x="920863" y="947811"/>
                </a:cubicBezTo>
                <a:cubicBezTo>
                  <a:pt x="937709" y="947811"/>
                  <a:pt x="951415" y="934157"/>
                  <a:pt x="951415" y="917374"/>
                </a:cubicBezTo>
                <a:cubicBezTo>
                  <a:pt x="951415" y="900591"/>
                  <a:pt x="937709" y="886937"/>
                  <a:pt x="920863" y="886937"/>
                </a:cubicBezTo>
                <a:cubicBezTo>
                  <a:pt x="904016" y="886937"/>
                  <a:pt x="890310" y="900591"/>
                  <a:pt x="890310" y="917374"/>
                </a:cubicBezTo>
                <a:close/>
                <a:moveTo>
                  <a:pt x="949702" y="917374"/>
                </a:moveTo>
                <a:cubicBezTo>
                  <a:pt x="949702" y="934157"/>
                  <a:pt x="963408" y="947811"/>
                  <a:pt x="980255" y="947811"/>
                </a:cubicBezTo>
                <a:cubicBezTo>
                  <a:pt x="997101" y="947811"/>
                  <a:pt x="1010807" y="934157"/>
                  <a:pt x="1010807" y="917374"/>
                </a:cubicBezTo>
                <a:cubicBezTo>
                  <a:pt x="1010807" y="900591"/>
                  <a:pt x="997101" y="886937"/>
                  <a:pt x="980255" y="886937"/>
                </a:cubicBezTo>
                <a:cubicBezTo>
                  <a:pt x="963408" y="886937"/>
                  <a:pt x="949702" y="900591"/>
                  <a:pt x="949702" y="917374"/>
                </a:cubicBezTo>
                <a:close/>
                <a:moveTo>
                  <a:pt x="1127783" y="917374"/>
                </a:moveTo>
                <a:cubicBezTo>
                  <a:pt x="1127783" y="934157"/>
                  <a:pt x="1141489" y="947811"/>
                  <a:pt x="1158336" y="947811"/>
                </a:cubicBezTo>
                <a:cubicBezTo>
                  <a:pt x="1175183" y="947811"/>
                  <a:pt x="1188888" y="934157"/>
                  <a:pt x="1188888" y="917374"/>
                </a:cubicBezTo>
                <a:cubicBezTo>
                  <a:pt x="1188888" y="900591"/>
                  <a:pt x="1175183" y="886937"/>
                  <a:pt x="1158336" y="886937"/>
                </a:cubicBezTo>
                <a:cubicBezTo>
                  <a:pt x="1141489" y="886937"/>
                  <a:pt x="1127783" y="900591"/>
                  <a:pt x="1127783" y="917374"/>
                </a:cubicBezTo>
                <a:close/>
                <a:moveTo>
                  <a:pt x="1187080" y="917374"/>
                </a:moveTo>
                <a:cubicBezTo>
                  <a:pt x="1187080" y="934157"/>
                  <a:pt x="1200786" y="947811"/>
                  <a:pt x="1217633" y="947811"/>
                </a:cubicBezTo>
                <a:cubicBezTo>
                  <a:pt x="1234479" y="947811"/>
                  <a:pt x="1248185" y="934157"/>
                  <a:pt x="1248185" y="917374"/>
                </a:cubicBezTo>
                <a:cubicBezTo>
                  <a:pt x="1248185" y="900591"/>
                  <a:pt x="1234479" y="886937"/>
                  <a:pt x="1217633" y="886937"/>
                </a:cubicBezTo>
                <a:cubicBezTo>
                  <a:pt x="1200786" y="886937"/>
                  <a:pt x="1187080" y="900591"/>
                  <a:pt x="1187080" y="917374"/>
                </a:cubicBezTo>
                <a:close/>
                <a:moveTo>
                  <a:pt x="1424553" y="917374"/>
                </a:moveTo>
                <a:cubicBezTo>
                  <a:pt x="1424553" y="934157"/>
                  <a:pt x="1438259" y="947811"/>
                  <a:pt x="1455106" y="947811"/>
                </a:cubicBezTo>
                <a:cubicBezTo>
                  <a:pt x="1471953" y="947811"/>
                  <a:pt x="1485658" y="934157"/>
                  <a:pt x="1485658" y="917374"/>
                </a:cubicBezTo>
                <a:cubicBezTo>
                  <a:pt x="1485658" y="900591"/>
                  <a:pt x="1471953" y="886937"/>
                  <a:pt x="1455106" y="886937"/>
                </a:cubicBezTo>
                <a:cubicBezTo>
                  <a:pt x="1438259" y="886937"/>
                  <a:pt x="1424553" y="900591"/>
                  <a:pt x="1424553" y="917374"/>
                </a:cubicBezTo>
                <a:close/>
                <a:moveTo>
                  <a:pt x="95" y="976446"/>
                </a:moveTo>
                <a:cubicBezTo>
                  <a:pt x="95" y="993229"/>
                  <a:pt x="13801" y="1006883"/>
                  <a:pt x="30648" y="1006883"/>
                </a:cubicBezTo>
                <a:cubicBezTo>
                  <a:pt x="47495" y="1006883"/>
                  <a:pt x="61200" y="993229"/>
                  <a:pt x="61200" y="976446"/>
                </a:cubicBezTo>
                <a:cubicBezTo>
                  <a:pt x="61200" y="959663"/>
                  <a:pt x="47495" y="946009"/>
                  <a:pt x="30648" y="946009"/>
                </a:cubicBezTo>
                <a:cubicBezTo>
                  <a:pt x="13801" y="946009"/>
                  <a:pt x="95" y="959663"/>
                  <a:pt x="95" y="976446"/>
                </a:cubicBezTo>
                <a:close/>
                <a:moveTo>
                  <a:pt x="178081" y="976446"/>
                </a:moveTo>
                <a:cubicBezTo>
                  <a:pt x="178081" y="993229"/>
                  <a:pt x="191787" y="1006883"/>
                  <a:pt x="208634" y="1006883"/>
                </a:cubicBezTo>
                <a:cubicBezTo>
                  <a:pt x="225480" y="1006883"/>
                  <a:pt x="239186" y="993229"/>
                  <a:pt x="239186" y="976446"/>
                </a:cubicBezTo>
                <a:cubicBezTo>
                  <a:pt x="239186" y="959663"/>
                  <a:pt x="225480" y="946009"/>
                  <a:pt x="208634" y="946009"/>
                </a:cubicBezTo>
                <a:cubicBezTo>
                  <a:pt x="191787" y="946009"/>
                  <a:pt x="178081" y="959663"/>
                  <a:pt x="178081" y="976446"/>
                </a:cubicBezTo>
                <a:close/>
                <a:moveTo>
                  <a:pt x="356162" y="976446"/>
                </a:moveTo>
                <a:cubicBezTo>
                  <a:pt x="356162" y="993229"/>
                  <a:pt x="369868" y="1006883"/>
                  <a:pt x="386715" y="1006883"/>
                </a:cubicBezTo>
                <a:cubicBezTo>
                  <a:pt x="403562" y="1006883"/>
                  <a:pt x="417267" y="993229"/>
                  <a:pt x="417267" y="976446"/>
                </a:cubicBezTo>
                <a:cubicBezTo>
                  <a:pt x="417267" y="959663"/>
                  <a:pt x="403562" y="946009"/>
                  <a:pt x="386715" y="946009"/>
                </a:cubicBezTo>
                <a:cubicBezTo>
                  <a:pt x="369868" y="946009"/>
                  <a:pt x="356162" y="959663"/>
                  <a:pt x="356162" y="976446"/>
                </a:cubicBezTo>
                <a:close/>
                <a:moveTo>
                  <a:pt x="415554" y="976446"/>
                </a:moveTo>
                <a:cubicBezTo>
                  <a:pt x="415554" y="993229"/>
                  <a:pt x="429260" y="1006883"/>
                  <a:pt x="446107" y="1006883"/>
                </a:cubicBezTo>
                <a:cubicBezTo>
                  <a:pt x="462954" y="1006883"/>
                  <a:pt x="476659" y="993229"/>
                  <a:pt x="476659" y="976446"/>
                </a:cubicBezTo>
                <a:cubicBezTo>
                  <a:pt x="476659" y="959663"/>
                  <a:pt x="462954" y="946009"/>
                  <a:pt x="446107" y="946009"/>
                </a:cubicBezTo>
                <a:cubicBezTo>
                  <a:pt x="429260" y="946009"/>
                  <a:pt x="415554" y="959663"/>
                  <a:pt x="415554" y="976446"/>
                </a:cubicBezTo>
                <a:close/>
                <a:moveTo>
                  <a:pt x="534243" y="976446"/>
                </a:moveTo>
                <a:cubicBezTo>
                  <a:pt x="534243" y="993229"/>
                  <a:pt x="547949" y="1006883"/>
                  <a:pt x="564796" y="1006883"/>
                </a:cubicBezTo>
                <a:cubicBezTo>
                  <a:pt x="581643" y="1006883"/>
                  <a:pt x="595348" y="993229"/>
                  <a:pt x="595348" y="976446"/>
                </a:cubicBezTo>
                <a:cubicBezTo>
                  <a:pt x="595348" y="959663"/>
                  <a:pt x="581643" y="946009"/>
                  <a:pt x="564796" y="946009"/>
                </a:cubicBezTo>
                <a:cubicBezTo>
                  <a:pt x="547949" y="946009"/>
                  <a:pt x="534243" y="959663"/>
                  <a:pt x="534243" y="976446"/>
                </a:cubicBezTo>
                <a:close/>
                <a:moveTo>
                  <a:pt x="593635" y="976446"/>
                </a:moveTo>
                <a:cubicBezTo>
                  <a:pt x="593635" y="993229"/>
                  <a:pt x="607341" y="1006883"/>
                  <a:pt x="624188" y="1006883"/>
                </a:cubicBezTo>
                <a:cubicBezTo>
                  <a:pt x="641035" y="1006883"/>
                  <a:pt x="654740" y="993229"/>
                  <a:pt x="654740" y="976446"/>
                </a:cubicBezTo>
                <a:cubicBezTo>
                  <a:pt x="654740" y="959663"/>
                  <a:pt x="641035" y="946009"/>
                  <a:pt x="624188" y="946009"/>
                </a:cubicBezTo>
                <a:cubicBezTo>
                  <a:pt x="607341" y="946009"/>
                  <a:pt x="593635" y="959663"/>
                  <a:pt x="593635" y="976446"/>
                </a:cubicBezTo>
                <a:close/>
                <a:moveTo>
                  <a:pt x="712324" y="976446"/>
                </a:moveTo>
                <a:cubicBezTo>
                  <a:pt x="712324" y="993229"/>
                  <a:pt x="726030" y="1006883"/>
                  <a:pt x="742877" y="1006883"/>
                </a:cubicBezTo>
                <a:cubicBezTo>
                  <a:pt x="759724" y="1006883"/>
                  <a:pt x="773429" y="993229"/>
                  <a:pt x="773429" y="976446"/>
                </a:cubicBezTo>
                <a:cubicBezTo>
                  <a:pt x="773429" y="959663"/>
                  <a:pt x="759724" y="946009"/>
                  <a:pt x="742877" y="946009"/>
                </a:cubicBezTo>
                <a:cubicBezTo>
                  <a:pt x="726030" y="946009"/>
                  <a:pt x="712324" y="959663"/>
                  <a:pt x="712324" y="976446"/>
                </a:cubicBezTo>
                <a:close/>
                <a:moveTo>
                  <a:pt x="831013" y="976446"/>
                </a:moveTo>
                <a:cubicBezTo>
                  <a:pt x="831013" y="993229"/>
                  <a:pt x="844719" y="1006883"/>
                  <a:pt x="861566" y="1006883"/>
                </a:cubicBezTo>
                <a:cubicBezTo>
                  <a:pt x="878413" y="1006883"/>
                  <a:pt x="892118" y="993229"/>
                  <a:pt x="892118" y="976446"/>
                </a:cubicBezTo>
                <a:cubicBezTo>
                  <a:pt x="892118" y="959663"/>
                  <a:pt x="878413" y="946009"/>
                  <a:pt x="861566" y="946009"/>
                </a:cubicBezTo>
                <a:cubicBezTo>
                  <a:pt x="844719" y="946009"/>
                  <a:pt x="831013" y="959663"/>
                  <a:pt x="831013" y="976446"/>
                </a:cubicBezTo>
                <a:close/>
                <a:moveTo>
                  <a:pt x="890310" y="976446"/>
                </a:moveTo>
                <a:cubicBezTo>
                  <a:pt x="890310" y="993229"/>
                  <a:pt x="904016" y="1006883"/>
                  <a:pt x="920863" y="1006883"/>
                </a:cubicBezTo>
                <a:cubicBezTo>
                  <a:pt x="937709" y="1006883"/>
                  <a:pt x="951415" y="993229"/>
                  <a:pt x="951415" y="976446"/>
                </a:cubicBezTo>
                <a:cubicBezTo>
                  <a:pt x="951415" y="959663"/>
                  <a:pt x="937709" y="946009"/>
                  <a:pt x="920863" y="946009"/>
                </a:cubicBezTo>
                <a:cubicBezTo>
                  <a:pt x="904016" y="946009"/>
                  <a:pt x="890310" y="959663"/>
                  <a:pt x="890310" y="976446"/>
                </a:cubicBezTo>
                <a:close/>
                <a:moveTo>
                  <a:pt x="949702" y="976446"/>
                </a:moveTo>
                <a:cubicBezTo>
                  <a:pt x="949702" y="993229"/>
                  <a:pt x="963408" y="1006883"/>
                  <a:pt x="980255" y="1006883"/>
                </a:cubicBezTo>
                <a:cubicBezTo>
                  <a:pt x="997101" y="1006883"/>
                  <a:pt x="1010807" y="993229"/>
                  <a:pt x="1010807" y="976446"/>
                </a:cubicBezTo>
                <a:cubicBezTo>
                  <a:pt x="1010807" y="959663"/>
                  <a:pt x="997101" y="946009"/>
                  <a:pt x="980255" y="946009"/>
                </a:cubicBezTo>
                <a:cubicBezTo>
                  <a:pt x="963408" y="946009"/>
                  <a:pt x="949702" y="959663"/>
                  <a:pt x="949702" y="976446"/>
                </a:cubicBezTo>
                <a:close/>
                <a:moveTo>
                  <a:pt x="1009094" y="976446"/>
                </a:moveTo>
                <a:cubicBezTo>
                  <a:pt x="1009094" y="993229"/>
                  <a:pt x="1022800" y="1006883"/>
                  <a:pt x="1039647" y="1006883"/>
                </a:cubicBezTo>
                <a:cubicBezTo>
                  <a:pt x="1056494" y="1006883"/>
                  <a:pt x="1070199" y="993229"/>
                  <a:pt x="1070199" y="976446"/>
                </a:cubicBezTo>
                <a:cubicBezTo>
                  <a:pt x="1070199" y="959663"/>
                  <a:pt x="1056494" y="946009"/>
                  <a:pt x="1039647" y="946009"/>
                </a:cubicBezTo>
                <a:cubicBezTo>
                  <a:pt x="1022800" y="946009"/>
                  <a:pt x="1009094" y="959663"/>
                  <a:pt x="1009094" y="976446"/>
                </a:cubicBezTo>
                <a:close/>
                <a:moveTo>
                  <a:pt x="1068391" y="976446"/>
                </a:moveTo>
                <a:cubicBezTo>
                  <a:pt x="1068391" y="993229"/>
                  <a:pt x="1082097" y="1006883"/>
                  <a:pt x="1098944" y="1006883"/>
                </a:cubicBezTo>
                <a:cubicBezTo>
                  <a:pt x="1115790" y="1006883"/>
                  <a:pt x="1129496" y="993229"/>
                  <a:pt x="1129496" y="976446"/>
                </a:cubicBezTo>
                <a:cubicBezTo>
                  <a:pt x="1129496" y="959663"/>
                  <a:pt x="1115790" y="946009"/>
                  <a:pt x="1098944" y="946009"/>
                </a:cubicBezTo>
                <a:cubicBezTo>
                  <a:pt x="1082097" y="946009"/>
                  <a:pt x="1068391" y="959663"/>
                  <a:pt x="1068391" y="976446"/>
                </a:cubicBezTo>
                <a:close/>
                <a:moveTo>
                  <a:pt x="1127783" y="976446"/>
                </a:moveTo>
                <a:cubicBezTo>
                  <a:pt x="1127783" y="993229"/>
                  <a:pt x="1141489" y="1006883"/>
                  <a:pt x="1158336" y="1006883"/>
                </a:cubicBezTo>
                <a:cubicBezTo>
                  <a:pt x="1175183" y="1006883"/>
                  <a:pt x="1188888" y="993229"/>
                  <a:pt x="1188888" y="976446"/>
                </a:cubicBezTo>
                <a:cubicBezTo>
                  <a:pt x="1188888" y="959663"/>
                  <a:pt x="1175183" y="946009"/>
                  <a:pt x="1158336" y="946009"/>
                </a:cubicBezTo>
                <a:cubicBezTo>
                  <a:pt x="1141489" y="946009"/>
                  <a:pt x="1127783" y="959663"/>
                  <a:pt x="1127783" y="976446"/>
                </a:cubicBezTo>
                <a:close/>
                <a:moveTo>
                  <a:pt x="1187080" y="976446"/>
                </a:moveTo>
                <a:cubicBezTo>
                  <a:pt x="1187080" y="993229"/>
                  <a:pt x="1200786" y="1006883"/>
                  <a:pt x="1217633" y="1006883"/>
                </a:cubicBezTo>
                <a:cubicBezTo>
                  <a:pt x="1234479" y="1006883"/>
                  <a:pt x="1248185" y="993229"/>
                  <a:pt x="1248185" y="976446"/>
                </a:cubicBezTo>
                <a:cubicBezTo>
                  <a:pt x="1248185" y="959663"/>
                  <a:pt x="1234479" y="946009"/>
                  <a:pt x="1217633" y="946009"/>
                </a:cubicBezTo>
                <a:cubicBezTo>
                  <a:pt x="1200786" y="946009"/>
                  <a:pt x="1187080" y="959663"/>
                  <a:pt x="1187080" y="976446"/>
                </a:cubicBezTo>
                <a:close/>
                <a:moveTo>
                  <a:pt x="1305769" y="976446"/>
                </a:moveTo>
                <a:cubicBezTo>
                  <a:pt x="1305769" y="993229"/>
                  <a:pt x="1319475" y="1006883"/>
                  <a:pt x="1336322" y="1006883"/>
                </a:cubicBezTo>
                <a:cubicBezTo>
                  <a:pt x="1353168" y="1006883"/>
                  <a:pt x="1366874" y="993229"/>
                  <a:pt x="1366874" y="976446"/>
                </a:cubicBezTo>
                <a:cubicBezTo>
                  <a:pt x="1366874" y="959663"/>
                  <a:pt x="1353168" y="946009"/>
                  <a:pt x="1336322" y="946009"/>
                </a:cubicBezTo>
                <a:cubicBezTo>
                  <a:pt x="1319475" y="946009"/>
                  <a:pt x="1305769" y="959663"/>
                  <a:pt x="1305769" y="976446"/>
                </a:cubicBezTo>
                <a:close/>
                <a:moveTo>
                  <a:pt x="474851" y="1035613"/>
                </a:moveTo>
                <a:cubicBezTo>
                  <a:pt x="474851" y="1052396"/>
                  <a:pt x="488557" y="1066050"/>
                  <a:pt x="505404" y="1066050"/>
                </a:cubicBezTo>
                <a:cubicBezTo>
                  <a:pt x="522250" y="1066050"/>
                  <a:pt x="535956" y="1052396"/>
                  <a:pt x="535956" y="1035613"/>
                </a:cubicBezTo>
                <a:cubicBezTo>
                  <a:pt x="535956" y="1018830"/>
                  <a:pt x="522250" y="1005176"/>
                  <a:pt x="505404" y="1005176"/>
                </a:cubicBezTo>
                <a:cubicBezTo>
                  <a:pt x="488557" y="1005176"/>
                  <a:pt x="474851" y="1018830"/>
                  <a:pt x="474851" y="1035613"/>
                </a:cubicBezTo>
                <a:close/>
                <a:moveTo>
                  <a:pt x="534243" y="1035613"/>
                </a:moveTo>
                <a:cubicBezTo>
                  <a:pt x="534243" y="1052396"/>
                  <a:pt x="547949" y="1066050"/>
                  <a:pt x="564796" y="1066050"/>
                </a:cubicBezTo>
                <a:cubicBezTo>
                  <a:pt x="581643" y="1066050"/>
                  <a:pt x="595348" y="1052396"/>
                  <a:pt x="595348" y="1035613"/>
                </a:cubicBezTo>
                <a:cubicBezTo>
                  <a:pt x="595348" y="1018830"/>
                  <a:pt x="581643" y="1005176"/>
                  <a:pt x="564796" y="1005176"/>
                </a:cubicBezTo>
                <a:cubicBezTo>
                  <a:pt x="547949" y="1005176"/>
                  <a:pt x="534243" y="1018830"/>
                  <a:pt x="534243" y="1035613"/>
                </a:cubicBezTo>
                <a:close/>
                <a:moveTo>
                  <a:pt x="593635" y="1035613"/>
                </a:moveTo>
                <a:cubicBezTo>
                  <a:pt x="593635" y="1052396"/>
                  <a:pt x="607341" y="1066050"/>
                  <a:pt x="624188" y="1066050"/>
                </a:cubicBezTo>
                <a:cubicBezTo>
                  <a:pt x="641035" y="1066050"/>
                  <a:pt x="654740" y="1052396"/>
                  <a:pt x="654740" y="1035613"/>
                </a:cubicBezTo>
                <a:cubicBezTo>
                  <a:pt x="654740" y="1018830"/>
                  <a:pt x="641035" y="1005176"/>
                  <a:pt x="624188" y="1005176"/>
                </a:cubicBezTo>
                <a:cubicBezTo>
                  <a:pt x="607341" y="1005176"/>
                  <a:pt x="593635" y="1018830"/>
                  <a:pt x="593635" y="1035613"/>
                </a:cubicBezTo>
                <a:close/>
                <a:moveTo>
                  <a:pt x="890310" y="1035613"/>
                </a:moveTo>
                <a:cubicBezTo>
                  <a:pt x="890310" y="1052396"/>
                  <a:pt x="904016" y="1066050"/>
                  <a:pt x="920863" y="1066050"/>
                </a:cubicBezTo>
                <a:cubicBezTo>
                  <a:pt x="937709" y="1066050"/>
                  <a:pt x="951415" y="1052396"/>
                  <a:pt x="951415" y="1035613"/>
                </a:cubicBezTo>
                <a:cubicBezTo>
                  <a:pt x="951415" y="1018830"/>
                  <a:pt x="937709" y="1005176"/>
                  <a:pt x="920863" y="1005176"/>
                </a:cubicBezTo>
                <a:cubicBezTo>
                  <a:pt x="904016" y="1005176"/>
                  <a:pt x="890310" y="1018830"/>
                  <a:pt x="890310" y="1035613"/>
                </a:cubicBezTo>
                <a:close/>
                <a:moveTo>
                  <a:pt x="949702" y="1035613"/>
                </a:moveTo>
                <a:cubicBezTo>
                  <a:pt x="949702" y="1052396"/>
                  <a:pt x="963408" y="1066050"/>
                  <a:pt x="980255" y="1066050"/>
                </a:cubicBezTo>
                <a:cubicBezTo>
                  <a:pt x="997101" y="1066050"/>
                  <a:pt x="1010807" y="1052396"/>
                  <a:pt x="1010807" y="1035613"/>
                </a:cubicBezTo>
                <a:cubicBezTo>
                  <a:pt x="1010807" y="1018830"/>
                  <a:pt x="997101" y="1005176"/>
                  <a:pt x="980255" y="1005176"/>
                </a:cubicBezTo>
                <a:cubicBezTo>
                  <a:pt x="963408" y="1005176"/>
                  <a:pt x="949702" y="1018830"/>
                  <a:pt x="949702" y="1035613"/>
                </a:cubicBezTo>
                <a:close/>
                <a:moveTo>
                  <a:pt x="1187080" y="1035613"/>
                </a:moveTo>
                <a:cubicBezTo>
                  <a:pt x="1187080" y="1052396"/>
                  <a:pt x="1200786" y="1066050"/>
                  <a:pt x="1217633" y="1066050"/>
                </a:cubicBezTo>
                <a:cubicBezTo>
                  <a:pt x="1234479" y="1066050"/>
                  <a:pt x="1248185" y="1052396"/>
                  <a:pt x="1248185" y="1035613"/>
                </a:cubicBezTo>
                <a:cubicBezTo>
                  <a:pt x="1248185" y="1018830"/>
                  <a:pt x="1234479" y="1005176"/>
                  <a:pt x="1217633" y="1005176"/>
                </a:cubicBezTo>
                <a:cubicBezTo>
                  <a:pt x="1200786" y="1005176"/>
                  <a:pt x="1187080" y="1018830"/>
                  <a:pt x="1187080" y="1035613"/>
                </a:cubicBezTo>
                <a:close/>
                <a:moveTo>
                  <a:pt x="1246472" y="1035613"/>
                </a:moveTo>
                <a:cubicBezTo>
                  <a:pt x="1246472" y="1052396"/>
                  <a:pt x="1260178" y="1066050"/>
                  <a:pt x="1277025" y="1066050"/>
                </a:cubicBezTo>
                <a:cubicBezTo>
                  <a:pt x="1293872" y="1066050"/>
                  <a:pt x="1307577" y="1052396"/>
                  <a:pt x="1307577" y="1035613"/>
                </a:cubicBezTo>
                <a:cubicBezTo>
                  <a:pt x="1307577" y="1018830"/>
                  <a:pt x="1293872" y="1005176"/>
                  <a:pt x="1277025" y="1005176"/>
                </a:cubicBezTo>
                <a:cubicBezTo>
                  <a:pt x="1260178" y="1005176"/>
                  <a:pt x="1246472" y="1018830"/>
                  <a:pt x="1246472" y="1035613"/>
                </a:cubicBezTo>
                <a:close/>
                <a:moveTo>
                  <a:pt x="652932" y="1094685"/>
                </a:moveTo>
                <a:cubicBezTo>
                  <a:pt x="652932" y="1111468"/>
                  <a:pt x="666638" y="1125122"/>
                  <a:pt x="683485" y="1125122"/>
                </a:cubicBezTo>
                <a:cubicBezTo>
                  <a:pt x="700332" y="1125122"/>
                  <a:pt x="714037" y="1111468"/>
                  <a:pt x="714037" y="1094685"/>
                </a:cubicBezTo>
                <a:cubicBezTo>
                  <a:pt x="714037" y="1077902"/>
                  <a:pt x="700332" y="1064249"/>
                  <a:pt x="683485" y="1064249"/>
                </a:cubicBezTo>
                <a:cubicBezTo>
                  <a:pt x="666638" y="1064249"/>
                  <a:pt x="652932" y="1077902"/>
                  <a:pt x="652932" y="1094685"/>
                </a:cubicBezTo>
                <a:close/>
                <a:moveTo>
                  <a:pt x="712324" y="1094685"/>
                </a:moveTo>
                <a:cubicBezTo>
                  <a:pt x="712324" y="1111468"/>
                  <a:pt x="726030" y="1125122"/>
                  <a:pt x="742877" y="1125122"/>
                </a:cubicBezTo>
                <a:cubicBezTo>
                  <a:pt x="759724" y="1125122"/>
                  <a:pt x="773429" y="1111468"/>
                  <a:pt x="773429" y="1094685"/>
                </a:cubicBezTo>
                <a:cubicBezTo>
                  <a:pt x="773429" y="1077902"/>
                  <a:pt x="759724" y="1064249"/>
                  <a:pt x="742877" y="1064249"/>
                </a:cubicBezTo>
                <a:cubicBezTo>
                  <a:pt x="726030" y="1064249"/>
                  <a:pt x="712324" y="1077902"/>
                  <a:pt x="712324" y="1094685"/>
                </a:cubicBezTo>
                <a:close/>
                <a:moveTo>
                  <a:pt x="949702" y="1094685"/>
                </a:moveTo>
                <a:cubicBezTo>
                  <a:pt x="949702" y="1111468"/>
                  <a:pt x="963408" y="1125122"/>
                  <a:pt x="980255" y="1125122"/>
                </a:cubicBezTo>
                <a:cubicBezTo>
                  <a:pt x="997101" y="1125122"/>
                  <a:pt x="1010807" y="1111468"/>
                  <a:pt x="1010807" y="1094685"/>
                </a:cubicBezTo>
                <a:cubicBezTo>
                  <a:pt x="1010807" y="1077902"/>
                  <a:pt x="997101" y="1064249"/>
                  <a:pt x="980255" y="1064249"/>
                </a:cubicBezTo>
                <a:cubicBezTo>
                  <a:pt x="963408" y="1064249"/>
                  <a:pt x="949702" y="1077902"/>
                  <a:pt x="949702" y="1094685"/>
                </a:cubicBezTo>
                <a:close/>
                <a:moveTo>
                  <a:pt x="1068391" y="1094685"/>
                </a:moveTo>
                <a:cubicBezTo>
                  <a:pt x="1068391" y="1111468"/>
                  <a:pt x="1082097" y="1125122"/>
                  <a:pt x="1098944" y="1125122"/>
                </a:cubicBezTo>
                <a:cubicBezTo>
                  <a:pt x="1115790" y="1125122"/>
                  <a:pt x="1129496" y="1111468"/>
                  <a:pt x="1129496" y="1094685"/>
                </a:cubicBezTo>
                <a:cubicBezTo>
                  <a:pt x="1129496" y="1077902"/>
                  <a:pt x="1115790" y="1064249"/>
                  <a:pt x="1098944" y="1064249"/>
                </a:cubicBezTo>
                <a:cubicBezTo>
                  <a:pt x="1082097" y="1064249"/>
                  <a:pt x="1068391" y="1077902"/>
                  <a:pt x="1068391" y="1094685"/>
                </a:cubicBezTo>
                <a:close/>
                <a:moveTo>
                  <a:pt x="1187080" y="1094685"/>
                </a:moveTo>
                <a:cubicBezTo>
                  <a:pt x="1187080" y="1111468"/>
                  <a:pt x="1200786" y="1125122"/>
                  <a:pt x="1217633" y="1125122"/>
                </a:cubicBezTo>
                <a:cubicBezTo>
                  <a:pt x="1234479" y="1125122"/>
                  <a:pt x="1248185" y="1111468"/>
                  <a:pt x="1248185" y="1094685"/>
                </a:cubicBezTo>
                <a:cubicBezTo>
                  <a:pt x="1248185" y="1077902"/>
                  <a:pt x="1234479" y="1064249"/>
                  <a:pt x="1217633" y="1064249"/>
                </a:cubicBezTo>
                <a:cubicBezTo>
                  <a:pt x="1200786" y="1064249"/>
                  <a:pt x="1187080" y="1077902"/>
                  <a:pt x="1187080" y="1094685"/>
                </a:cubicBezTo>
                <a:close/>
                <a:moveTo>
                  <a:pt x="1305769" y="1094685"/>
                </a:moveTo>
                <a:cubicBezTo>
                  <a:pt x="1305769" y="1111468"/>
                  <a:pt x="1319475" y="1125122"/>
                  <a:pt x="1336322" y="1125122"/>
                </a:cubicBezTo>
                <a:cubicBezTo>
                  <a:pt x="1353168" y="1125122"/>
                  <a:pt x="1366874" y="1111468"/>
                  <a:pt x="1366874" y="1094685"/>
                </a:cubicBezTo>
                <a:cubicBezTo>
                  <a:pt x="1366874" y="1077902"/>
                  <a:pt x="1353168" y="1064249"/>
                  <a:pt x="1336322" y="1064249"/>
                </a:cubicBezTo>
                <a:cubicBezTo>
                  <a:pt x="1319475" y="1064249"/>
                  <a:pt x="1305769" y="1077902"/>
                  <a:pt x="1305769" y="1094685"/>
                </a:cubicBezTo>
                <a:close/>
                <a:moveTo>
                  <a:pt x="1365161" y="1094685"/>
                </a:moveTo>
                <a:cubicBezTo>
                  <a:pt x="1365161" y="1111468"/>
                  <a:pt x="1378867" y="1125122"/>
                  <a:pt x="1395714" y="1125122"/>
                </a:cubicBezTo>
                <a:cubicBezTo>
                  <a:pt x="1412561" y="1125122"/>
                  <a:pt x="1426266" y="1111468"/>
                  <a:pt x="1426266" y="1094685"/>
                </a:cubicBezTo>
                <a:cubicBezTo>
                  <a:pt x="1426266" y="1077902"/>
                  <a:pt x="1412561" y="1064249"/>
                  <a:pt x="1395714" y="1064249"/>
                </a:cubicBezTo>
                <a:cubicBezTo>
                  <a:pt x="1378867" y="1064249"/>
                  <a:pt x="1365161" y="1077902"/>
                  <a:pt x="1365161" y="1094685"/>
                </a:cubicBezTo>
                <a:close/>
                <a:moveTo>
                  <a:pt x="1424553" y="1094685"/>
                </a:moveTo>
                <a:cubicBezTo>
                  <a:pt x="1424553" y="1111468"/>
                  <a:pt x="1438259" y="1125122"/>
                  <a:pt x="1455106" y="1125122"/>
                </a:cubicBezTo>
                <a:cubicBezTo>
                  <a:pt x="1471953" y="1125122"/>
                  <a:pt x="1485658" y="1111468"/>
                  <a:pt x="1485658" y="1094685"/>
                </a:cubicBezTo>
                <a:cubicBezTo>
                  <a:pt x="1485658" y="1077902"/>
                  <a:pt x="1471953" y="1064249"/>
                  <a:pt x="1455106" y="1064249"/>
                </a:cubicBezTo>
                <a:cubicBezTo>
                  <a:pt x="1438259" y="1064249"/>
                  <a:pt x="1424553" y="1077902"/>
                  <a:pt x="1424553" y="1094685"/>
                </a:cubicBezTo>
                <a:close/>
                <a:moveTo>
                  <a:pt x="474851" y="1153853"/>
                </a:moveTo>
                <a:cubicBezTo>
                  <a:pt x="474851" y="1170635"/>
                  <a:pt x="488557" y="1184289"/>
                  <a:pt x="505404" y="1184289"/>
                </a:cubicBezTo>
                <a:cubicBezTo>
                  <a:pt x="522250" y="1184289"/>
                  <a:pt x="535956" y="1170635"/>
                  <a:pt x="535956" y="1153853"/>
                </a:cubicBezTo>
                <a:cubicBezTo>
                  <a:pt x="535956" y="1137070"/>
                  <a:pt x="522250" y="1123416"/>
                  <a:pt x="505404" y="1123416"/>
                </a:cubicBezTo>
                <a:cubicBezTo>
                  <a:pt x="488557" y="1123416"/>
                  <a:pt x="474851" y="1137070"/>
                  <a:pt x="474851" y="1153853"/>
                </a:cubicBezTo>
                <a:close/>
                <a:moveTo>
                  <a:pt x="593635" y="1153853"/>
                </a:moveTo>
                <a:cubicBezTo>
                  <a:pt x="593635" y="1170635"/>
                  <a:pt x="607341" y="1184289"/>
                  <a:pt x="624188" y="1184289"/>
                </a:cubicBezTo>
                <a:cubicBezTo>
                  <a:pt x="641035" y="1184289"/>
                  <a:pt x="654740" y="1170635"/>
                  <a:pt x="654740" y="1153853"/>
                </a:cubicBezTo>
                <a:cubicBezTo>
                  <a:pt x="654740" y="1137070"/>
                  <a:pt x="641035" y="1123416"/>
                  <a:pt x="624188" y="1123416"/>
                </a:cubicBezTo>
                <a:cubicBezTo>
                  <a:pt x="607341" y="1123416"/>
                  <a:pt x="593635" y="1137070"/>
                  <a:pt x="593635" y="1153853"/>
                </a:cubicBezTo>
                <a:close/>
                <a:moveTo>
                  <a:pt x="652932" y="1153853"/>
                </a:moveTo>
                <a:cubicBezTo>
                  <a:pt x="652932" y="1170635"/>
                  <a:pt x="666638" y="1184289"/>
                  <a:pt x="683485" y="1184289"/>
                </a:cubicBezTo>
                <a:cubicBezTo>
                  <a:pt x="700332" y="1184289"/>
                  <a:pt x="714037" y="1170635"/>
                  <a:pt x="714037" y="1153853"/>
                </a:cubicBezTo>
                <a:cubicBezTo>
                  <a:pt x="714037" y="1137070"/>
                  <a:pt x="700332" y="1123416"/>
                  <a:pt x="683485" y="1123416"/>
                </a:cubicBezTo>
                <a:cubicBezTo>
                  <a:pt x="666638" y="1123416"/>
                  <a:pt x="652932" y="1137070"/>
                  <a:pt x="652932" y="1153853"/>
                </a:cubicBezTo>
                <a:close/>
                <a:moveTo>
                  <a:pt x="831013" y="1153853"/>
                </a:moveTo>
                <a:cubicBezTo>
                  <a:pt x="831013" y="1170635"/>
                  <a:pt x="844719" y="1184289"/>
                  <a:pt x="861566" y="1184289"/>
                </a:cubicBezTo>
                <a:cubicBezTo>
                  <a:pt x="878413" y="1184289"/>
                  <a:pt x="892118" y="1170635"/>
                  <a:pt x="892118" y="1153853"/>
                </a:cubicBezTo>
                <a:cubicBezTo>
                  <a:pt x="892118" y="1137070"/>
                  <a:pt x="878413" y="1123416"/>
                  <a:pt x="861566" y="1123416"/>
                </a:cubicBezTo>
                <a:cubicBezTo>
                  <a:pt x="844719" y="1123416"/>
                  <a:pt x="831013" y="1137070"/>
                  <a:pt x="831013" y="1153853"/>
                </a:cubicBezTo>
                <a:close/>
                <a:moveTo>
                  <a:pt x="949702" y="1153853"/>
                </a:moveTo>
                <a:cubicBezTo>
                  <a:pt x="949702" y="1170635"/>
                  <a:pt x="963408" y="1184289"/>
                  <a:pt x="980255" y="1184289"/>
                </a:cubicBezTo>
                <a:cubicBezTo>
                  <a:pt x="997101" y="1184289"/>
                  <a:pt x="1010807" y="1170635"/>
                  <a:pt x="1010807" y="1153853"/>
                </a:cubicBezTo>
                <a:cubicBezTo>
                  <a:pt x="1010807" y="1137070"/>
                  <a:pt x="997101" y="1123416"/>
                  <a:pt x="980255" y="1123416"/>
                </a:cubicBezTo>
                <a:cubicBezTo>
                  <a:pt x="963408" y="1123416"/>
                  <a:pt x="949702" y="1137070"/>
                  <a:pt x="949702" y="1153853"/>
                </a:cubicBezTo>
                <a:close/>
                <a:moveTo>
                  <a:pt x="1187080" y="1153853"/>
                </a:moveTo>
                <a:cubicBezTo>
                  <a:pt x="1187080" y="1170635"/>
                  <a:pt x="1200786" y="1184289"/>
                  <a:pt x="1217633" y="1184289"/>
                </a:cubicBezTo>
                <a:cubicBezTo>
                  <a:pt x="1234479" y="1184289"/>
                  <a:pt x="1248185" y="1170635"/>
                  <a:pt x="1248185" y="1153853"/>
                </a:cubicBezTo>
                <a:cubicBezTo>
                  <a:pt x="1248185" y="1137070"/>
                  <a:pt x="1234479" y="1123416"/>
                  <a:pt x="1217633" y="1123416"/>
                </a:cubicBezTo>
                <a:cubicBezTo>
                  <a:pt x="1200786" y="1123416"/>
                  <a:pt x="1187080" y="1137070"/>
                  <a:pt x="1187080" y="1153853"/>
                </a:cubicBezTo>
                <a:close/>
                <a:moveTo>
                  <a:pt x="1246472" y="1153853"/>
                </a:moveTo>
                <a:cubicBezTo>
                  <a:pt x="1246472" y="1170635"/>
                  <a:pt x="1260178" y="1184289"/>
                  <a:pt x="1277025" y="1184289"/>
                </a:cubicBezTo>
                <a:cubicBezTo>
                  <a:pt x="1293872" y="1184289"/>
                  <a:pt x="1307577" y="1170635"/>
                  <a:pt x="1307577" y="1153853"/>
                </a:cubicBezTo>
                <a:cubicBezTo>
                  <a:pt x="1307577" y="1137070"/>
                  <a:pt x="1293872" y="1123416"/>
                  <a:pt x="1277025" y="1123416"/>
                </a:cubicBezTo>
                <a:cubicBezTo>
                  <a:pt x="1260178" y="1123416"/>
                  <a:pt x="1246472" y="1137070"/>
                  <a:pt x="1246472" y="1153853"/>
                </a:cubicBezTo>
                <a:close/>
                <a:moveTo>
                  <a:pt x="1424553" y="1153853"/>
                </a:moveTo>
                <a:cubicBezTo>
                  <a:pt x="1424553" y="1170635"/>
                  <a:pt x="1438259" y="1184289"/>
                  <a:pt x="1455106" y="1184289"/>
                </a:cubicBezTo>
                <a:cubicBezTo>
                  <a:pt x="1471953" y="1184289"/>
                  <a:pt x="1485658" y="1170635"/>
                  <a:pt x="1485658" y="1153853"/>
                </a:cubicBezTo>
                <a:cubicBezTo>
                  <a:pt x="1485658" y="1137070"/>
                  <a:pt x="1471953" y="1123416"/>
                  <a:pt x="1455106" y="1123416"/>
                </a:cubicBezTo>
                <a:cubicBezTo>
                  <a:pt x="1438259" y="1123416"/>
                  <a:pt x="1424553" y="1137070"/>
                  <a:pt x="1424553" y="1153853"/>
                </a:cubicBezTo>
                <a:close/>
                <a:moveTo>
                  <a:pt x="474851" y="1212925"/>
                </a:moveTo>
                <a:cubicBezTo>
                  <a:pt x="474851" y="1229708"/>
                  <a:pt x="488557" y="1243362"/>
                  <a:pt x="505404" y="1243362"/>
                </a:cubicBezTo>
                <a:cubicBezTo>
                  <a:pt x="522250" y="1243362"/>
                  <a:pt x="535956" y="1229708"/>
                  <a:pt x="535956" y="1212925"/>
                </a:cubicBezTo>
                <a:cubicBezTo>
                  <a:pt x="535956" y="1196142"/>
                  <a:pt x="522250" y="1182488"/>
                  <a:pt x="505404" y="1182488"/>
                </a:cubicBezTo>
                <a:cubicBezTo>
                  <a:pt x="488557" y="1182488"/>
                  <a:pt x="474851" y="1196142"/>
                  <a:pt x="474851" y="1212925"/>
                </a:cubicBezTo>
                <a:close/>
                <a:moveTo>
                  <a:pt x="534243" y="1212925"/>
                </a:moveTo>
                <a:cubicBezTo>
                  <a:pt x="534243" y="1229708"/>
                  <a:pt x="547949" y="1243362"/>
                  <a:pt x="564796" y="1243362"/>
                </a:cubicBezTo>
                <a:cubicBezTo>
                  <a:pt x="581643" y="1243362"/>
                  <a:pt x="595348" y="1229708"/>
                  <a:pt x="595348" y="1212925"/>
                </a:cubicBezTo>
                <a:cubicBezTo>
                  <a:pt x="595348" y="1196142"/>
                  <a:pt x="581643" y="1182488"/>
                  <a:pt x="564796" y="1182488"/>
                </a:cubicBezTo>
                <a:cubicBezTo>
                  <a:pt x="547949" y="1182488"/>
                  <a:pt x="534243" y="1196142"/>
                  <a:pt x="534243" y="1212925"/>
                </a:cubicBezTo>
                <a:close/>
                <a:moveTo>
                  <a:pt x="652932" y="1212925"/>
                </a:moveTo>
                <a:cubicBezTo>
                  <a:pt x="652932" y="1229708"/>
                  <a:pt x="666638" y="1243362"/>
                  <a:pt x="683485" y="1243362"/>
                </a:cubicBezTo>
                <a:cubicBezTo>
                  <a:pt x="700332" y="1243362"/>
                  <a:pt x="714037" y="1229708"/>
                  <a:pt x="714037" y="1212925"/>
                </a:cubicBezTo>
                <a:cubicBezTo>
                  <a:pt x="714037" y="1196142"/>
                  <a:pt x="700332" y="1182488"/>
                  <a:pt x="683485" y="1182488"/>
                </a:cubicBezTo>
                <a:cubicBezTo>
                  <a:pt x="666638" y="1182488"/>
                  <a:pt x="652932" y="1196142"/>
                  <a:pt x="652932" y="1212925"/>
                </a:cubicBezTo>
                <a:close/>
                <a:moveTo>
                  <a:pt x="890310" y="1212925"/>
                </a:moveTo>
                <a:cubicBezTo>
                  <a:pt x="890310" y="1229708"/>
                  <a:pt x="904016" y="1243362"/>
                  <a:pt x="920863" y="1243362"/>
                </a:cubicBezTo>
                <a:cubicBezTo>
                  <a:pt x="937709" y="1243362"/>
                  <a:pt x="951415" y="1229708"/>
                  <a:pt x="951415" y="1212925"/>
                </a:cubicBezTo>
                <a:cubicBezTo>
                  <a:pt x="951415" y="1196142"/>
                  <a:pt x="937709" y="1182488"/>
                  <a:pt x="920863" y="1182488"/>
                </a:cubicBezTo>
                <a:cubicBezTo>
                  <a:pt x="904016" y="1182488"/>
                  <a:pt x="890310" y="1196142"/>
                  <a:pt x="890310" y="1212925"/>
                </a:cubicBezTo>
                <a:close/>
                <a:moveTo>
                  <a:pt x="949702" y="1212925"/>
                </a:moveTo>
                <a:cubicBezTo>
                  <a:pt x="949702" y="1229708"/>
                  <a:pt x="963408" y="1243362"/>
                  <a:pt x="980255" y="1243362"/>
                </a:cubicBezTo>
                <a:cubicBezTo>
                  <a:pt x="997101" y="1243362"/>
                  <a:pt x="1010807" y="1229708"/>
                  <a:pt x="1010807" y="1212925"/>
                </a:cubicBezTo>
                <a:cubicBezTo>
                  <a:pt x="1010807" y="1196142"/>
                  <a:pt x="997101" y="1182488"/>
                  <a:pt x="980255" y="1182488"/>
                </a:cubicBezTo>
                <a:cubicBezTo>
                  <a:pt x="963408" y="1182488"/>
                  <a:pt x="949702" y="1196142"/>
                  <a:pt x="949702" y="1212925"/>
                </a:cubicBezTo>
                <a:close/>
                <a:moveTo>
                  <a:pt x="1009094" y="1212925"/>
                </a:moveTo>
                <a:cubicBezTo>
                  <a:pt x="1009094" y="1229708"/>
                  <a:pt x="1022800" y="1243362"/>
                  <a:pt x="1039647" y="1243362"/>
                </a:cubicBezTo>
                <a:cubicBezTo>
                  <a:pt x="1056494" y="1243362"/>
                  <a:pt x="1070199" y="1229708"/>
                  <a:pt x="1070199" y="1212925"/>
                </a:cubicBezTo>
                <a:cubicBezTo>
                  <a:pt x="1070199" y="1196142"/>
                  <a:pt x="1056494" y="1182488"/>
                  <a:pt x="1039647" y="1182488"/>
                </a:cubicBezTo>
                <a:cubicBezTo>
                  <a:pt x="1022800" y="1182488"/>
                  <a:pt x="1009094" y="1196142"/>
                  <a:pt x="1009094" y="1212925"/>
                </a:cubicBezTo>
                <a:close/>
                <a:moveTo>
                  <a:pt x="1068391" y="1212925"/>
                </a:moveTo>
                <a:cubicBezTo>
                  <a:pt x="1068391" y="1229708"/>
                  <a:pt x="1082097" y="1243362"/>
                  <a:pt x="1098944" y="1243362"/>
                </a:cubicBezTo>
                <a:cubicBezTo>
                  <a:pt x="1115790" y="1243362"/>
                  <a:pt x="1129496" y="1229708"/>
                  <a:pt x="1129496" y="1212925"/>
                </a:cubicBezTo>
                <a:cubicBezTo>
                  <a:pt x="1129496" y="1196142"/>
                  <a:pt x="1115790" y="1182488"/>
                  <a:pt x="1098944" y="1182488"/>
                </a:cubicBezTo>
                <a:cubicBezTo>
                  <a:pt x="1082097" y="1182488"/>
                  <a:pt x="1068391" y="1196142"/>
                  <a:pt x="1068391" y="1212925"/>
                </a:cubicBezTo>
                <a:close/>
                <a:moveTo>
                  <a:pt x="1127783" y="1212925"/>
                </a:moveTo>
                <a:cubicBezTo>
                  <a:pt x="1127783" y="1229708"/>
                  <a:pt x="1141489" y="1243362"/>
                  <a:pt x="1158336" y="1243362"/>
                </a:cubicBezTo>
                <a:cubicBezTo>
                  <a:pt x="1175183" y="1243362"/>
                  <a:pt x="1188888" y="1229708"/>
                  <a:pt x="1188888" y="1212925"/>
                </a:cubicBezTo>
                <a:cubicBezTo>
                  <a:pt x="1188888" y="1196142"/>
                  <a:pt x="1175183" y="1182488"/>
                  <a:pt x="1158336" y="1182488"/>
                </a:cubicBezTo>
                <a:cubicBezTo>
                  <a:pt x="1141489" y="1182488"/>
                  <a:pt x="1127783" y="1196142"/>
                  <a:pt x="1127783" y="1212925"/>
                </a:cubicBezTo>
                <a:close/>
                <a:moveTo>
                  <a:pt x="1187080" y="1212925"/>
                </a:moveTo>
                <a:cubicBezTo>
                  <a:pt x="1187080" y="1229708"/>
                  <a:pt x="1200786" y="1243362"/>
                  <a:pt x="1217633" y="1243362"/>
                </a:cubicBezTo>
                <a:cubicBezTo>
                  <a:pt x="1234479" y="1243362"/>
                  <a:pt x="1248185" y="1229708"/>
                  <a:pt x="1248185" y="1212925"/>
                </a:cubicBezTo>
                <a:cubicBezTo>
                  <a:pt x="1248185" y="1196142"/>
                  <a:pt x="1234479" y="1182488"/>
                  <a:pt x="1217633" y="1182488"/>
                </a:cubicBezTo>
                <a:cubicBezTo>
                  <a:pt x="1200786" y="1182488"/>
                  <a:pt x="1187080" y="1196142"/>
                  <a:pt x="1187080" y="1212925"/>
                </a:cubicBezTo>
                <a:close/>
                <a:moveTo>
                  <a:pt x="1305769" y="1212925"/>
                </a:moveTo>
                <a:cubicBezTo>
                  <a:pt x="1305769" y="1229708"/>
                  <a:pt x="1319475" y="1243362"/>
                  <a:pt x="1336322" y="1243362"/>
                </a:cubicBezTo>
                <a:cubicBezTo>
                  <a:pt x="1353168" y="1243362"/>
                  <a:pt x="1366874" y="1229708"/>
                  <a:pt x="1366874" y="1212925"/>
                </a:cubicBezTo>
                <a:cubicBezTo>
                  <a:pt x="1366874" y="1196142"/>
                  <a:pt x="1353168" y="1182488"/>
                  <a:pt x="1336322" y="1182488"/>
                </a:cubicBezTo>
                <a:cubicBezTo>
                  <a:pt x="1319475" y="1182488"/>
                  <a:pt x="1305769" y="1196142"/>
                  <a:pt x="1305769" y="1212925"/>
                </a:cubicBezTo>
                <a:close/>
                <a:moveTo>
                  <a:pt x="1365161" y="1212925"/>
                </a:moveTo>
                <a:cubicBezTo>
                  <a:pt x="1365161" y="1229708"/>
                  <a:pt x="1378867" y="1243362"/>
                  <a:pt x="1395714" y="1243362"/>
                </a:cubicBezTo>
                <a:cubicBezTo>
                  <a:pt x="1412561" y="1243362"/>
                  <a:pt x="1426266" y="1229708"/>
                  <a:pt x="1426266" y="1212925"/>
                </a:cubicBezTo>
                <a:cubicBezTo>
                  <a:pt x="1426266" y="1196142"/>
                  <a:pt x="1412561" y="1182488"/>
                  <a:pt x="1395714" y="1182488"/>
                </a:cubicBezTo>
                <a:cubicBezTo>
                  <a:pt x="1378867" y="1182488"/>
                  <a:pt x="1365161" y="1196142"/>
                  <a:pt x="1365161" y="1212925"/>
                </a:cubicBezTo>
                <a:close/>
                <a:moveTo>
                  <a:pt x="1424553" y="1212925"/>
                </a:moveTo>
                <a:cubicBezTo>
                  <a:pt x="1424553" y="1229708"/>
                  <a:pt x="1438259" y="1243362"/>
                  <a:pt x="1455106" y="1243362"/>
                </a:cubicBezTo>
                <a:cubicBezTo>
                  <a:pt x="1471953" y="1243362"/>
                  <a:pt x="1485658" y="1229708"/>
                  <a:pt x="1485658" y="1212925"/>
                </a:cubicBezTo>
                <a:cubicBezTo>
                  <a:pt x="1485658" y="1196142"/>
                  <a:pt x="1471953" y="1182488"/>
                  <a:pt x="1455106" y="1182488"/>
                </a:cubicBezTo>
                <a:cubicBezTo>
                  <a:pt x="1438259" y="1182488"/>
                  <a:pt x="1424553" y="1196142"/>
                  <a:pt x="1424553" y="1212925"/>
                </a:cubicBezTo>
                <a:close/>
                <a:moveTo>
                  <a:pt x="474851" y="1272092"/>
                </a:moveTo>
                <a:cubicBezTo>
                  <a:pt x="474851" y="1288875"/>
                  <a:pt x="488557" y="1302529"/>
                  <a:pt x="505404" y="1302529"/>
                </a:cubicBezTo>
                <a:cubicBezTo>
                  <a:pt x="522250" y="1302529"/>
                  <a:pt x="535956" y="1288875"/>
                  <a:pt x="535956" y="1272092"/>
                </a:cubicBezTo>
                <a:cubicBezTo>
                  <a:pt x="535956" y="1255309"/>
                  <a:pt x="522250" y="1241655"/>
                  <a:pt x="505404" y="1241655"/>
                </a:cubicBezTo>
                <a:cubicBezTo>
                  <a:pt x="488557" y="1241655"/>
                  <a:pt x="474851" y="1255309"/>
                  <a:pt x="474851" y="1272092"/>
                </a:cubicBezTo>
                <a:close/>
                <a:moveTo>
                  <a:pt x="534243" y="1272092"/>
                </a:moveTo>
                <a:cubicBezTo>
                  <a:pt x="534243" y="1288875"/>
                  <a:pt x="547949" y="1302529"/>
                  <a:pt x="564796" y="1302529"/>
                </a:cubicBezTo>
                <a:cubicBezTo>
                  <a:pt x="581643" y="1302529"/>
                  <a:pt x="595348" y="1288875"/>
                  <a:pt x="595348" y="1272092"/>
                </a:cubicBezTo>
                <a:cubicBezTo>
                  <a:pt x="595348" y="1255309"/>
                  <a:pt x="581643" y="1241655"/>
                  <a:pt x="564796" y="1241655"/>
                </a:cubicBezTo>
                <a:cubicBezTo>
                  <a:pt x="547949" y="1241655"/>
                  <a:pt x="534243" y="1255309"/>
                  <a:pt x="534243" y="1272092"/>
                </a:cubicBezTo>
                <a:close/>
                <a:moveTo>
                  <a:pt x="712324" y="1272092"/>
                </a:moveTo>
                <a:cubicBezTo>
                  <a:pt x="712324" y="1288875"/>
                  <a:pt x="726030" y="1302529"/>
                  <a:pt x="742877" y="1302529"/>
                </a:cubicBezTo>
                <a:cubicBezTo>
                  <a:pt x="759724" y="1302529"/>
                  <a:pt x="773429" y="1288875"/>
                  <a:pt x="773429" y="1272092"/>
                </a:cubicBezTo>
                <a:cubicBezTo>
                  <a:pt x="773429" y="1255309"/>
                  <a:pt x="759724" y="1241655"/>
                  <a:pt x="742877" y="1241655"/>
                </a:cubicBezTo>
                <a:cubicBezTo>
                  <a:pt x="726030" y="1241655"/>
                  <a:pt x="712324" y="1255309"/>
                  <a:pt x="712324" y="1272092"/>
                </a:cubicBezTo>
                <a:close/>
                <a:moveTo>
                  <a:pt x="771621" y="1272092"/>
                </a:moveTo>
                <a:cubicBezTo>
                  <a:pt x="771621" y="1288875"/>
                  <a:pt x="785327" y="1302529"/>
                  <a:pt x="802174" y="1302529"/>
                </a:cubicBezTo>
                <a:cubicBezTo>
                  <a:pt x="819021" y="1302529"/>
                  <a:pt x="832726" y="1288875"/>
                  <a:pt x="832726" y="1272092"/>
                </a:cubicBezTo>
                <a:cubicBezTo>
                  <a:pt x="832726" y="1255309"/>
                  <a:pt x="819021" y="1241655"/>
                  <a:pt x="802174" y="1241655"/>
                </a:cubicBezTo>
                <a:cubicBezTo>
                  <a:pt x="785327" y="1241655"/>
                  <a:pt x="771621" y="1255309"/>
                  <a:pt x="771621" y="1272092"/>
                </a:cubicBezTo>
                <a:close/>
                <a:moveTo>
                  <a:pt x="831013" y="1272092"/>
                </a:moveTo>
                <a:cubicBezTo>
                  <a:pt x="831013" y="1288875"/>
                  <a:pt x="844719" y="1302529"/>
                  <a:pt x="861566" y="1302529"/>
                </a:cubicBezTo>
                <a:cubicBezTo>
                  <a:pt x="878413" y="1302529"/>
                  <a:pt x="892118" y="1288875"/>
                  <a:pt x="892118" y="1272092"/>
                </a:cubicBezTo>
                <a:cubicBezTo>
                  <a:pt x="892118" y="1255309"/>
                  <a:pt x="878413" y="1241655"/>
                  <a:pt x="861566" y="1241655"/>
                </a:cubicBezTo>
                <a:cubicBezTo>
                  <a:pt x="844719" y="1241655"/>
                  <a:pt x="831013" y="1255309"/>
                  <a:pt x="831013" y="1272092"/>
                </a:cubicBezTo>
                <a:close/>
                <a:moveTo>
                  <a:pt x="890310" y="1272092"/>
                </a:moveTo>
                <a:cubicBezTo>
                  <a:pt x="890310" y="1288875"/>
                  <a:pt x="904016" y="1302529"/>
                  <a:pt x="920863" y="1302529"/>
                </a:cubicBezTo>
                <a:cubicBezTo>
                  <a:pt x="937709" y="1302529"/>
                  <a:pt x="951415" y="1288875"/>
                  <a:pt x="951415" y="1272092"/>
                </a:cubicBezTo>
                <a:cubicBezTo>
                  <a:pt x="951415" y="1255309"/>
                  <a:pt x="937709" y="1241655"/>
                  <a:pt x="920863" y="1241655"/>
                </a:cubicBezTo>
                <a:cubicBezTo>
                  <a:pt x="904016" y="1241655"/>
                  <a:pt x="890310" y="1255309"/>
                  <a:pt x="890310" y="1272092"/>
                </a:cubicBezTo>
                <a:close/>
                <a:moveTo>
                  <a:pt x="1009094" y="1272092"/>
                </a:moveTo>
                <a:cubicBezTo>
                  <a:pt x="1009094" y="1288875"/>
                  <a:pt x="1022800" y="1302529"/>
                  <a:pt x="1039647" y="1302529"/>
                </a:cubicBezTo>
                <a:cubicBezTo>
                  <a:pt x="1056494" y="1302529"/>
                  <a:pt x="1070199" y="1288875"/>
                  <a:pt x="1070199" y="1272092"/>
                </a:cubicBezTo>
                <a:cubicBezTo>
                  <a:pt x="1070199" y="1255309"/>
                  <a:pt x="1056494" y="1241655"/>
                  <a:pt x="1039647" y="1241655"/>
                </a:cubicBezTo>
                <a:cubicBezTo>
                  <a:pt x="1022800" y="1241655"/>
                  <a:pt x="1009094" y="1255309"/>
                  <a:pt x="1009094" y="1272092"/>
                </a:cubicBezTo>
                <a:close/>
                <a:moveTo>
                  <a:pt x="1068391" y="1272092"/>
                </a:moveTo>
                <a:cubicBezTo>
                  <a:pt x="1068391" y="1288875"/>
                  <a:pt x="1082097" y="1302529"/>
                  <a:pt x="1098944" y="1302529"/>
                </a:cubicBezTo>
                <a:cubicBezTo>
                  <a:pt x="1115790" y="1302529"/>
                  <a:pt x="1129496" y="1288875"/>
                  <a:pt x="1129496" y="1272092"/>
                </a:cubicBezTo>
                <a:cubicBezTo>
                  <a:pt x="1129496" y="1255309"/>
                  <a:pt x="1115790" y="1241655"/>
                  <a:pt x="1098944" y="1241655"/>
                </a:cubicBezTo>
                <a:cubicBezTo>
                  <a:pt x="1082097" y="1241655"/>
                  <a:pt x="1068391" y="1255309"/>
                  <a:pt x="1068391" y="1272092"/>
                </a:cubicBezTo>
                <a:close/>
                <a:moveTo>
                  <a:pt x="1187080" y="1272092"/>
                </a:moveTo>
                <a:cubicBezTo>
                  <a:pt x="1187080" y="1288875"/>
                  <a:pt x="1200786" y="1302529"/>
                  <a:pt x="1217633" y="1302529"/>
                </a:cubicBezTo>
                <a:cubicBezTo>
                  <a:pt x="1234479" y="1302529"/>
                  <a:pt x="1248185" y="1288875"/>
                  <a:pt x="1248185" y="1272092"/>
                </a:cubicBezTo>
                <a:cubicBezTo>
                  <a:pt x="1248185" y="1255309"/>
                  <a:pt x="1234479" y="1241655"/>
                  <a:pt x="1217633" y="1241655"/>
                </a:cubicBezTo>
                <a:cubicBezTo>
                  <a:pt x="1200786" y="1241655"/>
                  <a:pt x="1187080" y="1255309"/>
                  <a:pt x="1187080" y="1272092"/>
                </a:cubicBezTo>
                <a:close/>
                <a:moveTo>
                  <a:pt x="1246472" y="1272092"/>
                </a:moveTo>
                <a:cubicBezTo>
                  <a:pt x="1246472" y="1288875"/>
                  <a:pt x="1260178" y="1302529"/>
                  <a:pt x="1277025" y="1302529"/>
                </a:cubicBezTo>
                <a:cubicBezTo>
                  <a:pt x="1293872" y="1302529"/>
                  <a:pt x="1307577" y="1288875"/>
                  <a:pt x="1307577" y="1272092"/>
                </a:cubicBezTo>
                <a:cubicBezTo>
                  <a:pt x="1307577" y="1255309"/>
                  <a:pt x="1293872" y="1241655"/>
                  <a:pt x="1277025" y="1241655"/>
                </a:cubicBezTo>
                <a:cubicBezTo>
                  <a:pt x="1260178" y="1241655"/>
                  <a:pt x="1246472" y="1255309"/>
                  <a:pt x="1246472" y="1272092"/>
                </a:cubicBezTo>
                <a:close/>
                <a:moveTo>
                  <a:pt x="1305769" y="1272092"/>
                </a:moveTo>
                <a:cubicBezTo>
                  <a:pt x="1305769" y="1288875"/>
                  <a:pt x="1319475" y="1302529"/>
                  <a:pt x="1336322" y="1302529"/>
                </a:cubicBezTo>
                <a:cubicBezTo>
                  <a:pt x="1353168" y="1302529"/>
                  <a:pt x="1366874" y="1288875"/>
                  <a:pt x="1366874" y="1272092"/>
                </a:cubicBezTo>
                <a:cubicBezTo>
                  <a:pt x="1366874" y="1255309"/>
                  <a:pt x="1353168" y="1241655"/>
                  <a:pt x="1336322" y="1241655"/>
                </a:cubicBezTo>
                <a:cubicBezTo>
                  <a:pt x="1319475" y="1241655"/>
                  <a:pt x="1305769" y="1255309"/>
                  <a:pt x="1305769" y="1272092"/>
                </a:cubicBezTo>
                <a:close/>
                <a:moveTo>
                  <a:pt x="1365161" y="1272092"/>
                </a:moveTo>
                <a:cubicBezTo>
                  <a:pt x="1365161" y="1288875"/>
                  <a:pt x="1378867" y="1302529"/>
                  <a:pt x="1395714" y="1302529"/>
                </a:cubicBezTo>
                <a:cubicBezTo>
                  <a:pt x="1412561" y="1302529"/>
                  <a:pt x="1426266" y="1288875"/>
                  <a:pt x="1426266" y="1272092"/>
                </a:cubicBezTo>
                <a:cubicBezTo>
                  <a:pt x="1426266" y="1255309"/>
                  <a:pt x="1412561" y="1241655"/>
                  <a:pt x="1395714" y="1241655"/>
                </a:cubicBezTo>
                <a:cubicBezTo>
                  <a:pt x="1378867" y="1241655"/>
                  <a:pt x="1365161" y="1255309"/>
                  <a:pt x="1365161" y="1272092"/>
                </a:cubicBezTo>
                <a:close/>
                <a:moveTo>
                  <a:pt x="1424553" y="1272092"/>
                </a:moveTo>
                <a:cubicBezTo>
                  <a:pt x="1424553" y="1288875"/>
                  <a:pt x="1438259" y="1302529"/>
                  <a:pt x="1455106" y="1302529"/>
                </a:cubicBezTo>
                <a:cubicBezTo>
                  <a:pt x="1471953" y="1302529"/>
                  <a:pt x="1485658" y="1288875"/>
                  <a:pt x="1485658" y="1272092"/>
                </a:cubicBezTo>
                <a:cubicBezTo>
                  <a:pt x="1485658" y="1255309"/>
                  <a:pt x="1471953" y="1241655"/>
                  <a:pt x="1455106" y="1241655"/>
                </a:cubicBezTo>
                <a:cubicBezTo>
                  <a:pt x="1438259" y="1241655"/>
                  <a:pt x="1424553" y="1255309"/>
                  <a:pt x="1424553" y="1272092"/>
                </a:cubicBezTo>
                <a:close/>
                <a:moveTo>
                  <a:pt x="474851" y="1331259"/>
                </a:moveTo>
                <a:cubicBezTo>
                  <a:pt x="474851" y="1348042"/>
                  <a:pt x="488557" y="1361696"/>
                  <a:pt x="505404" y="1361696"/>
                </a:cubicBezTo>
                <a:cubicBezTo>
                  <a:pt x="522250" y="1361696"/>
                  <a:pt x="535956" y="1348042"/>
                  <a:pt x="535956" y="1331259"/>
                </a:cubicBezTo>
                <a:cubicBezTo>
                  <a:pt x="535956" y="1314476"/>
                  <a:pt x="522250" y="1300822"/>
                  <a:pt x="505404" y="1300822"/>
                </a:cubicBezTo>
                <a:cubicBezTo>
                  <a:pt x="488557" y="1300822"/>
                  <a:pt x="474851" y="1314476"/>
                  <a:pt x="474851" y="1331259"/>
                </a:cubicBezTo>
                <a:close/>
                <a:moveTo>
                  <a:pt x="593635" y="1331259"/>
                </a:moveTo>
                <a:cubicBezTo>
                  <a:pt x="593635" y="1348042"/>
                  <a:pt x="607341" y="1361696"/>
                  <a:pt x="624188" y="1361696"/>
                </a:cubicBezTo>
                <a:cubicBezTo>
                  <a:pt x="641035" y="1361696"/>
                  <a:pt x="654740" y="1348042"/>
                  <a:pt x="654740" y="1331259"/>
                </a:cubicBezTo>
                <a:cubicBezTo>
                  <a:pt x="654740" y="1314476"/>
                  <a:pt x="641035" y="1300822"/>
                  <a:pt x="624188" y="1300822"/>
                </a:cubicBezTo>
                <a:cubicBezTo>
                  <a:pt x="607341" y="1300822"/>
                  <a:pt x="593635" y="1314476"/>
                  <a:pt x="593635" y="1331259"/>
                </a:cubicBezTo>
                <a:close/>
                <a:moveTo>
                  <a:pt x="771621" y="1331259"/>
                </a:moveTo>
                <a:cubicBezTo>
                  <a:pt x="771621" y="1348042"/>
                  <a:pt x="785327" y="1361696"/>
                  <a:pt x="802174" y="1361696"/>
                </a:cubicBezTo>
                <a:cubicBezTo>
                  <a:pt x="819021" y="1361696"/>
                  <a:pt x="832726" y="1348042"/>
                  <a:pt x="832726" y="1331259"/>
                </a:cubicBezTo>
                <a:cubicBezTo>
                  <a:pt x="832726" y="1314476"/>
                  <a:pt x="819021" y="1300822"/>
                  <a:pt x="802174" y="1300822"/>
                </a:cubicBezTo>
                <a:cubicBezTo>
                  <a:pt x="785327" y="1300822"/>
                  <a:pt x="771621" y="1314476"/>
                  <a:pt x="771621" y="1331259"/>
                </a:cubicBezTo>
                <a:close/>
                <a:moveTo>
                  <a:pt x="831013" y="1331259"/>
                </a:moveTo>
                <a:cubicBezTo>
                  <a:pt x="831013" y="1348042"/>
                  <a:pt x="844719" y="1361696"/>
                  <a:pt x="861566" y="1361696"/>
                </a:cubicBezTo>
                <a:cubicBezTo>
                  <a:pt x="878413" y="1361696"/>
                  <a:pt x="892118" y="1348042"/>
                  <a:pt x="892118" y="1331259"/>
                </a:cubicBezTo>
                <a:cubicBezTo>
                  <a:pt x="892118" y="1314476"/>
                  <a:pt x="878413" y="1300822"/>
                  <a:pt x="861566" y="1300822"/>
                </a:cubicBezTo>
                <a:cubicBezTo>
                  <a:pt x="844719" y="1300822"/>
                  <a:pt x="831013" y="1314476"/>
                  <a:pt x="831013" y="1331259"/>
                </a:cubicBezTo>
                <a:close/>
                <a:moveTo>
                  <a:pt x="1246472" y="1331259"/>
                </a:moveTo>
                <a:cubicBezTo>
                  <a:pt x="1246472" y="1348042"/>
                  <a:pt x="1260178" y="1361696"/>
                  <a:pt x="1277025" y="1361696"/>
                </a:cubicBezTo>
                <a:cubicBezTo>
                  <a:pt x="1293872" y="1361696"/>
                  <a:pt x="1307577" y="1348042"/>
                  <a:pt x="1307577" y="1331259"/>
                </a:cubicBezTo>
                <a:cubicBezTo>
                  <a:pt x="1307577" y="1314476"/>
                  <a:pt x="1293872" y="1300822"/>
                  <a:pt x="1277025" y="1300822"/>
                </a:cubicBezTo>
                <a:cubicBezTo>
                  <a:pt x="1260178" y="1300822"/>
                  <a:pt x="1246472" y="1314476"/>
                  <a:pt x="1246472" y="1331259"/>
                </a:cubicBezTo>
                <a:close/>
                <a:moveTo>
                  <a:pt x="1305769" y="1331259"/>
                </a:moveTo>
                <a:cubicBezTo>
                  <a:pt x="1305769" y="1348042"/>
                  <a:pt x="1319475" y="1361696"/>
                  <a:pt x="1336322" y="1361696"/>
                </a:cubicBezTo>
                <a:cubicBezTo>
                  <a:pt x="1353168" y="1361696"/>
                  <a:pt x="1366874" y="1348042"/>
                  <a:pt x="1366874" y="1331259"/>
                </a:cubicBezTo>
                <a:cubicBezTo>
                  <a:pt x="1366874" y="1314476"/>
                  <a:pt x="1353168" y="1300822"/>
                  <a:pt x="1336322" y="1300822"/>
                </a:cubicBezTo>
                <a:cubicBezTo>
                  <a:pt x="1319475" y="1300822"/>
                  <a:pt x="1305769" y="1314476"/>
                  <a:pt x="1305769" y="1331259"/>
                </a:cubicBezTo>
                <a:close/>
                <a:moveTo>
                  <a:pt x="1424553" y="1331259"/>
                </a:moveTo>
                <a:cubicBezTo>
                  <a:pt x="1424553" y="1348042"/>
                  <a:pt x="1438259" y="1361696"/>
                  <a:pt x="1455106" y="1361696"/>
                </a:cubicBezTo>
                <a:cubicBezTo>
                  <a:pt x="1471953" y="1361696"/>
                  <a:pt x="1485658" y="1348042"/>
                  <a:pt x="1485658" y="1331259"/>
                </a:cubicBezTo>
                <a:cubicBezTo>
                  <a:pt x="1485658" y="1314476"/>
                  <a:pt x="1471953" y="1300822"/>
                  <a:pt x="1455106" y="1300822"/>
                </a:cubicBezTo>
                <a:cubicBezTo>
                  <a:pt x="1438259" y="1300822"/>
                  <a:pt x="1424553" y="1314476"/>
                  <a:pt x="1424553" y="1331259"/>
                </a:cubicBezTo>
                <a:close/>
                <a:moveTo>
                  <a:pt x="712324" y="1390331"/>
                </a:moveTo>
                <a:cubicBezTo>
                  <a:pt x="712324" y="1407114"/>
                  <a:pt x="726030" y="1420768"/>
                  <a:pt x="742877" y="1420768"/>
                </a:cubicBezTo>
                <a:cubicBezTo>
                  <a:pt x="759724" y="1420768"/>
                  <a:pt x="773429" y="1407114"/>
                  <a:pt x="773429" y="1390331"/>
                </a:cubicBezTo>
                <a:cubicBezTo>
                  <a:pt x="773429" y="1373548"/>
                  <a:pt x="759724" y="1359894"/>
                  <a:pt x="742877" y="1359894"/>
                </a:cubicBezTo>
                <a:cubicBezTo>
                  <a:pt x="726030" y="1359894"/>
                  <a:pt x="712324" y="1373548"/>
                  <a:pt x="712324" y="1390331"/>
                </a:cubicBezTo>
                <a:close/>
                <a:moveTo>
                  <a:pt x="771621" y="1390331"/>
                </a:moveTo>
                <a:cubicBezTo>
                  <a:pt x="771621" y="1407114"/>
                  <a:pt x="785327" y="1420768"/>
                  <a:pt x="802174" y="1420768"/>
                </a:cubicBezTo>
                <a:cubicBezTo>
                  <a:pt x="819021" y="1420768"/>
                  <a:pt x="832726" y="1407114"/>
                  <a:pt x="832726" y="1390331"/>
                </a:cubicBezTo>
                <a:cubicBezTo>
                  <a:pt x="832726" y="1373548"/>
                  <a:pt x="819021" y="1359894"/>
                  <a:pt x="802174" y="1359894"/>
                </a:cubicBezTo>
                <a:cubicBezTo>
                  <a:pt x="785327" y="1359894"/>
                  <a:pt x="771621" y="1373548"/>
                  <a:pt x="771621" y="1390331"/>
                </a:cubicBezTo>
                <a:close/>
                <a:moveTo>
                  <a:pt x="949702" y="1390331"/>
                </a:moveTo>
                <a:cubicBezTo>
                  <a:pt x="949702" y="1407114"/>
                  <a:pt x="963408" y="1420768"/>
                  <a:pt x="980255" y="1420768"/>
                </a:cubicBezTo>
                <a:cubicBezTo>
                  <a:pt x="997101" y="1420768"/>
                  <a:pt x="1010807" y="1407114"/>
                  <a:pt x="1010807" y="1390331"/>
                </a:cubicBezTo>
                <a:cubicBezTo>
                  <a:pt x="1010807" y="1373548"/>
                  <a:pt x="997101" y="1359894"/>
                  <a:pt x="980255" y="1359894"/>
                </a:cubicBezTo>
                <a:cubicBezTo>
                  <a:pt x="963408" y="1359894"/>
                  <a:pt x="949702" y="1373548"/>
                  <a:pt x="949702" y="1390331"/>
                </a:cubicBezTo>
                <a:close/>
                <a:moveTo>
                  <a:pt x="1068391" y="1390331"/>
                </a:moveTo>
                <a:cubicBezTo>
                  <a:pt x="1068391" y="1407114"/>
                  <a:pt x="1082097" y="1420768"/>
                  <a:pt x="1098944" y="1420768"/>
                </a:cubicBezTo>
                <a:cubicBezTo>
                  <a:pt x="1115790" y="1420768"/>
                  <a:pt x="1129496" y="1407114"/>
                  <a:pt x="1129496" y="1390331"/>
                </a:cubicBezTo>
                <a:cubicBezTo>
                  <a:pt x="1129496" y="1373548"/>
                  <a:pt x="1115790" y="1359894"/>
                  <a:pt x="1098944" y="1359894"/>
                </a:cubicBezTo>
                <a:cubicBezTo>
                  <a:pt x="1082097" y="1359894"/>
                  <a:pt x="1068391" y="1373548"/>
                  <a:pt x="1068391" y="1390331"/>
                </a:cubicBezTo>
                <a:close/>
                <a:moveTo>
                  <a:pt x="1127783" y="1390331"/>
                </a:moveTo>
                <a:cubicBezTo>
                  <a:pt x="1127783" y="1407114"/>
                  <a:pt x="1141489" y="1420768"/>
                  <a:pt x="1158336" y="1420768"/>
                </a:cubicBezTo>
                <a:cubicBezTo>
                  <a:pt x="1175183" y="1420768"/>
                  <a:pt x="1188888" y="1407114"/>
                  <a:pt x="1188888" y="1390331"/>
                </a:cubicBezTo>
                <a:cubicBezTo>
                  <a:pt x="1188888" y="1373548"/>
                  <a:pt x="1175183" y="1359894"/>
                  <a:pt x="1158336" y="1359894"/>
                </a:cubicBezTo>
                <a:cubicBezTo>
                  <a:pt x="1141489" y="1359894"/>
                  <a:pt x="1127783" y="1373548"/>
                  <a:pt x="1127783" y="1390331"/>
                </a:cubicBezTo>
                <a:close/>
                <a:moveTo>
                  <a:pt x="1187080" y="1390331"/>
                </a:moveTo>
                <a:cubicBezTo>
                  <a:pt x="1187080" y="1407114"/>
                  <a:pt x="1200786" y="1420768"/>
                  <a:pt x="1217633" y="1420768"/>
                </a:cubicBezTo>
                <a:cubicBezTo>
                  <a:pt x="1234479" y="1420768"/>
                  <a:pt x="1248185" y="1407114"/>
                  <a:pt x="1248185" y="1390331"/>
                </a:cubicBezTo>
                <a:cubicBezTo>
                  <a:pt x="1248185" y="1373548"/>
                  <a:pt x="1234479" y="1359894"/>
                  <a:pt x="1217633" y="1359894"/>
                </a:cubicBezTo>
                <a:cubicBezTo>
                  <a:pt x="1200786" y="1359894"/>
                  <a:pt x="1187080" y="1373548"/>
                  <a:pt x="1187080" y="1390331"/>
                </a:cubicBezTo>
                <a:close/>
                <a:moveTo>
                  <a:pt x="1246472" y="1390331"/>
                </a:moveTo>
                <a:cubicBezTo>
                  <a:pt x="1246472" y="1407114"/>
                  <a:pt x="1260178" y="1420768"/>
                  <a:pt x="1277025" y="1420768"/>
                </a:cubicBezTo>
                <a:cubicBezTo>
                  <a:pt x="1293872" y="1420768"/>
                  <a:pt x="1307577" y="1407114"/>
                  <a:pt x="1307577" y="1390331"/>
                </a:cubicBezTo>
                <a:cubicBezTo>
                  <a:pt x="1307577" y="1373548"/>
                  <a:pt x="1293872" y="1359894"/>
                  <a:pt x="1277025" y="1359894"/>
                </a:cubicBezTo>
                <a:cubicBezTo>
                  <a:pt x="1260178" y="1359894"/>
                  <a:pt x="1246472" y="1373548"/>
                  <a:pt x="1246472" y="1390331"/>
                </a:cubicBezTo>
                <a:close/>
                <a:moveTo>
                  <a:pt x="1424553" y="1390331"/>
                </a:moveTo>
                <a:cubicBezTo>
                  <a:pt x="1424553" y="1407114"/>
                  <a:pt x="1438259" y="1420768"/>
                  <a:pt x="1455106" y="1420768"/>
                </a:cubicBezTo>
                <a:cubicBezTo>
                  <a:pt x="1471953" y="1420768"/>
                  <a:pt x="1485658" y="1407114"/>
                  <a:pt x="1485658" y="1390331"/>
                </a:cubicBezTo>
                <a:cubicBezTo>
                  <a:pt x="1485658" y="1373548"/>
                  <a:pt x="1471953" y="1359894"/>
                  <a:pt x="1455106" y="1359894"/>
                </a:cubicBezTo>
                <a:cubicBezTo>
                  <a:pt x="1438259" y="1359894"/>
                  <a:pt x="1424553" y="1373548"/>
                  <a:pt x="1424553" y="1390331"/>
                </a:cubicBezTo>
                <a:close/>
                <a:moveTo>
                  <a:pt x="474851" y="1449498"/>
                </a:moveTo>
                <a:cubicBezTo>
                  <a:pt x="474851" y="1466281"/>
                  <a:pt x="488557" y="1479935"/>
                  <a:pt x="505404" y="1479935"/>
                </a:cubicBezTo>
                <a:cubicBezTo>
                  <a:pt x="522250" y="1479935"/>
                  <a:pt x="535956" y="1466281"/>
                  <a:pt x="535956" y="1449498"/>
                </a:cubicBezTo>
                <a:cubicBezTo>
                  <a:pt x="535956" y="1432715"/>
                  <a:pt x="522250" y="1419061"/>
                  <a:pt x="505404" y="1419061"/>
                </a:cubicBezTo>
                <a:cubicBezTo>
                  <a:pt x="488557" y="1419061"/>
                  <a:pt x="474851" y="1432715"/>
                  <a:pt x="474851" y="1449498"/>
                </a:cubicBezTo>
                <a:close/>
                <a:moveTo>
                  <a:pt x="593635" y="1449498"/>
                </a:moveTo>
                <a:cubicBezTo>
                  <a:pt x="593635" y="1466281"/>
                  <a:pt x="607341" y="1479935"/>
                  <a:pt x="624188" y="1479935"/>
                </a:cubicBezTo>
                <a:cubicBezTo>
                  <a:pt x="641035" y="1479935"/>
                  <a:pt x="654740" y="1466281"/>
                  <a:pt x="654740" y="1449498"/>
                </a:cubicBezTo>
                <a:cubicBezTo>
                  <a:pt x="654740" y="1432715"/>
                  <a:pt x="641035" y="1419061"/>
                  <a:pt x="624188" y="1419061"/>
                </a:cubicBezTo>
                <a:cubicBezTo>
                  <a:pt x="607341" y="1419061"/>
                  <a:pt x="593635" y="1432715"/>
                  <a:pt x="593635" y="1449498"/>
                </a:cubicBezTo>
                <a:close/>
                <a:moveTo>
                  <a:pt x="712324" y="1449498"/>
                </a:moveTo>
                <a:cubicBezTo>
                  <a:pt x="712324" y="1466281"/>
                  <a:pt x="726030" y="1479935"/>
                  <a:pt x="742877" y="1479935"/>
                </a:cubicBezTo>
                <a:cubicBezTo>
                  <a:pt x="759724" y="1479935"/>
                  <a:pt x="773429" y="1466281"/>
                  <a:pt x="773429" y="1449498"/>
                </a:cubicBezTo>
                <a:cubicBezTo>
                  <a:pt x="773429" y="1432715"/>
                  <a:pt x="759724" y="1419061"/>
                  <a:pt x="742877" y="1419061"/>
                </a:cubicBezTo>
                <a:cubicBezTo>
                  <a:pt x="726030" y="1419061"/>
                  <a:pt x="712324" y="1432715"/>
                  <a:pt x="712324" y="1449498"/>
                </a:cubicBezTo>
                <a:close/>
                <a:moveTo>
                  <a:pt x="831013" y="1449498"/>
                </a:moveTo>
                <a:cubicBezTo>
                  <a:pt x="831013" y="1466281"/>
                  <a:pt x="844719" y="1479935"/>
                  <a:pt x="861566" y="1479935"/>
                </a:cubicBezTo>
                <a:cubicBezTo>
                  <a:pt x="878413" y="1479935"/>
                  <a:pt x="892118" y="1466281"/>
                  <a:pt x="892118" y="1449498"/>
                </a:cubicBezTo>
                <a:cubicBezTo>
                  <a:pt x="892118" y="1432715"/>
                  <a:pt x="878413" y="1419061"/>
                  <a:pt x="861566" y="1419061"/>
                </a:cubicBezTo>
                <a:cubicBezTo>
                  <a:pt x="844719" y="1419061"/>
                  <a:pt x="831013" y="1432715"/>
                  <a:pt x="831013" y="1449498"/>
                </a:cubicBezTo>
                <a:close/>
                <a:moveTo>
                  <a:pt x="1009094" y="1449498"/>
                </a:moveTo>
                <a:cubicBezTo>
                  <a:pt x="1009094" y="1466281"/>
                  <a:pt x="1022800" y="1479935"/>
                  <a:pt x="1039647" y="1479935"/>
                </a:cubicBezTo>
                <a:cubicBezTo>
                  <a:pt x="1056494" y="1479935"/>
                  <a:pt x="1070199" y="1466281"/>
                  <a:pt x="1070199" y="1449498"/>
                </a:cubicBezTo>
                <a:cubicBezTo>
                  <a:pt x="1070199" y="1432715"/>
                  <a:pt x="1056494" y="1419061"/>
                  <a:pt x="1039647" y="1419061"/>
                </a:cubicBezTo>
                <a:cubicBezTo>
                  <a:pt x="1022800" y="1419061"/>
                  <a:pt x="1009094" y="1432715"/>
                  <a:pt x="1009094" y="1449498"/>
                </a:cubicBezTo>
                <a:close/>
                <a:moveTo>
                  <a:pt x="1068391" y="1449498"/>
                </a:moveTo>
                <a:cubicBezTo>
                  <a:pt x="1068391" y="1466281"/>
                  <a:pt x="1082097" y="1479935"/>
                  <a:pt x="1098944" y="1479935"/>
                </a:cubicBezTo>
                <a:cubicBezTo>
                  <a:pt x="1115790" y="1479935"/>
                  <a:pt x="1129496" y="1466281"/>
                  <a:pt x="1129496" y="1449498"/>
                </a:cubicBezTo>
                <a:cubicBezTo>
                  <a:pt x="1129496" y="1432715"/>
                  <a:pt x="1115790" y="1419061"/>
                  <a:pt x="1098944" y="1419061"/>
                </a:cubicBezTo>
                <a:cubicBezTo>
                  <a:pt x="1082097" y="1419061"/>
                  <a:pt x="1068391" y="1432715"/>
                  <a:pt x="1068391" y="1449498"/>
                </a:cubicBezTo>
                <a:close/>
                <a:moveTo>
                  <a:pt x="1127783" y="1449498"/>
                </a:moveTo>
                <a:cubicBezTo>
                  <a:pt x="1127783" y="1466281"/>
                  <a:pt x="1141489" y="1479935"/>
                  <a:pt x="1158336" y="1479935"/>
                </a:cubicBezTo>
                <a:cubicBezTo>
                  <a:pt x="1175183" y="1479935"/>
                  <a:pt x="1188888" y="1466281"/>
                  <a:pt x="1188888" y="1449498"/>
                </a:cubicBezTo>
                <a:cubicBezTo>
                  <a:pt x="1188888" y="1432715"/>
                  <a:pt x="1175183" y="1419061"/>
                  <a:pt x="1158336" y="1419061"/>
                </a:cubicBezTo>
                <a:cubicBezTo>
                  <a:pt x="1141489" y="1419061"/>
                  <a:pt x="1127783" y="1432715"/>
                  <a:pt x="1127783" y="1449498"/>
                </a:cubicBezTo>
                <a:close/>
                <a:moveTo>
                  <a:pt x="1187080" y="1449498"/>
                </a:moveTo>
                <a:cubicBezTo>
                  <a:pt x="1187080" y="1466281"/>
                  <a:pt x="1200786" y="1479935"/>
                  <a:pt x="1217633" y="1479935"/>
                </a:cubicBezTo>
                <a:cubicBezTo>
                  <a:pt x="1234479" y="1479935"/>
                  <a:pt x="1248185" y="1466281"/>
                  <a:pt x="1248185" y="1449498"/>
                </a:cubicBezTo>
                <a:cubicBezTo>
                  <a:pt x="1248185" y="1432715"/>
                  <a:pt x="1234479" y="1419061"/>
                  <a:pt x="1217633" y="1419061"/>
                </a:cubicBezTo>
                <a:cubicBezTo>
                  <a:pt x="1200786" y="1419061"/>
                  <a:pt x="1187080" y="1432715"/>
                  <a:pt x="1187080" y="1449498"/>
                </a:cubicBezTo>
                <a:close/>
                <a:moveTo>
                  <a:pt x="1246472" y="1449498"/>
                </a:moveTo>
                <a:cubicBezTo>
                  <a:pt x="1246472" y="1466281"/>
                  <a:pt x="1260178" y="1479935"/>
                  <a:pt x="1277025" y="1479935"/>
                </a:cubicBezTo>
                <a:cubicBezTo>
                  <a:pt x="1293872" y="1479935"/>
                  <a:pt x="1307577" y="1466281"/>
                  <a:pt x="1307577" y="1449498"/>
                </a:cubicBezTo>
                <a:cubicBezTo>
                  <a:pt x="1307577" y="1432715"/>
                  <a:pt x="1293872" y="1419061"/>
                  <a:pt x="1277025" y="1419061"/>
                </a:cubicBezTo>
                <a:cubicBezTo>
                  <a:pt x="1260178" y="1419061"/>
                  <a:pt x="1246472" y="1432715"/>
                  <a:pt x="1246472" y="1449498"/>
                </a:cubicBezTo>
                <a:close/>
                <a:moveTo>
                  <a:pt x="1305769" y="1449498"/>
                </a:moveTo>
                <a:cubicBezTo>
                  <a:pt x="1305769" y="1466281"/>
                  <a:pt x="1319475" y="1479935"/>
                  <a:pt x="1336322" y="1479935"/>
                </a:cubicBezTo>
                <a:cubicBezTo>
                  <a:pt x="1353168" y="1479935"/>
                  <a:pt x="1366874" y="1466281"/>
                  <a:pt x="1366874" y="1449498"/>
                </a:cubicBezTo>
                <a:cubicBezTo>
                  <a:pt x="1366874" y="1432715"/>
                  <a:pt x="1353168" y="1419061"/>
                  <a:pt x="1336322" y="1419061"/>
                </a:cubicBezTo>
                <a:cubicBezTo>
                  <a:pt x="1319475" y="1419061"/>
                  <a:pt x="1305769" y="1432715"/>
                  <a:pt x="1305769" y="1449498"/>
                </a:cubicBezTo>
                <a:close/>
                <a:moveTo>
                  <a:pt x="1365161" y="1449498"/>
                </a:moveTo>
                <a:cubicBezTo>
                  <a:pt x="1365161" y="1466281"/>
                  <a:pt x="1378867" y="1479935"/>
                  <a:pt x="1395714" y="1479935"/>
                </a:cubicBezTo>
                <a:cubicBezTo>
                  <a:pt x="1412561" y="1479935"/>
                  <a:pt x="1426266" y="1466281"/>
                  <a:pt x="1426266" y="1449498"/>
                </a:cubicBezTo>
                <a:cubicBezTo>
                  <a:pt x="1426266" y="1432715"/>
                  <a:pt x="1412561" y="1419061"/>
                  <a:pt x="1395714" y="1419061"/>
                </a:cubicBezTo>
                <a:cubicBezTo>
                  <a:pt x="1378867" y="1419061"/>
                  <a:pt x="1365161" y="1432715"/>
                  <a:pt x="1365161" y="1449498"/>
                </a:cubicBezTo>
                <a:close/>
                <a:moveTo>
                  <a:pt x="1424553" y="1449498"/>
                </a:moveTo>
                <a:cubicBezTo>
                  <a:pt x="1424553" y="1466281"/>
                  <a:pt x="1438259" y="1479935"/>
                  <a:pt x="1455106" y="1479935"/>
                </a:cubicBezTo>
                <a:cubicBezTo>
                  <a:pt x="1471953" y="1479935"/>
                  <a:pt x="1485658" y="1466281"/>
                  <a:pt x="1485658" y="1449498"/>
                </a:cubicBezTo>
                <a:cubicBezTo>
                  <a:pt x="1485658" y="1432715"/>
                  <a:pt x="1471953" y="1419061"/>
                  <a:pt x="1455106" y="1419061"/>
                </a:cubicBezTo>
                <a:cubicBezTo>
                  <a:pt x="1438259" y="1419061"/>
                  <a:pt x="1424553" y="1432715"/>
                  <a:pt x="1424553" y="1449498"/>
                </a:cubicBezTo>
                <a:close/>
                <a:moveTo>
                  <a:pt x="207777" y="0"/>
                </a:moveTo>
                <a:lnTo>
                  <a:pt x="207777" y="0"/>
                </a:lnTo>
                <a:cubicBezTo>
                  <a:pt x="323515" y="0"/>
                  <a:pt x="415554" y="91690"/>
                  <a:pt x="415554" y="206990"/>
                </a:cubicBezTo>
                <a:lnTo>
                  <a:pt x="415554" y="206990"/>
                </a:lnTo>
                <a:cubicBezTo>
                  <a:pt x="415554" y="322290"/>
                  <a:pt x="323515" y="413980"/>
                  <a:pt x="207777" y="413980"/>
                </a:cubicBezTo>
                <a:lnTo>
                  <a:pt x="207777" y="413980"/>
                </a:lnTo>
                <a:cubicBezTo>
                  <a:pt x="92039" y="413980"/>
                  <a:pt x="0" y="322290"/>
                  <a:pt x="0" y="206990"/>
                </a:cubicBezTo>
                <a:lnTo>
                  <a:pt x="0" y="206990"/>
                </a:lnTo>
                <a:cubicBezTo>
                  <a:pt x="0" y="91690"/>
                  <a:pt x="92039" y="0"/>
                  <a:pt x="207777" y="0"/>
                </a:cubicBezTo>
                <a:close/>
                <a:moveTo>
                  <a:pt x="356162" y="206895"/>
                </a:moveTo>
                <a:lnTo>
                  <a:pt x="356162" y="206895"/>
                </a:lnTo>
                <a:cubicBezTo>
                  <a:pt x="356162" y="124118"/>
                  <a:pt x="290869" y="59072"/>
                  <a:pt x="207777" y="59072"/>
                </a:cubicBezTo>
                <a:lnTo>
                  <a:pt x="207777" y="59072"/>
                </a:lnTo>
                <a:cubicBezTo>
                  <a:pt x="124685" y="59072"/>
                  <a:pt x="59392" y="124118"/>
                  <a:pt x="59392" y="206895"/>
                </a:cubicBezTo>
                <a:lnTo>
                  <a:pt x="59392" y="206895"/>
                </a:lnTo>
                <a:cubicBezTo>
                  <a:pt x="59392" y="289672"/>
                  <a:pt x="124685" y="354718"/>
                  <a:pt x="207777" y="354718"/>
                </a:cubicBezTo>
                <a:lnTo>
                  <a:pt x="207777" y="354718"/>
                </a:lnTo>
                <a:cubicBezTo>
                  <a:pt x="290869" y="354718"/>
                  <a:pt x="356162" y="289672"/>
                  <a:pt x="356162" y="206895"/>
                </a:cubicBezTo>
                <a:close/>
                <a:moveTo>
                  <a:pt x="1276168" y="0"/>
                </a:moveTo>
                <a:lnTo>
                  <a:pt x="1276168" y="0"/>
                </a:lnTo>
                <a:cubicBezTo>
                  <a:pt x="1391907" y="0"/>
                  <a:pt x="1483945" y="91690"/>
                  <a:pt x="1483945" y="206990"/>
                </a:cubicBezTo>
                <a:lnTo>
                  <a:pt x="1483945" y="206990"/>
                </a:lnTo>
                <a:cubicBezTo>
                  <a:pt x="1483945" y="322290"/>
                  <a:pt x="1391907" y="413980"/>
                  <a:pt x="1276168" y="413980"/>
                </a:cubicBezTo>
                <a:lnTo>
                  <a:pt x="1276168" y="413980"/>
                </a:lnTo>
                <a:cubicBezTo>
                  <a:pt x="1160430" y="413980"/>
                  <a:pt x="1068391" y="322290"/>
                  <a:pt x="1068391" y="206990"/>
                </a:cubicBezTo>
                <a:lnTo>
                  <a:pt x="1068391" y="206990"/>
                </a:lnTo>
                <a:cubicBezTo>
                  <a:pt x="1068391" y="91690"/>
                  <a:pt x="1160430" y="0"/>
                  <a:pt x="1276168" y="0"/>
                </a:cubicBezTo>
                <a:close/>
                <a:moveTo>
                  <a:pt x="1424553" y="206895"/>
                </a:moveTo>
                <a:lnTo>
                  <a:pt x="1424553" y="206895"/>
                </a:lnTo>
                <a:cubicBezTo>
                  <a:pt x="1424553" y="124118"/>
                  <a:pt x="1359260" y="59072"/>
                  <a:pt x="1276168" y="59072"/>
                </a:cubicBezTo>
                <a:lnTo>
                  <a:pt x="1276168" y="59072"/>
                </a:lnTo>
                <a:cubicBezTo>
                  <a:pt x="1193076" y="59072"/>
                  <a:pt x="1127783" y="124118"/>
                  <a:pt x="1127783" y="206895"/>
                </a:cubicBezTo>
                <a:lnTo>
                  <a:pt x="1127783" y="206895"/>
                </a:lnTo>
                <a:cubicBezTo>
                  <a:pt x="1127783" y="289672"/>
                  <a:pt x="1193076" y="354718"/>
                  <a:pt x="1276168" y="354718"/>
                </a:cubicBezTo>
                <a:lnTo>
                  <a:pt x="1276168" y="354718"/>
                </a:lnTo>
                <a:cubicBezTo>
                  <a:pt x="1359260" y="354718"/>
                  <a:pt x="1424553" y="289672"/>
                  <a:pt x="1424553" y="206895"/>
                </a:cubicBezTo>
                <a:close/>
                <a:moveTo>
                  <a:pt x="207777" y="1064249"/>
                </a:moveTo>
                <a:lnTo>
                  <a:pt x="207777" y="1064249"/>
                </a:lnTo>
                <a:cubicBezTo>
                  <a:pt x="323515" y="1064249"/>
                  <a:pt x="415554" y="1155938"/>
                  <a:pt x="415554" y="1271238"/>
                </a:cubicBezTo>
                <a:lnTo>
                  <a:pt x="415554" y="1271238"/>
                </a:lnTo>
                <a:cubicBezTo>
                  <a:pt x="415554" y="1386538"/>
                  <a:pt x="323515" y="1478228"/>
                  <a:pt x="207777" y="1478228"/>
                </a:cubicBezTo>
                <a:lnTo>
                  <a:pt x="207777" y="1478228"/>
                </a:lnTo>
                <a:cubicBezTo>
                  <a:pt x="92039" y="1478228"/>
                  <a:pt x="0" y="1386538"/>
                  <a:pt x="0" y="1271238"/>
                </a:cubicBezTo>
                <a:lnTo>
                  <a:pt x="0" y="1271238"/>
                </a:lnTo>
                <a:cubicBezTo>
                  <a:pt x="0" y="1155938"/>
                  <a:pt x="92039" y="1064249"/>
                  <a:pt x="207777" y="1064249"/>
                </a:cubicBezTo>
                <a:close/>
                <a:moveTo>
                  <a:pt x="356162" y="1271238"/>
                </a:moveTo>
                <a:lnTo>
                  <a:pt x="356162" y="1271238"/>
                </a:lnTo>
                <a:cubicBezTo>
                  <a:pt x="356162" y="1188461"/>
                  <a:pt x="290869" y="1123416"/>
                  <a:pt x="207777" y="1123416"/>
                </a:cubicBezTo>
                <a:lnTo>
                  <a:pt x="207777" y="1123416"/>
                </a:lnTo>
                <a:cubicBezTo>
                  <a:pt x="124685" y="1123416"/>
                  <a:pt x="59392" y="1188461"/>
                  <a:pt x="59392" y="1271238"/>
                </a:cubicBezTo>
                <a:lnTo>
                  <a:pt x="59392" y="1271238"/>
                </a:lnTo>
                <a:cubicBezTo>
                  <a:pt x="59392" y="1354016"/>
                  <a:pt x="124685" y="1419061"/>
                  <a:pt x="207777" y="1419061"/>
                </a:cubicBezTo>
                <a:lnTo>
                  <a:pt x="207777" y="1419061"/>
                </a:lnTo>
                <a:cubicBezTo>
                  <a:pt x="290869" y="1419061"/>
                  <a:pt x="356162" y="1354016"/>
                  <a:pt x="356162" y="1271238"/>
                </a:cubicBezTo>
                <a:close/>
                <a:moveTo>
                  <a:pt x="118784" y="206895"/>
                </a:moveTo>
                <a:cubicBezTo>
                  <a:pt x="118784" y="255916"/>
                  <a:pt x="158664" y="295551"/>
                  <a:pt x="207777" y="295551"/>
                </a:cubicBezTo>
                <a:cubicBezTo>
                  <a:pt x="256890" y="295551"/>
                  <a:pt x="296770" y="255822"/>
                  <a:pt x="296770" y="206895"/>
                </a:cubicBezTo>
                <a:cubicBezTo>
                  <a:pt x="296770" y="157968"/>
                  <a:pt x="256890" y="118239"/>
                  <a:pt x="207777" y="118239"/>
                </a:cubicBezTo>
                <a:cubicBezTo>
                  <a:pt x="158664" y="118239"/>
                  <a:pt x="118784" y="157968"/>
                  <a:pt x="118784" y="206895"/>
                </a:cubicBezTo>
                <a:close/>
                <a:moveTo>
                  <a:pt x="1187080" y="206895"/>
                </a:moveTo>
                <a:cubicBezTo>
                  <a:pt x="1187080" y="255916"/>
                  <a:pt x="1226960" y="295551"/>
                  <a:pt x="1276073" y="295551"/>
                </a:cubicBezTo>
                <a:cubicBezTo>
                  <a:pt x="1325186" y="295551"/>
                  <a:pt x="1365066" y="255822"/>
                  <a:pt x="1365066" y="206895"/>
                </a:cubicBezTo>
                <a:cubicBezTo>
                  <a:pt x="1365066" y="157968"/>
                  <a:pt x="1325186" y="118239"/>
                  <a:pt x="1276073" y="118239"/>
                </a:cubicBezTo>
                <a:cubicBezTo>
                  <a:pt x="1226960" y="118239"/>
                  <a:pt x="1187080" y="157968"/>
                  <a:pt x="1187080" y="206895"/>
                </a:cubicBezTo>
                <a:close/>
                <a:moveTo>
                  <a:pt x="118784" y="1271238"/>
                </a:moveTo>
                <a:cubicBezTo>
                  <a:pt x="118784" y="1320260"/>
                  <a:pt x="158664" y="1359894"/>
                  <a:pt x="207777" y="1359894"/>
                </a:cubicBezTo>
                <a:cubicBezTo>
                  <a:pt x="256890" y="1359894"/>
                  <a:pt x="296770" y="1320165"/>
                  <a:pt x="296770" y="1271238"/>
                </a:cubicBezTo>
                <a:cubicBezTo>
                  <a:pt x="296770" y="1222312"/>
                  <a:pt x="256890" y="1182583"/>
                  <a:pt x="207777" y="1182583"/>
                </a:cubicBezTo>
                <a:cubicBezTo>
                  <a:pt x="158664" y="1182583"/>
                  <a:pt x="118784" y="1222312"/>
                  <a:pt x="118784" y="1271238"/>
                </a:cubicBezTo>
                <a:close/>
              </a:path>
            </a:pathLst>
          </a:custGeom>
          <a:solidFill>
            <a:schemeClr val="bg1"/>
          </a:solidFill>
          <a:ln w="950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921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bg>
      <p:bgPr>
        <a:solidFill>
          <a:srgbClr val="0B18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950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3" name="TextBox 272">
            <a:extLst>
              <a:ext uri="{FF2B5EF4-FFF2-40B4-BE49-F238E27FC236}">
                <a16:creationId xmlns:a16="http://schemas.microsoft.com/office/drawing/2014/main" id="{13C43E77-3C68-E4FF-DC38-0AD7C894C05B}"/>
              </a:ext>
            </a:extLst>
          </p:cNvPr>
          <p:cNvSpPr txBox="1"/>
          <p:nvPr/>
        </p:nvSpPr>
        <p:spPr bwMode="auto">
          <a:xfrm>
            <a:off x="442914" y="5193626"/>
            <a:ext cx="5758414" cy="974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lnSpc>
                <a:spcPct val="150000"/>
              </a:lnSpc>
            </a:pPr>
            <a:r>
              <a:rPr lang="ru-RU" sz="1400" b="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121099, г. Москва, ул. Композиторская, д. 17</a:t>
            </a:r>
          </a:p>
          <a:p>
            <a:pPr marL="0" indent="0" defTabSz="610845">
              <a:lnSpc>
                <a:spcPct val="150000"/>
              </a:lnSpc>
              <a:defRPr/>
            </a:pPr>
            <a:r>
              <a:rPr lang="en-US" sz="1400" b="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+7 (495) 730-77-47</a:t>
            </a:r>
            <a:endParaRPr lang="ru-RU" sz="1400" b="0" kern="1200" dirty="0">
              <a:solidFill>
                <a:schemeClr val="tx1">
                  <a:alpha val="70000"/>
                </a:schemeClr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SB Sans Text" panose="020B0503040504020204" pitchFamily="34" charset="0"/>
              <a:sym typeface="Verdana" panose="020B0604030504040204" pitchFamily="34" charset="0"/>
            </a:endParaRPr>
          </a:p>
          <a:p>
            <a:pPr marL="0" indent="0" defTabSz="610845">
              <a:lnSpc>
                <a:spcPct val="150000"/>
              </a:lnSpc>
              <a:defRPr/>
            </a:pPr>
            <a:r>
              <a:rPr lang="en-US" sz="1400" b="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inbox@strategy.ru</a:t>
            </a:r>
            <a:endParaRPr lang="ru-RU" sz="1400" b="0" kern="1200" dirty="0">
              <a:solidFill>
                <a:schemeClr val="tx1">
                  <a:alpha val="70000"/>
                </a:schemeClr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SB Sans Text" panose="020B0503040504020204" pitchFamily="34" charset="0"/>
              <a:sym typeface="Verdana" panose="020B0604030504040204" pitchFamily="34" charset="0"/>
            </a:endParaRPr>
          </a:p>
        </p:txBody>
      </p:sp>
      <p:sp>
        <p:nvSpPr>
          <p:cNvPr id="277" name="Прямоугольник 276"/>
          <p:cNvSpPr/>
          <p:nvPr/>
        </p:nvSpPr>
        <p:spPr>
          <a:xfrm>
            <a:off x="413039" y="1453121"/>
            <a:ext cx="3650213" cy="247092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lvl="0" algn="l"/>
            <a:r>
              <a:rPr lang="ru-RU" sz="1800" spc="0" dirty="0">
                <a:solidFill>
                  <a:schemeClr val="tx1"/>
                </a:solidFill>
                <a:sym typeface="Verdana" panose="020B0604030504040204" pitchFamily="34" charset="0"/>
              </a:rPr>
              <a:t>Решения,</a:t>
            </a:r>
            <a:r>
              <a:rPr lang="ru-RU" sz="1800" spc="0" baseline="0" dirty="0">
                <a:solidFill>
                  <a:schemeClr val="tx1"/>
                </a:solidFill>
                <a:sym typeface="Verdana" panose="020B0604030504040204" pitchFamily="34" charset="0"/>
              </a:rPr>
              <a:t> которые работают</a:t>
            </a:r>
            <a:endParaRPr lang="ru-RU" sz="1800" spc="0" dirty="0">
              <a:solidFill>
                <a:schemeClr val="tx1"/>
              </a:solidFill>
              <a:sym typeface="Verdana" panose="020B0604030504040204" pitchFamily="34" charset="0"/>
            </a:endParaRPr>
          </a:p>
        </p:txBody>
      </p:sp>
      <p:grpSp>
        <p:nvGrpSpPr>
          <p:cNvPr id="278" name="Группа 277"/>
          <p:cNvGrpSpPr/>
          <p:nvPr/>
        </p:nvGrpSpPr>
        <p:grpSpPr>
          <a:xfrm>
            <a:off x="436189" y="767859"/>
            <a:ext cx="3354898" cy="424488"/>
            <a:chOff x="442913" y="767859"/>
            <a:chExt cx="3354898" cy="424488"/>
          </a:xfrm>
        </p:grpSpPr>
        <p:sp>
          <p:nvSpPr>
            <p:cNvPr id="279" name="Полилиния 278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2882887" y="822599"/>
              <a:ext cx="111866" cy="260005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0" name="Полилиния 279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3492292" y="882524"/>
              <a:ext cx="126609" cy="200126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1" name="Полилиния 280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3251533" y="877008"/>
              <a:ext cx="194407" cy="211079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2" name="Полилиния 281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3638131" y="877864"/>
              <a:ext cx="159680" cy="209903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3" name="Полилиния 282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3034882" y="877053"/>
              <a:ext cx="173326" cy="205597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4" name="Полилиния 283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2235169" y="770886"/>
              <a:ext cx="247039" cy="311719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5" name="Полилиния 284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2479182" y="877008"/>
              <a:ext cx="194052" cy="211079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6" name="Полилиния 285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2727398" y="882524"/>
              <a:ext cx="126608" cy="200126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7" name="Полилиния 286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1281897" y="823387"/>
              <a:ext cx="111866" cy="260005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8" name="Полилиния 287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442913" y="767859"/>
              <a:ext cx="257534" cy="321746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9" name="Полилиния 288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746810" y="823387"/>
              <a:ext cx="111866" cy="260005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0" name="Полилиния 289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1414798" y="877830"/>
              <a:ext cx="194281" cy="211079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1" name="Полилиния 290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1034036" y="877830"/>
              <a:ext cx="193584" cy="211079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2" name="Полилиния 291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898805" y="883301"/>
              <a:ext cx="126609" cy="200126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3" name="Полилиния 292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1646581" y="877830"/>
              <a:ext cx="193698" cy="314403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4" name="Полилиния 293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1892479" y="883301"/>
              <a:ext cx="182576" cy="309046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5" name="Полилиния 294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1859157" y="883301"/>
              <a:ext cx="90591" cy="153073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443499" y="4105112"/>
            <a:ext cx="3438870" cy="580534"/>
            <a:chOff x="7840752" y="2102985"/>
            <a:chExt cx="3438870" cy="580534"/>
          </a:xfrm>
        </p:grpSpPr>
        <p:sp>
          <p:nvSpPr>
            <p:cNvPr id="32" name="Прямоугольник 31"/>
            <p:cNvSpPr>
              <a:spLocks/>
            </p:cNvSpPr>
            <p:nvPr/>
          </p:nvSpPr>
          <p:spPr>
            <a:xfrm>
              <a:off x="7840752" y="2102985"/>
              <a:ext cx="1443216" cy="395869"/>
            </a:xfrm>
            <a:prstGeom prst="rect">
              <a:avLst/>
            </a:prstGeom>
          </p:spPr>
          <p:txBody>
            <a:bodyPr wrap="none" tIns="72000">
              <a:spAutoFit/>
            </a:bodyPr>
            <a:lstStyle/>
            <a:p>
              <a:pPr algn="ctr" defTabSz="610845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n-US" sz="1800" spc="0" baseline="0" dirty="0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strategy.ru</a:t>
              </a:r>
              <a:endParaRPr lang="ru-RU" sz="1800" spc="0" baseline="0" dirty="0"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693847" y="2102985"/>
              <a:ext cx="1585775" cy="580534"/>
            </a:xfrm>
            <a:prstGeom prst="rect">
              <a:avLst/>
            </a:prstGeom>
          </p:spPr>
          <p:txBody>
            <a:bodyPr wrap="square" tIns="72000">
              <a:spAutoFit/>
            </a:bodyPr>
            <a:lstStyle/>
            <a:p>
              <a:pPr defTabSz="610845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n-US" sz="1500" dirty="0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t.me/</a:t>
              </a:r>
              <a:r>
                <a:rPr lang="en-US" sz="1500" dirty="0" err="1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strategypartners</a:t>
              </a:r>
              <a:endParaRPr lang="ru-RU" sz="1500" dirty="0"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37" name="Рисунок 4">
            <a:extLst>
              <a:ext uri="{FF2B5EF4-FFF2-40B4-BE49-F238E27FC236}">
                <a16:creationId xmlns:a16="http://schemas.microsoft.com/office/drawing/2014/main" id="{94082320-2525-B04E-C59B-FF0C15071698}"/>
              </a:ext>
            </a:extLst>
          </p:cNvPr>
          <p:cNvGrpSpPr/>
          <p:nvPr/>
        </p:nvGrpSpPr>
        <p:grpSpPr>
          <a:xfrm>
            <a:off x="2389720" y="2841898"/>
            <a:ext cx="1248411" cy="1243681"/>
            <a:chOff x="6450353" y="2684481"/>
            <a:chExt cx="1473380" cy="1467798"/>
          </a:xfrm>
          <a:solidFill>
            <a:schemeClr val="bg1"/>
          </a:solidFill>
        </p:grpSpPr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26574203-C9FF-56CB-BD05-E58149F2AFB7}"/>
                </a:ext>
              </a:extLst>
            </p:cNvPr>
            <p:cNvSpPr/>
            <p:nvPr/>
          </p:nvSpPr>
          <p:spPr>
            <a:xfrm>
              <a:off x="6852106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A24D71F8-4027-5A39-55F7-A699BF43CB5E}"/>
                </a:ext>
              </a:extLst>
            </p:cNvPr>
            <p:cNvSpPr/>
            <p:nvPr/>
          </p:nvSpPr>
          <p:spPr>
            <a:xfrm>
              <a:off x="6941480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8DCB951D-1CD9-E835-FCA1-486D5405A754}"/>
                </a:ext>
              </a:extLst>
            </p:cNvPr>
            <p:cNvSpPr/>
            <p:nvPr/>
          </p:nvSpPr>
          <p:spPr>
            <a:xfrm>
              <a:off x="720931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45DFA8A6-3340-9D3D-0913-1EA19FA4C0E2}"/>
                </a:ext>
              </a:extLst>
            </p:cNvPr>
            <p:cNvSpPr/>
            <p:nvPr/>
          </p:nvSpPr>
          <p:spPr>
            <a:xfrm>
              <a:off x="725395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B0939566-AB1C-DC69-898D-3FD5A715A56C}"/>
                </a:ext>
              </a:extLst>
            </p:cNvPr>
            <p:cNvSpPr/>
            <p:nvPr/>
          </p:nvSpPr>
          <p:spPr>
            <a:xfrm>
              <a:off x="7298594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AFDC0A9B-E544-484B-E16E-1B9EBC827860}"/>
                </a:ext>
              </a:extLst>
            </p:cNvPr>
            <p:cNvSpPr/>
            <p:nvPr/>
          </p:nvSpPr>
          <p:spPr>
            <a:xfrm>
              <a:off x="738787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54462312-B083-431E-5531-3F09386D2B4D}"/>
                </a:ext>
              </a:extLst>
            </p:cNvPr>
            <p:cNvSpPr/>
            <p:nvPr/>
          </p:nvSpPr>
          <p:spPr>
            <a:xfrm>
              <a:off x="743251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BFCC57CD-4211-AB20-A66D-3865E654A0B2}"/>
                </a:ext>
              </a:extLst>
            </p:cNvPr>
            <p:cNvSpPr/>
            <p:nvPr/>
          </p:nvSpPr>
          <p:spPr>
            <a:xfrm>
              <a:off x="752188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9E2AC277-DE9E-E328-33A1-5E4739B1E0C6}"/>
                </a:ext>
              </a:extLst>
            </p:cNvPr>
            <p:cNvSpPr/>
            <p:nvPr/>
          </p:nvSpPr>
          <p:spPr>
            <a:xfrm>
              <a:off x="680746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13D4CB15-F2E3-3500-2B98-B4C6DA0BB557}"/>
                </a:ext>
              </a:extLst>
            </p:cNvPr>
            <p:cNvSpPr/>
            <p:nvPr/>
          </p:nvSpPr>
          <p:spPr>
            <a:xfrm>
              <a:off x="6986119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CD618E06-45DA-E5AE-12E4-3BF006655DAB}"/>
                </a:ext>
              </a:extLst>
            </p:cNvPr>
            <p:cNvSpPr/>
            <p:nvPr/>
          </p:nvSpPr>
          <p:spPr>
            <a:xfrm>
              <a:off x="712003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FDD141A2-5F70-6E73-AAE0-D7AE720DACEC}"/>
                </a:ext>
              </a:extLst>
            </p:cNvPr>
            <p:cNvSpPr/>
            <p:nvPr/>
          </p:nvSpPr>
          <p:spPr>
            <a:xfrm>
              <a:off x="720931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7FF78871-7679-EA3B-4C37-F8FB0CB7F74C}"/>
                </a:ext>
              </a:extLst>
            </p:cNvPr>
            <p:cNvSpPr/>
            <p:nvPr/>
          </p:nvSpPr>
          <p:spPr>
            <a:xfrm>
              <a:off x="725395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89544812-BDE0-EF1B-AFA2-56B5DE5069FB}"/>
                </a:ext>
              </a:extLst>
            </p:cNvPr>
            <p:cNvSpPr/>
            <p:nvPr/>
          </p:nvSpPr>
          <p:spPr>
            <a:xfrm>
              <a:off x="7298594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043617E0-5897-290C-5684-42666AB367DF}"/>
                </a:ext>
              </a:extLst>
            </p:cNvPr>
            <p:cNvSpPr/>
            <p:nvPr/>
          </p:nvSpPr>
          <p:spPr>
            <a:xfrm>
              <a:off x="7432512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3B0771E8-3887-9710-981A-01C72364DAEB}"/>
                </a:ext>
              </a:extLst>
            </p:cNvPr>
            <p:cNvSpPr/>
            <p:nvPr/>
          </p:nvSpPr>
          <p:spPr>
            <a:xfrm>
              <a:off x="680746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08139889-98BB-E336-01DA-4F85AF887AFF}"/>
                </a:ext>
              </a:extLst>
            </p:cNvPr>
            <p:cNvSpPr/>
            <p:nvPr/>
          </p:nvSpPr>
          <p:spPr>
            <a:xfrm>
              <a:off x="703075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B3DF69F5-AE01-7319-629F-6A17D1FEA8EB}"/>
                </a:ext>
              </a:extLst>
            </p:cNvPr>
            <p:cNvSpPr/>
            <p:nvPr/>
          </p:nvSpPr>
          <p:spPr>
            <a:xfrm>
              <a:off x="707539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57F32FC1-C8C1-C479-A6EE-FF10C94105EC}"/>
                </a:ext>
              </a:extLst>
            </p:cNvPr>
            <p:cNvSpPr/>
            <p:nvPr/>
          </p:nvSpPr>
          <p:spPr>
            <a:xfrm>
              <a:off x="712003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4A50B605-D0F8-BA8D-FEE0-F999843EF2AF}"/>
                </a:ext>
              </a:extLst>
            </p:cNvPr>
            <p:cNvSpPr/>
            <p:nvPr/>
          </p:nvSpPr>
          <p:spPr>
            <a:xfrm>
              <a:off x="720931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 57">
              <a:extLst>
                <a:ext uri="{FF2B5EF4-FFF2-40B4-BE49-F238E27FC236}">
                  <a16:creationId xmlns:a16="http://schemas.microsoft.com/office/drawing/2014/main" id="{12EEBEB4-FCF2-F580-73C4-40EF76EF17CE}"/>
                </a:ext>
              </a:extLst>
            </p:cNvPr>
            <p:cNvSpPr/>
            <p:nvPr/>
          </p:nvSpPr>
          <p:spPr>
            <a:xfrm>
              <a:off x="725395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 58">
              <a:extLst>
                <a:ext uri="{FF2B5EF4-FFF2-40B4-BE49-F238E27FC236}">
                  <a16:creationId xmlns:a16="http://schemas.microsoft.com/office/drawing/2014/main" id="{D2960D56-2087-2605-4994-3F2AFE199C36}"/>
                </a:ext>
              </a:extLst>
            </p:cNvPr>
            <p:cNvSpPr/>
            <p:nvPr/>
          </p:nvSpPr>
          <p:spPr>
            <a:xfrm>
              <a:off x="7298594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 59">
              <a:extLst>
                <a:ext uri="{FF2B5EF4-FFF2-40B4-BE49-F238E27FC236}">
                  <a16:creationId xmlns:a16="http://schemas.microsoft.com/office/drawing/2014/main" id="{439FB4E0-FEB3-6B91-1133-CDB50749328E}"/>
                </a:ext>
              </a:extLst>
            </p:cNvPr>
            <p:cNvSpPr/>
            <p:nvPr/>
          </p:nvSpPr>
          <p:spPr>
            <a:xfrm>
              <a:off x="7343233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Полилиния 60">
              <a:extLst>
                <a:ext uri="{FF2B5EF4-FFF2-40B4-BE49-F238E27FC236}">
                  <a16:creationId xmlns:a16="http://schemas.microsoft.com/office/drawing/2014/main" id="{FF0B7FAA-9A11-AEF9-80FA-36A0923C7953}"/>
                </a:ext>
              </a:extLst>
            </p:cNvPr>
            <p:cNvSpPr/>
            <p:nvPr/>
          </p:nvSpPr>
          <p:spPr>
            <a:xfrm>
              <a:off x="738787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 61">
              <a:extLst>
                <a:ext uri="{FF2B5EF4-FFF2-40B4-BE49-F238E27FC236}">
                  <a16:creationId xmlns:a16="http://schemas.microsoft.com/office/drawing/2014/main" id="{9397A71B-BD8B-8C1E-2CDC-765A7EDB0256}"/>
                </a:ext>
              </a:extLst>
            </p:cNvPr>
            <p:cNvSpPr/>
            <p:nvPr/>
          </p:nvSpPr>
          <p:spPr>
            <a:xfrm>
              <a:off x="743251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 62">
              <a:extLst>
                <a:ext uri="{FF2B5EF4-FFF2-40B4-BE49-F238E27FC236}">
                  <a16:creationId xmlns:a16="http://schemas.microsoft.com/office/drawing/2014/main" id="{D58D2E34-7BBA-AE37-6E52-2B8F274074A7}"/>
                </a:ext>
              </a:extLst>
            </p:cNvPr>
            <p:cNvSpPr/>
            <p:nvPr/>
          </p:nvSpPr>
          <p:spPr>
            <a:xfrm>
              <a:off x="752188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 63">
              <a:extLst>
                <a:ext uri="{FF2B5EF4-FFF2-40B4-BE49-F238E27FC236}">
                  <a16:creationId xmlns:a16="http://schemas.microsoft.com/office/drawing/2014/main" id="{4E8C5E1C-7CA5-A040-AC11-7D9473213E77}"/>
                </a:ext>
              </a:extLst>
            </p:cNvPr>
            <p:cNvSpPr/>
            <p:nvPr/>
          </p:nvSpPr>
          <p:spPr>
            <a:xfrm>
              <a:off x="6807467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" name="Полилиния 64">
              <a:extLst>
                <a:ext uri="{FF2B5EF4-FFF2-40B4-BE49-F238E27FC236}">
                  <a16:creationId xmlns:a16="http://schemas.microsoft.com/office/drawing/2014/main" id="{49156D91-5FCB-E601-5552-6B15DAEA94AD}"/>
                </a:ext>
              </a:extLst>
            </p:cNvPr>
            <p:cNvSpPr/>
            <p:nvPr/>
          </p:nvSpPr>
          <p:spPr>
            <a:xfrm>
              <a:off x="689684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" name="Полилиния 65">
              <a:extLst>
                <a:ext uri="{FF2B5EF4-FFF2-40B4-BE49-F238E27FC236}">
                  <a16:creationId xmlns:a16="http://schemas.microsoft.com/office/drawing/2014/main" id="{F73A94B4-B222-3A5C-102A-2E368D4BBF55}"/>
                </a:ext>
              </a:extLst>
            </p:cNvPr>
            <p:cNvSpPr/>
            <p:nvPr/>
          </p:nvSpPr>
          <p:spPr>
            <a:xfrm>
              <a:off x="6986119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" name="Полилиния 66">
              <a:extLst>
                <a:ext uri="{FF2B5EF4-FFF2-40B4-BE49-F238E27FC236}">
                  <a16:creationId xmlns:a16="http://schemas.microsoft.com/office/drawing/2014/main" id="{343DD0CB-72E6-4563-AD20-CFC0E37F933A}"/>
                </a:ext>
              </a:extLst>
            </p:cNvPr>
            <p:cNvSpPr/>
            <p:nvPr/>
          </p:nvSpPr>
          <p:spPr>
            <a:xfrm>
              <a:off x="703075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" name="Полилиния 67">
              <a:extLst>
                <a:ext uri="{FF2B5EF4-FFF2-40B4-BE49-F238E27FC236}">
                  <a16:creationId xmlns:a16="http://schemas.microsoft.com/office/drawing/2014/main" id="{5BFA067A-3F9C-DF66-9DD0-C39740F49EC5}"/>
                </a:ext>
              </a:extLst>
            </p:cNvPr>
            <p:cNvSpPr/>
            <p:nvPr/>
          </p:nvSpPr>
          <p:spPr>
            <a:xfrm>
              <a:off x="707539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" name="Полилиния 68">
              <a:extLst>
                <a:ext uri="{FF2B5EF4-FFF2-40B4-BE49-F238E27FC236}">
                  <a16:creationId xmlns:a16="http://schemas.microsoft.com/office/drawing/2014/main" id="{900F1D90-0A05-5AC8-EC7F-3AAAB532877B}"/>
                </a:ext>
              </a:extLst>
            </p:cNvPr>
            <p:cNvSpPr/>
            <p:nvPr/>
          </p:nvSpPr>
          <p:spPr>
            <a:xfrm>
              <a:off x="7164676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 69">
              <a:extLst>
                <a:ext uri="{FF2B5EF4-FFF2-40B4-BE49-F238E27FC236}">
                  <a16:creationId xmlns:a16="http://schemas.microsoft.com/office/drawing/2014/main" id="{F4018580-6F9A-9282-0961-FD05523841E3}"/>
                </a:ext>
              </a:extLst>
            </p:cNvPr>
            <p:cNvSpPr/>
            <p:nvPr/>
          </p:nvSpPr>
          <p:spPr>
            <a:xfrm>
              <a:off x="720931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F8A929BC-8BBB-683B-7213-AA48184F5DDE}"/>
                </a:ext>
              </a:extLst>
            </p:cNvPr>
            <p:cNvSpPr/>
            <p:nvPr/>
          </p:nvSpPr>
          <p:spPr>
            <a:xfrm>
              <a:off x="725395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23E492E5-8828-CF44-91CD-32CEE2B80ED3}"/>
                </a:ext>
              </a:extLst>
            </p:cNvPr>
            <p:cNvSpPr/>
            <p:nvPr/>
          </p:nvSpPr>
          <p:spPr>
            <a:xfrm>
              <a:off x="7298594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89B43AF3-3CCA-FFA6-06BF-A8C57D235C6B}"/>
                </a:ext>
              </a:extLst>
            </p:cNvPr>
            <p:cNvSpPr/>
            <p:nvPr/>
          </p:nvSpPr>
          <p:spPr>
            <a:xfrm>
              <a:off x="738787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48570E47-8F8F-82AD-0690-1C5F725D3127}"/>
                </a:ext>
              </a:extLst>
            </p:cNvPr>
            <p:cNvSpPr/>
            <p:nvPr/>
          </p:nvSpPr>
          <p:spPr>
            <a:xfrm>
              <a:off x="743251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30362F07-BABC-F9B6-3B05-D102D5CCFD8F}"/>
                </a:ext>
              </a:extLst>
            </p:cNvPr>
            <p:cNvSpPr/>
            <p:nvPr/>
          </p:nvSpPr>
          <p:spPr>
            <a:xfrm>
              <a:off x="747715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39E7C827-7D01-0129-F198-6A108365296E}"/>
                </a:ext>
              </a:extLst>
            </p:cNvPr>
            <p:cNvSpPr/>
            <p:nvPr/>
          </p:nvSpPr>
          <p:spPr>
            <a:xfrm>
              <a:off x="680746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6D7E14D3-449F-40E8-C861-EC2831D8046B}"/>
                </a:ext>
              </a:extLst>
            </p:cNvPr>
            <p:cNvSpPr/>
            <p:nvPr/>
          </p:nvSpPr>
          <p:spPr>
            <a:xfrm>
              <a:off x="6852106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107E61F-6D09-9C35-F812-257C24E39FA7}"/>
                </a:ext>
              </a:extLst>
            </p:cNvPr>
            <p:cNvSpPr/>
            <p:nvPr/>
          </p:nvSpPr>
          <p:spPr>
            <a:xfrm>
              <a:off x="689684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C77735BA-988C-D444-DA7C-5116C93D4E54}"/>
                </a:ext>
              </a:extLst>
            </p:cNvPr>
            <p:cNvSpPr/>
            <p:nvPr/>
          </p:nvSpPr>
          <p:spPr>
            <a:xfrm>
              <a:off x="7030758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904F7A52-69E1-7222-132C-BF255B891B3D}"/>
                </a:ext>
              </a:extLst>
            </p:cNvPr>
            <p:cNvSpPr/>
            <p:nvPr/>
          </p:nvSpPr>
          <p:spPr>
            <a:xfrm>
              <a:off x="712003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80A7EB9A-512F-C4F4-C437-99CB238A8340}"/>
                </a:ext>
              </a:extLst>
            </p:cNvPr>
            <p:cNvSpPr/>
            <p:nvPr/>
          </p:nvSpPr>
          <p:spPr>
            <a:xfrm>
              <a:off x="720931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72C492C5-5A1F-63D1-6453-800AEACC690C}"/>
                </a:ext>
              </a:extLst>
            </p:cNvPr>
            <p:cNvSpPr/>
            <p:nvPr/>
          </p:nvSpPr>
          <p:spPr>
            <a:xfrm>
              <a:off x="725395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07DF7846-D1A3-BE76-A43A-81AA108E332B}"/>
                </a:ext>
              </a:extLst>
            </p:cNvPr>
            <p:cNvSpPr/>
            <p:nvPr/>
          </p:nvSpPr>
          <p:spPr>
            <a:xfrm>
              <a:off x="7387872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E782FFEB-14BC-03D7-E2EB-7387666481BA}"/>
                </a:ext>
              </a:extLst>
            </p:cNvPr>
            <p:cNvSpPr/>
            <p:nvPr/>
          </p:nvSpPr>
          <p:spPr>
            <a:xfrm>
              <a:off x="747715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6201762F-DDE4-04BC-FB83-5BBA33D00210}"/>
                </a:ext>
              </a:extLst>
            </p:cNvPr>
            <p:cNvSpPr/>
            <p:nvPr/>
          </p:nvSpPr>
          <p:spPr>
            <a:xfrm>
              <a:off x="680746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40B280E3-D6AC-E5E1-F97C-8A3296DCB85A}"/>
                </a:ext>
              </a:extLst>
            </p:cNvPr>
            <p:cNvSpPr/>
            <p:nvPr/>
          </p:nvSpPr>
          <p:spPr>
            <a:xfrm>
              <a:off x="689684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1C5593EB-1260-61B3-70BA-122160EBA894}"/>
                </a:ext>
              </a:extLst>
            </p:cNvPr>
            <p:cNvSpPr/>
            <p:nvPr/>
          </p:nvSpPr>
          <p:spPr>
            <a:xfrm>
              <a:off x="6941480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29395AC3-D72F-2E2A-3950-F9791DCF5750}"/>
                </a:ext>
              </a:extLst>
            </p:cNvPr>
            <p:cNvSpPr/>
            <p:nvPr/>
          </p:nvSpPr>
          <p:spPr>
            <a:xfrm>
              <a:off x="7075398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A9552098-6A7D-AAF4-FADE-5A359FDD77A6}"/>
                </a:ext>
              </a:extLst>
            </p:cNvPr>
            <p:cNvSpPr/>
            <p:nvPr/>
          </p:nvSpPr>
          <p:spPr>
            <a:xfrm>
              <a:off x="712003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FF0DA03E-4A16-08F1-61AE-4A9C343C37AF}"/>
                </a:ext>
              </a:extLst>
            </p:cNvPr>
            <p:cNvSpPr/>
            <p:nvPr/>
          </p:nvSpPr>
          <p:spPr>
            <a:xfrm>
              <a:off x="7164676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71A28393-CB8B-7BD2-3A45-E9823927332A}"/>
                </a:ext>
              </a:extLst>
            </p:cNvPr>
            <p:cNvSpPr/>
            <p:nvPr/>
          </p:nvSpPr>
          <p:spPr>
            <a:xfrm>
              <a:off x="7387872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7CD4909D-9AB0-964A-45E7-796DAF100769}"/>
                </a:ext>
              </a:extLst>
            </p:cNvPr>
            <p:cNvSpPr/>
            <p:nvPr/>
          </p:nvSpPr>
          <p:spPr>
            <a:xfrm>
              <a:off x="747715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485EFE18-1551-191B-03C5-14E6804D7180}"/>
                </a:ext>
              </a:extLst>
            </p:cNvPr>
            <p:cNvSpPr/>
            <p:nvPr/>
          </p:nvSpPr>
          <p:spPr>
            <a:xfrm>
              <a:off x="6807467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D2563A29-2FA5-B5B5-DCF7-FC45811983A2}"/>
                </a:ext>
              </a:extLst>
            </p:cNvPr>
            <p:cNvSpPr/>
            <p:nvPr/>
          </p:nvSpPr>
          <p:spPr>
            <a:xfrm>
              <a:off x="6896841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DD045CDE-24ED-979E-3546-F829E3714699}"/>
                </a:ext>
              </a:extLst>
            </p:cNvPr>
            <p:cNvSpPr/>
            <p:nvPr/>
          </p:nvSpPr>
          <p:spPr>
            <a:xfrm>
              <a:off x="6986119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685DEA47-FE37-B28A-0A31-57A7F7838021}"/>
                </a:ext>
              </a:extLst>
            </p:cNvPr>
            <p:cNvSpPr/>
            <p:nvPr/>
          </p:nvSpPr>
          <p:spPr>
            <a:xfrm>
              <a:off x="7075398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6CD824FA-B189-E68A-9F0C-5BD300678241}"/>
                </a:ext>
              </a:extLst>
            </p:cNvPr>
            <p:cNvSpPr/>
            <p:nvPr/>
          </p:nvSpPr>
          <p:spPr>
            <a:xfrm>
              <a:off x="7164676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A26A4093-61F3-7329-C236-2F5846E29D41}"/>
                </a:ext>
              </a:extLst>
            </p:cNvPr>
            <p:cNvSpPr/>
            <p:nvPr/>
          </p:nvSpPr>
          <p:spPr>
            <a:xfrm>
              <a:off x="725395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F13A0D70-7F42-6303-A5A7-DA70899354C2}"/>
                </a:ext>
              </a:extLst>
            </p:cNvPr>
            <p:cNvSpPr/>
            <p:nvPr/>
          </p:nvSpPr>
          <p:spPr>
            <a:xfrm>
              <a:off x="7343233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DAD0D5B3-C9E3-85B2-90D8-EE8A9B1E299F}"/>
                </a:ext>
              </a:extLst>
            </p:cNvPr>
            <p:cNvSpPr/>
            <p:nvPr/>
          </p:nvSpPr>
          <p:spPr>
            <a:xfrm>
              <a:off x="7432512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7527CFBA-F981-212B-8DF9-CA7C246C99DB}"/>
                </a:ext>
              </a:extLst>
            </p:cNvPr>
            <p:cNvSpPr/>
            <p:nvPr/>
          </p:nvSpPr>
          <p:spPr>
            <a:xfrm>
              <a:off x="752188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C633C890-FEA5-71AB-AE2C-7A1BFE914570}"/>
                </a:ext>
              </a:extLst>
            </p:cNvPr>
            <p:cNvSpPr/>
            <p:nvPr/>
          </p:nvSpPr>
          <p:spPr>
            <a:xfrm>
              <a:off x="685210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64F3635B-954C-B790-151B-515798854197}"/>
                </a:ext>
              </a:extLst>
            </p:cNvPr>
            <p:cNvSpPr/>
            <p:nvPr/>
          </p:nvSpPr>
          <p:spPr>
            <a:xfrm>
              <a:off x="689684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Полилиния 103">
              <a:extLst>
                <a:ext uri="{FF2B5EF4-FFF2-40B4-BE49-F238E27FC236}">
                  <a16:creationId xmlns:a16="http://schemas.microsoft.com/office/drawing/2014/main" id="{4688EFC3-7CB0-490F-7EC3-7C26CDC8638B}"/>
                </a:ext>
              </a:extLst>
            </p:cNvPr>
            <p:cNvSpPr/>
            <p:nvPr/>
          </p:nvSpPr>
          <p:spPr>
            <a:xfrm>
              <a:off x="7030758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" name="Полилиния 104">
              <a:extLst>
                <a:ext uri="{FF2B5EF4-FFF2-40B4-BE49-F238E27FC236}">
                  <a16:creationId xmlns:a16="http://schemas.microsoft.com/office/drawing/2014/main" id="{0AE26F97-98D8-98CB-8FC9-332DDB825491}"/>
                </a:ext>
              </a:extLst>
            </p:cNvPr>
            <p:cNvSpPr/>
            <p:nvPr/>
          </p:nvSpPr>
          <p:spPr>
            <a:xfrm>
              <a:off x="716467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" name="Полилиния 105">
              <a:extLst>
                <a:ext uri="{FF2B5EF4-FFF2-40B4-BE49-F238E27FC236}">
                  <a16:creationId xmlns:a16="http://schemas.microsoft.com/office/drawing/2014/main" id="{FD401CD6-8BEF-0D3D-90B8-1DE72EAE81F2}"/>
                </a:ext>
              </a:extLst>
            </p:cNvPr>
            <p:cNvSpPr/>
            <p:nvPr/>
          </p:nvSpPr>
          <p:spPr>
            <a:xfrm>
              <a:off x="747715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" name="Полилиния 106">
              <a:extLst>
                <a:ext uri="{FF2B5EF4-FFF2-40B4-BE49-F238E27FC236}">
                  <a16:creationId xmlns:a16="http://schemas.microsoft.com/office/drawing/2014/main" id="{E965B668-DAC7-7FEF-EF26-71632A11900F}"/>
                </a:ext>
              </a:extLst>
            </p:cNvPr>
            <p:cNvSpPr/>
            <p:nvPr/>
          </p:nvSpPr>
          <p:spPr>
            <a:xfrm>
              <a:off x="7521885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" name="Полилиния 107">
              <a:extLst>
                <a:ext uri="{FF2B5EF4-FFF2-40B4-BE49-F238E27FC236}">
                  <a16:creationId xmlns:a16="http://schemas.microsoft.com/office/drawing/2014/main" id="{176661F1-D8EB-FA6D-4DF5-6F491C89B86D}"/>
                </a:ext>
              </a:extLst>
            </p:cNvPr>
            <p:cNvSpPr/>
            <p:nvPr/>
          </p:nvSpPr>
          <p:spPr>
            <a:xfrm>
              <a:off x="653963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" name="Полилиния 108">
              <a:extLst>
                <a:ext uri="{FF2B5EF4-FFF2-40B4-BE49-F238E27FC236}">
                  <a16:creationId xmlns:a16="http://schemas.microsoft.com/office/drawing/2014/main" id="{652D957F-FAC9-7FFC-B03A-98B3383FA630}"/>
                </a:ext>
              </a:extLst>
            </p:cNvPr>
            <p:cNvSpPr/>
            <p:nvPr/>
          </p:nvSpPr>
          <p:spPr>
            <a:xfrm>
              <a:off x="667354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" name="Полилиния 109">
              <a:extLst>
                <a:ext uri="{FF2B5EF4-FFF2-40B4-BE49-F238E27FC236}">
                  <a16:creationId xmlns:a16="http://schemas.microsoft.com/office/drawing/2014/main" id="{5DC9D1A1-D776-66AC-D57B-302B297FAD1E}"/>
                </a:ext>
              </a:extLst>
            </p:cNvPr>
            <p:cNvSpPr/>
            <p:nvPr/>
          </p:nvSpPr>
          <p:spPr>
            <a:xfrm>
              <a:off x="671818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" name="Полилиния 110">
              <a:extLst>
                <a:ext uri="{FF2B5EF4-FFF2-40B4-BE49-F238E27FC236}">
                  <a16:creationId xmlns:a16="http://schemas.microsoft.com/office/drawing/2014/main" id="{E8BFA029-8542-BBB5-5090-02FF7963C522}"/>
                </a:ext>
              </a:extLst>
            </p:cNvPr>
            <p:cNvSpPr/>
            <p:nvPr/>
          </p:nvSpPr>
          <p:spPr>
            <a:xfrm>
              <a:off x="676282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" name="Полилиния 111">
              <a:extLst>
                <a:ext uri="{FF2B5EF4-FFF2-40B4-BE49-F238E27FC236}">
                  <a16:creationId xmlns:a16="http://schemas.microsoft.com/office/drawing/2014/main" id="{AB4AA159-6533-D322-C8CC-FC1F91B1EA44}"/>
                </a:ext>
              </a:extLst>
            </p:cNvPr>
            <p:cNvSpPr/>
            <p:nvPr/>
          </p:nvSpPr>
          <p:spPr>
            <a:xfrm>
              <a:off x="680746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" name="Полилиния 112">
              <a:extLst>
                <a:ext uri="{FF2B5EF4-FFF2-40B4-BE49-F238E27FC236}">
                  <a16:creationId xmlns:a16="http://schemas.microsoft.com/office/drawing/2014/main" id="{05BF4988-5D0C-6AF9-3AB1-9B74F64004B4}"/>
                </a:ext>
              </a:extLst>
            </p:cNvPr>
            <p:cNvSpPr/>
            <p:nvPr/>
          </p:nvSpPr>
          <p:spPr>
            <a:xfrm>
              <a:off x="689684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" name="Полилиния 113">
              <a:extLst>
                <a:ext uri="{FF2B5EF4-FFF2-40B4-BE49-F238E27FC236}">
                  <a16:creationId xmlns:a16="http://schemas.microsoft.com/office/drawing/2014/main" id="{754645E9-A58F-6E9A-1051-13322880A14A}"/>
                </a:ext>
              </a:extLst>
            </p:cNvPr>
            <p:cNvSpPr/>
            <p:nvPr/>
          </p:nvSpPr>
          <p:spPr>
            <a:xfrm>
              <a:off x="703075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" name="Полилиния 114">
              <a:extLst>
                <a:ext uri="{FF2B5EF4-FFF2-40B4-BE49-F238E27FC236}">
                  <a16:creationId xmlns:a16="http://schemas.microsoft.com/office/drawing/2014/main" id="{44AE3059-5919-62C4-144A-7201255FAA9B}"/>
                </a:ext>
              </a:extLst>
            </p:cNvPr>
            <p:cNvSpPr/>
            <p:nvPr/>
          </p:nvSpPr>
          <p:spPr>
            <a:xfrm>
              <a:off x="712003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" name="Полилиния 115">
              <a:extLst>
                <a:ext uri="{FF2B5EF4-FFF2-40B4-BE49-F238E27FC236}">
                  <a16:creationId xmlns:a16="http://schemas.microsoft.com/office/drawing/2014/main" id="{1BF1589F-676A-A714-78F6-3F22435DED82}"/>
                </a:ext>
              </a:extLst>
            </p:cNvPr>
            <p:cNvSpPr/>
            <p:nvPr/>
          </p:nvSpPr>
          <p:spPr>
            <a:xfrm>
              <a:off x="7164676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 116">
              <a:extLst>
                <a:ext uri="{FF2B5EF4-FFF2-40B4-BE49-F238E27FC236}">
                  <a16:creationId xmlns:a16="http://schemas.microsoft.com/office/drawing/2014/main" id="{E5D3A95E-D8CE-8B40-D5DA-CF1589EB2181}"/>
                </a:ext>
              </a:extLst>
            </p:cNvPr>
            <p:cNvSpPr/>
            <p:nvPr/>
          </p:nvSpPr>
          <p:spPr>
            <a:xfrm>
              <a:off x="720931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" name="Полилиния 117">
              <a:extLst>
                <a:ext uri="{FF2B5EF4-FFF2-40B4-BE49-F238E27FC236}">
                  <a16:creationId xmlns:a16="http://schemas.microsoft.com/office/drawing/2014/main" id="{20328D4E-9196-FC3D-94E9-7903317E2963}"/>
                </a:ext>
              </a:extLst>
            </p:cNvPr>
            <p:cNvSpPr/>
            <p:nvPr/>
          </p:nvSpPr>
          <p:spPr>
            <a:xfrm>
              <a:off x="725395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" name="Полилиния 118">
              <a:extLst>
                <a:ext uri="{FF2B5EF4-FFF2-40B4-BE49-F238E27FC236}">
                  <a16:creationId xmlns:a16="http://schemas.microsoft.com/office/drawing/2014/main" id="{05861AE1-98B2-D6DB-C1C4-26D298503A8A}"/>
                </a:ext>
              </a:extLst>
            </p:cNvPr>
            <p:cNvSpPr/>
            <p:nvPr/>
          </p:nvSpPr>
          <p:spPr>
            <a:xfrm>
              <a:off x="734323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" name="Полилиния 119">
              <a:extLst>
                <a:ext uri="{FF2B5EF4-FFF2-40B4-BE49-F238E27FC236}">
                  <a16:creationId xmlns:a16="http://schemas.microsoft.com/office/drawing/2014/main" id="{393C4112-AC62-934D-E668-AA1B5A4F3CCA}"/>
                </a:ext>
              </a:extLst>
            </p:cNvPr>
            <p:cNvSpPr/>
            <p:nvPr/>
          </p:nvSpPr>
          <p:spPr>
            <a:xfrm>
              <a:off x="7566524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" name="Полилиния 120">
              <a:extLst>
                <a:ext uri="{FF2B5EF4-FFF2-40B4-BE49-F238E27FC236}">
                  <a16:creationId xmlns:a16="http://schemas.microsoft.com/office/drawing/2014/main" id="{73A096AB-7010-FC80-ADB4-BB7ED2AD92C6}"/>
                </a:ext>
              </a:extLst>
            </p:cNvPr>
            <p:cNvSpPr/>
            <p:nvPr/>
          </p:nvSpPr>
          <p:spPr>
            <a:xfrm>
              <a:off x="765580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" name="Полилиния 121">
              <a:extLst>
                <a:ext uri="{FF2B5EF4-FFF2-40B4-BE49-F238E27FC236}">
                  <a16:creationId xmlns:a16="http://schemas.microsoft.com/office/drawing/2014/main" id="{3A785189-D0FB-B548-7393-F3D443FBECBB}"/>
                </a:ext>
              </a:extLst>
            </p:cNvPr>
            <p:cNvSpPr/>
            <p:nvPr/>
          </p:nvSpPr>
          <p:spPr>
            <a:xfrm>
              <a:off x="7700442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" name="Полилиния 122">
              <a:extLst>
                <a:ext uri="{FF2B5EF4-FFF2-40B4-BE49-F238E27FC236}">
                  <a16:creationId xmlns:a16="http://schemas.microsoft.com/office/drawing/2014/main" id="{8825FBE5-F988-15A5-9A99-291F74B3AA83}"/>
                </a:ext>
              </a:extLst>
            </p:cNvPr>
            <p:cNvSpPr/>
            <p:nvPr/>
          </p:nvSpPr>
          <p:spPr>
            <a:xfrm>
              <a:off x="774508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" name="Полилиния 123">
              <a:extLst>
                <a:ext uri="{FF2B5EF4-FFF2-40B4-BE49-F238E27FC236}">
                  <a16:creationId xmlns:a16="http://schemas.microsoft.com/office/drawing/2014/main" id="{A5FD7387-E0CC-4520-831A-B9A350370A5F}"/>
                </a:ext>
              </a:extLst>
            </p:cNvPr>
            <p:cNvSpPr/>
            <p:nvPr/>
          </p:nvSpPr>
          <p:spPr>
            <a:xfrm>
              <a:off x="778972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" name="Полилиния 124">
              <a:extLst>
                <a:ext uri="{FF2B5EF4-FFF2-40B4-BE49-F238E27FC236}">
                  <a16:creationId xmlns:a16="http://schemas.microsoft.com/office/drawing/2014/main" id="{E32EFB0C-E777-DCD7-1910-5BBEEEF748DC}"/>
                </a:ext>
              </a:extLst>
            </p:cNvPr>
            <p:cNvSpPr/>
            <p:nvPr/>
          </p:nvSpPr>
          <p:spPr>
            <a:xfrm>
              <a:off x="7834360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" name="Полилиния 125">
              <a:extLst>
                <a:ext uri="{FF2B5EF4-FFF2-40B4-BE49-F238E27FC236}">
                  <a16:creationId xmlns:a16="http://schemas.microsoft.com/office/drawing/2014/main" id="{A37C3103-445F-76E7-C110-DE718BA7886B}"/>
                </a:ext>
              </a:extLst>
            </p:cNvPr>
            <p:cNvSpPr/>
            <p:nvPr/>
          </p:nvSpPr>
          <p:spPr>
            <a:xfrm>
              <a:off x="649499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" name="Полилиния 126">
              <a:extLst>
                <a:ext uri="{FF2B5EF4-FFF2-40B4-BE49-F238E27FC236}">
                  <a16:creationId xmlns:a16="http://schemas.microsoft.com/office/drawing/2014/main" id="{E91CDF4B-5DF0-FA59-05CA-4CA9E998E1F1}"/>
                </a:ext>
              </a:extLst>
            </p:cNvPr>
            <p:cNvSpPr/>
            <p:nvPr/>
          </p:nvSpPr>
          <p:spPr>
            <a:xfrm>
              <a:off x="653963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" name="Полилиния 127">
              <a:extLst>
                <a:ext uri="{FF2B5EF4-FFF2-40B4-BE49-F238E27FC236}">
                  <a16:creationId xmlns:a16="http://schemas.microsoft.com/office/drawing/2014/main" id="{96AC3E34-BE5F-DBB9-202B-A09BE2AC5C01}"/>
                </a:ext>
              </a:extLst>
            </p:cNvPr>
            <p:cNvSpPr/>
            <p:nvPr/>
          </p:nvSpPr>
          <p:spPr>
            <a:xfrm>
              <a:off x="667354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" name="Полилиния 128">
              <a:extLst>
                <a:ext uri="{FF2B5EF4-FFF2-40B4-BE49-F238E27FC236}">
                  <a16:creationId xmlns:a16="http://schemas.microsoft.com/office/drawing/2014/main" id="{253BCCA3-44D5-A068-3D46-CB5803C037D7}"/>
                </a:ext>
              </a:extLst>
            </p:cNvPr>
            <p:cNvSpPr/>
            <p:nvPr/>
          </p:nvSpPr>
          <p:spPr>
            <a:xfrm>
              <a:off x="6852106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" name="Полилиния 129">
              <a:extLst>
                <a:ext uri="{FF2B5EF4-FFF2-40B4-BE49-F238E27FC236}">
                  <a16:creationId xmlns:a16="http://schemas.microsoft.com/office/drawing/2014/main" id="{10DCEF63-1601-EE77-F159-2CE408E2806F}"/>
                </a:ext>
              </a:extLst>
            </p:cNvPr>
            <p:cNvSpPr/>
            <p:nvPr/>
          </p:nvSpPr>
          <p:spPr>
            <a:xfrm>
              <a:off x="6941480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" name="Полилиния 130">
              <a:extLst>
                <a:ext uri="{FF2B5EF4-FFF2-40B4-BE49-F238E27FC236}">
                  <a16:creationId xmlns:a16="http://schemas.microsoft.com/office/drawing/2014/main" id="{348BEF39-51CE-A449-ECC2-B1FCBC670624}"/>
                </a:ext>
              </a:extLst>
            </p:cNvPr>
            <p:cNvSpPr/>
            <p:nvPr/>
          </p:nvSpPr>
          <p:spPr>
            <a:xfrm>
              <a:off x="7030758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" name="Полилиния 131">
              <a:extLst>
                <a:ext uri="{FF2B5EF4-FFF2-40B4-BE49-F238E27FC236}">
                  <a16:creationId xmlns:a16="http://schemas.microsoft.com/office/drawing/2014/main" id="{16DA196F-990D-46F0-0C51-12A205B6D812}"/>
                </a:ext>
              </a:extLst>
            </p:cNvPr>
            <p:cNvSpPr/>
            <p:nvPr/>
          </p:nvSpPr>
          <p:spPr>
            <a:xfrm>
              <a:off x="720931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" name="Полилиния 132">
              <a:extLst>
                <a:ext uri="{FF2B5EF4-FFF2-40B4-BE49-F238E27FC236}">
                  <a16:creationId xmlns:a16="http://schemas.microsoft.com/office/drawing/2014/main" id="{973A7080-9CB8-511A-3629-1A598831CA67}"/>
                </a:ext>
              </a:extLst>
            </p:cNvPr>
            <p:cNvSpPr/>
            <p:nvPr/>
          </p:nvSpPr>
          <p:spPr>
            <a:xfrm>
              <a:off x="725395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" name="Полилиния 133">
              <a:extLst>
                <a:ext uri="{FF2B5EF4-FFF2-40B4-BE49-F238E27FC236}">
                  <a16:creationId xmlns:a16="http://schemas.microsoft.com/office/drawing/2014/main" id="{09DBBB45-6442-C72B-377C-C5EEB2BF4056}"/>
                </a:ext>
              </a:extLst>
            </p:cNvPr>
            <p:cNvSpPr/>
            <p:nvPr/>
          </p:nvSpPr>
          <p:spPr>
            <a:xfrm>
              <a:off x="729859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" name="Полилиния 134">
              <a:extLst>
                <a:ext uri="{FF2B5EF4-FFF2-40B4-BE49-F238E27FC236}">
                  <a16:creationId xmlns:a16="http://schemas.microsoft.com/office/drawing/2014/main" id="{764C86E6-FD18-658E-E880-54AC0A02F78E}"/>
                </a:ext>
              </a:extLst>
            </p:cNvPr>
            <p:cNvSpPr/>
            <p:nvPr/>
          </p:nvSpPr>
          <p:spPr>
            <a:xfrm>
              <a:off x="7432512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" name="Полилиния 135">
              <a:extLst>
                <a:ext uri="{FF2B5EF4-FFF2-40B4-BE49-F238E27FC236}">
                  <a16:creationId xmlns:a16="http://schemas.microsoft.com/office/drawing/2014/main" id="{7E5A7A40-4D81-DA7A-4E1C-8026F6387F47}"/>
                </a:ext>
              </a:extLst>
            </p:cNvPr>
            <p:cNvSpPr/>
            <p:nvPr/>
          </p:nvSpPr>
          <p:spPr>
            <a:xfrm>
              <a:off x="747715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" name="Полилиния 136">
              <a:extLst>
                <a:ext uri="{FF2B5EF4-FFF2-40B4-BE49-F238E27FC236}">
                  <a16:creationId xmlns:a16="http://schemas.microsoft.com/office/drawing/2014/main" id="{55B36C43-9698-6F50-A863-ED38BB763E7D}"/>
                </a:ext>
              </a:extLst>
            </p:cNvPr>
            <p:cNvSpPr/>
            <p:nvPr/>
          </p:nvSpPr>
          <p:spPr>
            <a:xfrm>
              <a:off x="752188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" name="Полилиния 137">
              <a:extLst>
                <a:ext uri="{FF2B5EF4-FFF2-40B4-BE49-F238E27FC236}">
                  <a16:creationId xmlns:a16="http://schemas.microsoft.com/office/drawing/2014/main" id="{CB4C7803-5557-AC36-671F-DC6A81D56931}"/>
                </a:ext>
              </a:extLst>
            </p:cNvPr>
            <p:cNvSpPr/>
            <p:nvPr/>
          </p:nvSpPr>
          <p:spPr>
            <a:xfrm>
              <a:off x="756652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" name="Полилиния 138">
              <a:extLst>
                <a:ext uri="{FF2B5EF4-FFF2-40B4-BE49-F238E27FC236}">
                  <a16:creationId xmlns:a16="http://schemas.microsoft.com/office/drawing/2014/main" id="{CF4CE090-C845-C874-368D-FE01F9E6F8B5}"/>
                </a:ext>
              </a:extLst>
            </p:cNvPr>
            <p:cNvSpPr/>
            <p:nvPr/>
          </p:nvSpPr>
          <p:spPr>
            <a:xfrm>
              <a:off x="761116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" name="Полилиния 139">
              <a:extLst>
                <a:ext uri="{FF2B5EF4-FFF2-40B4-BE49-F238E27FC236}">
                  <a16:creationId xmlns:a16="http://schemas.microsoft.com/office/drawing/2014/main" id="{C32CA1FA-831E-BE25-8768-98F393AAE0E0}"/>
                </a:ext>
              </a:extLst>
            </p:cNvPr>
            <p:cNvSpPr/>
            <p:nvPr/>
          </p:nvSpPr>
          <p:spPr>
            <a:xfrm>
              <a:off x="765580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" name="Полилиния 140">
              <a:extLst>
                <a:ext uri="{FF2B5EF4-FFF2-40B4-BE49-F238E27FC236}">
                  <a16:creationId xmlns:a16="http://schemas.microsoft.com/office/drawing/2014/main" id="{EFFF860C-07B2-655D-B89C-40B69A1D58D4}"/>
                </a:ext>
              </a:extLst>
            </p:cNvPr>
            <p:cNvSpPr/>
            <p:nvPr/>
          </p:nvSpPr>
          <p:spPr>
            <a:xfrm>
              <a:off x="774508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" name="Полилиния 141">
              <a:extLst>
                <a:ext uri="{FF2B5EF4-FFF2-40B4-BE49-F238E27FC236}">
                  <a16:creationId xmlns:a16="http://schemas.microsoft.com/office/drawing/2014/main" id="{8D2F1159-D070-1DBA-4217-AC5FC8011E1F}"/>
                </a:ext>
              </a:extLst>
            </p:cNvPr>
            <p:cNvSpPr/>
            <p:nvPr/>
          </p:nvSpPr>
          <p:spPr>
            <a:xfrm>
              <a:off x="787899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" name="Полилиния 142">
              <a:extLst>
                <a:ext uri="{FF2B5EF4-FFF2-40B4-BE49-F238E27FC236}">
                  <a16:creationId xmlns:a16="http://schemas.microsoft.com/office/drawing/2014/main" id="{3C5E7457-133E-48B3-1809-CA1914EC9FE6}"/>
                </a:ext>
              </a:extLst>
            </p:cNvPr>
            <p:cNvSpPr/>
            <p:nvPr/>
          </p:nvSpPr>
          <p:spPr>
            <a:xfrm>
              <a:off x="671818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" name="Полилиния 143">
              <a:extLst>
                <a:ext uri="{FF2B5EF4-FFF2-40B4-BE49-F238E27FC236}">
                  <a16:creationId xmlns:a16="http://schemas.microsoft.com/office/drawing/2014/main" id="{62BAFD93-6172-D4AD-7A5B-E2226CEAAF83}"/>
                </a:ext>
              </a:extLst>
            </p:cNvPr>
            <p:cNvSpPr/>
            <p:nvPr/>
          </p:nvSpPr>
          <p:spPr>
            <a:xfrm>
              <a:off x="676282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" name="Полилиния 144">
              <a:extLst>
                <a:ext uri="{FF2B5EF4-FFF2-40B4-BE49-F238E27FC236}">
                  <a16:creationId xmlns:a16="http://schemas.microsoft.com/office/drawing/2014/main" id="{D9064AD5-686E-9D90-C412-1A71E0383775}"/>
                </a:ext>
              </a:extLst>
            </p:cNvPr>
            <p:cNvSpPr/>
            <p:nvPr/>
          </p:nvSpPr>
          <p:spPr>
            <a:xfrm>
              <a:off x="685210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" name="Полилиния 145">
              <a:extLst>
                <a:ext uri="{FF2B5EF4-FFF2-40B4-BE49-F238E27FC236}">
                  <a16:creationId xmlns:a16="http://schemas.microsoft.com/office/drawing/2014/main" id="{E2DEF5D6-4CD9-5544-B9C9-3FABB37F010F}"/>
                </a:ext>
              </a:extLst>
            </p:cNvPr>
            <p:cNvSpPr/>
            <p:nvPr/>
          </p:nvSpPr>
          <p:spPr>
            <a:xfrm>
              <a:off x="694148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" name="Полилиния 146">
              <a:extLst>
                <a:ext uri="{FF2B5EF4-FFF2-40B4-BE49-F238E27FC236}">
                  <a16:creationId xmlns:a16="http://schemas.microsoft.com/office/drawing/2014/main" id="{259D6511-F9C6-003E-2023-D73419BF80FD}"/>
                </a:ext>
              </a:extLst>
            </p:cNvPr>
            <p:cNvSpPr/>
            <p:nvPr/>
          </p:nvSpPr>
          <p:spPr>
            <a:xfrm>
              <a:off x="703075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" name="Полилиния 147">
              <a:extLst>
                <a:ext uri="{FF2B5EF4-FFF2-40B4-BE49-F238E27FC236}">
                  <a16:creationId xmlns:a16="http://schemas.microsoft.com/office/drawing/2014/main" id="{5C280713-6F1D-7334-EC09-D3FF77246591}"/>
                </a:ext>
              </a:extLst>
            </p:cNvPr>
            <p:cNvSpPr/>
            <p:nvPr/>
          </p:nvSpPr>
          <p:spPr>
            <a:xfrm>
              <a:off x="707539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" name="Полилиния 148">
              <a:extLst>
                <a:ext uri="{FF2B5EF4-FFF2-40B4-BE49-F238E27FC236}">
                  <a16:creationId xmlns:a16="http://schemas.microsoft.com/office/drawing/2014/main" id="{3DCD2A8D-DA55-4594-39A4-9DF3F549B20B}"/>
                </a:ext>
              </a:extLst>
            </p:cNvPr>
            <p:cNvSpPr/>
            <p:nvPr/>
          </p:nvSpPr>
          <p:spPr>
            <a:xfrm>
              <a:off x="7120037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" name="Полилиния 149">
              <a:extLst>
                <a:ext uri="{FF2B5EF4-FFF2-40B4-BE49-F238E27FC236}">
                  <a16:creationId xmlns:a16="http://schemas.microsoft.com/office/drawing/2014/main" id="{0B207389-5281-F539-B275-E23EE298D212}"/>
                </a:ext>
              </a:extLst>
            </p:cNvPr>
            <p:cNvSpPr/>
            <p:nvPr/>
          </p:nvSpPr>
          <p:spPr>
            <a:xfrm>
              <a:off x="716467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Полилиния 150">
              <a:extLst>
                <a:ext uri="{FF2B5EF4-FFF2-40B4-BE49-F238E27FC236}">
                  <a16:creationId xmlns:a16="http://schemas.microsoft.com/office/drawing/2014/main" id="{7CCC54D2-A69E-3C17-EEC4-20295B08E67A}"/>
                </a:ext>
              </a:extLst>
            </p:cNvPr>
            <p:cNvSpPr/>
            <p:nvPr/>
          </p:nvSpPr>
          <p:spPr>
            <a:xfrm>
              <a:off x="7209315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" name="Полилиния 151">
              <a:extLst>
                <a:ext uri="{FF2B5EF4-FFF2-40B4-BE49-F238E27FC236}">
                  <a16:creationId xmlns:a16="http://schemas.microsoft.com/office/drawing/2014/main" id="{96723457-89AB-7D31-6532-E6E4A0A09E53}"/>
                </a:ext>
              </a:extLst>
            </p:cNvPr>
            <p:cNvSpPr/>
            <p:nvPr/>
          </p:nvSpPr>
          <p:spPr>
            <a:xfrm>
              <a:off x="729859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" name="Полилиния 152">
              <a:extLst>
                <a:ext uri="{FF2B5EF4-FFF2-40B4-BE49-F238E27FC236}">
                  <a16:creationId xmlns:a16="http://schemas.microsoft.com/office/drawing/2014/main" id="{BE2E41EE-92C0-26B6-1A1D-A67469F6CA07}"/>
                </a:ext>
              </a:extLst>
            </p:cNvPr>
            <p:cNvSpPr/>
            <p:nvPr/>
          </p:nvSpPr>
          <p:spPr>
            <a:xfrm>
              <a:off x="734323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" name="Полилиния 153">
              <a:extLst>
                <a:ext uri="{FF2B5EF4-FFF2-40B4-BE49-F238E27FC236}">
                  <a16:creationId xmlns:a16="http://schemas.microsoft.com/office/drawing/2014/main" id="{EEE8C9D9-940C-BE11-6B66-EC63A2552D1E}"/>
                </a:ext>
              </a:extLst>
            </p:cNvPr>
            <p:cNvSpPr/>
            <p:nvPr/>
          </p:nvSpPr>
          <p:spPr>
            <a:xfrm>
              <a:off x="738787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" name="Полилиния 154">
              <a:extLst>
                <a:ext uri="{FF2B5EF4-FFF2-40B4-BE49-F238E27FC236}">
                  <a16:creationId xmlns:a16="http://schemas.microsoft.com/office/drawing/2014/main" id="{E8734CF1-4B40-7CF9-839A-A2BCCD170D7C}"/>
                </a:ext>
              </a:extLst>
            </p:cNvPr>
            <p:cNvSpPr/>
            <p:nvPr/>
          </p:nvSpPr>
          <p:spPr>
            <a:xfrm>
              <a:off x="743251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" name="Полилиния 155">
              <a:extLst>
                <a:ext uri="{FF2B5EF4-FFF2-40B4-BE49-F238E27FC236}">
                  <a16:creationId xmlns:a16="http://schemas.microsoft.com/office/drawing/2014/main" id="{CBBDA2C7-75F2-9026-D0DB-B86E0DE8EE50}"/>
                </a:ext>
              </a:extLst>
            </p:cNvPr>
            <p:cNvSpPr/>
            <p:nvPr/>
          </p:nvSpPr>
          <p:spPr>
            <a:xfrm>
              <a:off x="747715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" name="Полилиния 156">
              <a:extLst>
                <a:ext uri="{FF2B5EF4-FFF2-40B4-BE49-F238E27FC236}">
                  <a16:creationId xmlns:a16="http://schemas.microsoft.com/office/drawing/2014/main" id="{81372B50-8191-3C5C-D661-2850D30F97F9}"/>
                </a:ext>
              </a:extLst>
            </p:cNvPr>
            <p:cNvSpPr/>
            <p:nvPr/>
          </p:nvSpPr>
          <p:spPr>
            <a:xfrm>
              <a:off x="761116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" name="Полилиния 157">
              <a:extLst>
                <a:ext uri="{FF2B5EF4-FFF2-40B4-BE49-F238E27FC236}">
                  <a16:creationId xmlns:a16="http://schemas.microsoft.com/office/drawing/2014/main" id="{CE656A6A-FF10-F2FD-7834-8D42DA052BDF}"/>
                </a:ext>
              </a:extLst>
            </p:cNvPr>
            <p:cNvSpPr/>
            <p:nvPr/>
          </p:nvSpPr>
          <p:spPr>
            <a:xfrm>
              <a:off x="765580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" name="Полилиния 158">
              <a:extLst>
                <a:ext uri="{FF2B5EF4-FFF2-40B4-BE49-F238E27FC236}">
                  <a16:creationId xmlns:a16="http://schemas.microsoft.com/office/drawing/2014/main" id="{EE30700B-6F07-D0F1-FEBA-D9E97AB0F7D8}"/>
                </a:ext>
              </a:extLst>
            </p:cNvPr>
            <p:cNvSpPr/>
            <p:nvPr/>
          </p:nvSpPr>
          <p:spPr>
            <a:xfrm>
              <a:off x="770044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" name="Полилиния 159">
              <a:extLst>
                <a:ext uri="{FF2B5EF4-FFF2-40B4-BE49-F238E27FC236}">
                  <a16:creationId xmlns:a16="http://schemas.microsoft.com/office/drawing/2014/main" id="{AFBF9584-C0A9-42AE-54AA-76B4E56113B2}"/>
                </a:ext>
              </a:extLst>
            </p:cNvPr>
            <p:cNvSpPr/>
            <p:nvPr/>
          </p:nvSpPr>
          <p:spPr>
            <a:xfrm>
              <a:off x="774508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" name="Полилиния 160">
              <a:extLst>
                <a:ext uri="{FF2B5EF4-FFF2-40B4-BE49-F238E27FC236}">
                  <a16:creationId xmlns:a16="http://schemas.microsoft.com/office/drawing/2014/main" id="{D807A1C6-14FF-A588-A2F4-FD15632908FE}"/>
                </a:ext>
              </a:extLst>
            </p:cNvPr>
            <p:cNvSpPr/>
            <p:nvPr/>
          </p:nvSpPr>
          <p:spPr>
            <a:xfrm>
              <a:off x="778972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" name="Полилиния 161">
              <a:extLst>
                <a:ext uri="{FF2B5EF4-FFF2-40B4-BE49-F238E27FC236}">
                  <a16:creationId xmlns:a16="http://schemas.microsoft.com/office/drawing/2014/main" id="{50465C9A-6C0A-07C2-FB7D-B7CFF99E326A}"/>
                </a:ext>
              </a:extLst>
            </p:cNvPr>
            <p:cNvSpPr/>
            <p:nvPr/>
          </p:nvSpPr>
          <p:spPr>
            <a:xfrm>
              <a:off x="783436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" name="Полилиния 162">
              <a:extLst>
                <a:ext uri="{FF2B5EF4-FFF2-40B4-BE49-F238E27FC236}">
                  <a16:creationId xmlns:a16="http://schemas.microsoft.com/office/drawing/2014/main" id="{5776D4D3-D8E6-0199-4A4B-320287057ED4}"/>
                </a:ext>
              </a:extLst>
            </p:cNvPr>
            <p:cNvSpPr/>
            <p:nvPr/>
          </p:nvSpPr>
          <p:spPr>
            <a:xfrm>
              <a:off x="787899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" name="Полилиния 163">
              <a:extLst>
                <a:ext uri="{FF2B5EF4-FFF2-40B4-BE49-F238E27FC236}">
                  <a16:creationId xmlns:a16="http://schemas.microsoft.com/office/drawing/2014/main" id="{75C68EF0-4EC5-B389-532C-4E61E12C39AB}"/>
                </a:ext>
              </a:extLst>
            </p:cNvPr>
            <p:cNvSpPr/>
            <p:nvPr/>
          </p:nvSpPr>
          <p:spPr>
            <a:xfrm>
              <a:off x="649499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" name="Полилиния 164">
              <a:extLst>
                <a:ext uri="{FF2B5EF4-FFF2-40B4-BE49-F238E27FC236}">
                  <a16:creationId xmlns:a16="http://schemas.microsoft.com/office/drawing/2014/main" id="{4C6B3290-0827-6358-B2E3-5ABB5083497C}"/>
                </a:ext>
              </a:extLst>
            </p:cNvPr>
            <p:cNvSpPr/>
            <p:nvPr/>
          </p:nvSpPr>
          <p:spPr>
            <a:xfrm>
              <a:off x="653963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" name="Полилиния 165">
              <a:extLst>
                <a:ext uri="{FF2B5EF4-FFF2-40B4-BE49-F238E27FC236}">
                  <a16:creationId xmlns:a16="http://schemas.microsoft.com/office/drawing/2014/main" id="{92C7A409-0A61-C89C-9CF9-ED189AD0E729}"/>
                </a:ext>
              </a:extLst>
            </p:cNvPr>
            <p:cNvSpPr/>
            <p:nvPr/>
          </p:nvSpPr>
          <p:spPr>
            <a:xfrm>
              <a:off x="6628910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" name="Полилиния 166">
              <a:extLst>
                <a:ext uri="{FF2B5EF4-FFF2-40B4-BE49-F238E27FC236}">
                  <a16:creationId xmlns:a16="http://schemas.microsoft.com/office/drawing/2014/main" id="{D9C9FDBA-AA64-E084-00D0-F6342BEADF89}"/>
                </a:ext>
              </a:extLst>
            </p:cNvPr>
            <p:cNvSpPr/>
            <p:nvPr/>
          </p:nvSpPr>
          <p:spPr>
            <a:xfrm>
              <a:off x="667354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8" name="Полилиния 167">
              <a:extLst>
                <a:ext uri="{FF2B5EF4-FFF2-40B4-BE49-F238E27FC236}">
                  <a16:creationId xmlns:a16="http://schemas.microsoft.com/office/drawing/2014/main" id="{D00AFAA6-1353-2B8B-9DD9-1E80436376E0}"/>
                </a:ext>
              </a:extLst>
            </p:cNvPr>
            <p:cNvSpPr/>
            <p:nvPr/>
          </p:nvSpPr>
          <p:spPr>
            <a:xfrm>
              <a:off x="685210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9" name="Полилиния 168">
              <a:extLst>
                <a:ext uri="{FF2B5EF4-FFF2-40B4-BE49-F238E27FC236}">
                  <a16:creationId xmlns:a16="http://schemas.microsoft.com/office/drawing/2014/main" id="{F0D4895A-059E-87BB-DA9D-51711FB07321}"/>
                </a:ext>
              </a:extLst>
            </p:cNvPr>
            <p:cNvSpPr/>
            <p:nvPr/>
          </p:nvSpPr>
          <p:spPr>
            <a:xfrm>
              <a:off x="698611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0" name="Полилиния 169">
              <a:extLst>
                <a:ext uri="{FF2B5EF4-FFF2-40B4-BE49-F238E27FC236}">
                  <a16:creationId xmlns:a16="http://schemas.microsoft.com/office/drawing/2014/main" id="{96B6FBDB-23B2-4930-5AF6-C4886BF9A64C}"/>
                </a:ext>
              </a:extLst>
            </p:cNvPr>
            <p:cNvSpPr/>
            <p:nvPr/>
          </p:nvSpPr>
          <p:spPr>
            <a:xfrm>
              <a:off x="7030758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1" name="Полилиния 170">
              <a:extLst>
                <a:ext uri="{FF2B5EF4-FFF2-40B4-BE49-F238E27FC236}">
                  <a16:creationId xmlns:a16="http://schemas.microsoft.com/office/drawing/2014/main" id="{C0976B56-8B08-DFE9-3B98-CDD511FC4D61}"/>
                </a:ext>
              </a:extLst>
            </p:cNvPr>
            <p:cNvSpPr/>
            <p:nvPr/>
          </p:nvSpPr>
          <p:spPr>
            <a:xfrm>
              <a:off x="716467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2" name="Полилиния 171">
              <a:extLst>
                <a:ext uri="{FF2B5EF4-FFF2-40B4-BE49-F238E27FC236}">
                  <a16:creationId xmlns:a16="http://schemas.microsoft.com/office/drawing/2014/main" id="{10BE8E9D-E8A1-27A0-8389-9801B5F9CB01}"/>
                </a:ext>
              </a:extLst>
            </p:cNvPr>
            <p:cNvSpPr/>
            <p:nvPr/>
          </p:nvSpPr>
          <p:spPr>
            <a:xfrm>
              <a:off x="720931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3" name="Полилиния 172">
              <a:extLst>
                <a:ext uri="{FF2B5EF4-FFF2-40B4-BE49-F238E27FC236}">
                  <a16:creationId xmlns:a16="http://schemas.microsoft.com/office/drawing/2014/main" id="{1B402CEA-4A6A-828E-15E8-F5AE47126653}"/>
                </a:ext>
              </a:extLst>
            </p:cNvPr>
            <p:cNvSpPr/>
            <p:nvPr/>
          </p:nvSpPr>
          <p:spPr>
            <a:xfrm>
              <a:off x="725395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4" name="Полилиния 173">
              <a:extLst>
                <a:ext uri="{FF2B5EF4-FFF2-40B4-BE49-F238E27FC236}">
                  <a16:creationId xmlns:a16="http://schemas.microsoft.com/office/drawing/2014/main" id="{86739307-9909-7B0D-F70D-BBE108EA8043}"/>
                </a:ext>
              </a:extLst>
            </p:cNvPr>
            <p:cNvSpPr/>
            <p:nvPr/>
          </p:nvSpPr>
          <p:spPr>
            <a:xfrm>
              <a:off x="729859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5" name="Полилиния 174">
              <a:extLst>
                <a:ext uri="{FF2B5EF4-FFF2-40B4-BE49-F238E27FC236}">
                  <a16:creationId xmlns:a16="http://schemas.microsoft.com/office/drawing/2014/main" id="{2136FBEE-CEAC-986A-6BC7-002A8A5FD3F1}"/>
                </a:ext>
              </a:extLst>
            </p:cNvPr>
            <p:cNvSpPr/>
            <p:nvPr/>
          </p:nvSpPr>
          <p:spPr>
            <a:xfrm>
              <a:off x="734323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6" name="Полилиния 175">
              <a:extLst>
                <a:ext uri="{FF2B5EF4-FFF2-40B4-BE49-F238E27FC236}">
                  <a16:creationId xmlns:a16="http://schemas.microsoft.com/office/drawing/2014/main" id="{3378F68C-26DB-7C6A-5774-88DAD5766CEC}"/>
                </a:ext>
              </a:extLst>
            </p:cNvPr>
            <p:cNvSpPr/>
            <p:nvPr/>
          </p:nvSpPr>
          <p:spPr>
            <a:xfrm>
              <a:off x="7432512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7" name="Полилиния 176">
              <a:extLst>
                <a:ext uri="{FF2B5EF4-FFF2-40B4-BE49-F238E27FC236}">
                  <a16:creationId xmlns:a16="http://schemas.microsoft.com/office/drawing/2014/main" id="{4FB8F570-72EC-A69B-F910-92E7AC6766E3}"/>
                </a:ext>
              </a:extLst>
            </p:cNvPr>
            <p:cNvSpPr/>
            <p:nvPr/>
          </p:nvSpPr>
          <p:spPr>
            <a:xfrm>
              <a:off x="756652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8" name="Полилиния 177">
              <a:extLst>
                <a:ext uri="{FF2B5EF4-FFF2-40B4-BE49-F238E27FC236}">
                  <a16:creationId xmlns:a16="http://schemas.microsoft.com/office/drawing/2014/main" id="{93D006B0-B519-9D18-F4D6-5D7FF9344161}"/>
                </a:ext>
              </a:extLst>
            </p:cNvPr>
            <p:cNvSpPr/>
            <p:nvPr/>
          </p:nvSpPr>
          <p:spPr>
            <a:xfrm>
              <a:off x="765580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9" name="Полилиния 178">
              <a:extLst>
                <a:ext uri="{FF2B5EF4-FFF2-40B4-BE49-F238E27FC236}">
                  <a16:creationId xmlns:a16="http://schemas.microsoft.com/office/drawing/2014/main" id="{E1688A47-6600-9AEB-E2C3-BAFF46A44712}"/>
                </a:ext>
              </a:extLst>
            </p:cNvPr>
            <p:cNvSpPr/>
            <p:nvPr/>
          </p:nvSpPr>
          <p:spPr>
            <a:xfrm>
              <a:off x="774508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0" name="Полилиния 179">
              <a:extLst>
                <a:ext uri="{FF2B5EF4-FFF2-40B4-BE49-F238E27FC236}">
                  <a16:creationId xmlns:a16="http://schemas.microsoft.com/office/drawing/2014/main" id="{DFB65C79-1E28-80D7-C064-9E020E53E321}"/>
                </a:ext>
              </a:extLst>
            </p:cNvPr>
            <p:cNvSpPr/>
            <p:nvPr/>
          </p:nvSpPr>
          <p:spPr>
            <a:xfrm>
              <a:off x="649499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1" name="Полилиния 180">
              <a:extLst>
                <a:ext uri="{FF2B5EF4-FFF2-40B4-BE49-F238E27FC236}">
                  <a16:creationId xmlns:a16="http://schemas.microsoft.com/office/drawing/2014/main" id="{5688806E-EFD3-5F2E-E3CF-53381C13CCA8}"/>
                </a:ext>
              </a:extLst>
            </p:cNvPr>
            <p:cNvSpPr/>
            <p:nvPr/>
          </p:nvSpPr>
          <p:spPr>
            <a:xfrm>
              <a:off x="658427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2" name="Полилиния 181">
              <a:extLst>
                <a:ext uri="{FF2B5EF4-FFF2-40B4-BE49-F238E27FC236}">
                  <a16:creationId xmlns:a16="http://schemas.microsoft.com/office/drawing/2014/main" id="{0387C885-C534-4237-4187-F58D1384350D}"/>
                </a:ext>
              </a:extLst>
            </p:cNvPr>
            <p:cNvSpPr/>
            <p:nvPr/>
          </p:nvSpPr>
          <p:spPr>
            <a:xfrm>
              <a:off x="662891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" name="Полилиния 182">
              <a:extLst>
                <a:ext uri="{FF2B5EF4-FFF2-40B4-BE49-F238E27FC236}">
                  <a16:creationId xmlns:a16="http://schemas.microsoft.com/office/drawing/2014/main" id="{F2B5746E-2410-BA3D-C160-AC1E49574E69}"/>
                </a:ext>
              </a:extLst>
            </p:cNvPr>
            <p:cNvSpPr/>
            <p:nvPr/>
          </p:nvSpPr>
          <p:spPr>
            <a:xfrm>
              <a:off x="667354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4" name="Полилиния 183">
              <a:extLst>
                <a:ext uri="{FF2B5EF4-FFF2-40B4-BE49-F238E27FC236}">
                  <a16:creationId xmlns:a16="http://schemas.microsoft.com/office/drawing/2014/main" id="{F96CC817-B386-74DF-25EE-8A26276681A7}"/>
                </a:ext>
              </a:extLst>
            </p:cNvPr>
            <p:cNvSpPr/>
            <p:nvPr/>
          </p:nvSpPr>
          <p:spPr>
            <a:xfrm>
              <a:off x="671818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5" name="Полилиния 184">
              <a:extLst>
                <a:ext uri="{FF2B5EF4-FFF2-40B4-BE49-F238E27FC236}">
                  <a16:creationId xmlns:a16="http://schemas.microsoft.com/office/drawing/2014/main" id="{958DDC3F-3485-E5A9-8461-52EEF2425AFE}"/>
                </a:ext>
              </a:extLst>
            </p:cNvPr>
            <p:cNvSpPr/>
            <p:nvPr/>
          </p:nvSpPr>
          <p:spPr>
            <a:xfrm>
              <a:off x="676282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6" name="Полилиния 185">
              <a:extLst>
                <a:ext uri="{FF2B5EF4-FFF2-40B4-BE49-F238E27FC236}">
                  <a16:creationId xmlns:a16="http://schemas.microsoft.com/office/drawing/2014/main" id="{099B7DB0-1D9F-2455-26A4-208B86B1C0FC}"/>
                </a:ext>
              </a:extLst>
            </p:cNvPr>
            <p:cNvSpPr/>
            <p:nvPr/>
          </p:nvSpPr>
          <p:spPr>
            <a:xfrm>
              <a:off x="694148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7" name="Полилиния 186">
              <a:extLst>
                <a:ext uri="{FF2B5EF4-FFF2-40B4-BE49-F238E27FC236}">
                  <a16:creationId xmlns:a16="http://schemas.microsoft.com/office/drawing/2014/main" id="{F4C67200-5C16-776D-60DA-9F88193DD135}"/>
                </a:ext>
              </a:extLst>
            </p:cNvPr>
            <p:cNvSpPr/>
            <p:nvPr/>
          </p:nvSpPr>
          <p:spPr>
            <a:xfrm>
              <a:off x="698611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8" name="Полилиния 187">
              <a:extLst>
                <a:ext uri="{FF2B5EF4-FFF2-40B4-BE49-F238E27FC236}">
                  <a16:creationId xmlns:a16="http://schemas.microsoft.com/office/drawing/2014/main" id="{FE98A9B2-1D99-81D2-91E7-40F21262215A}"/>
                </a:ext>
              </a:extLst>
            </p:cNvPr>
            <p:cNvSpPr/>
            <p:nvPr/>
          </p:nvSpPr>
          <p:spPr>
            <a:xfrm>
              <a:off x="703075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9" name="Полилиния 188">
              <a:extLst>
                <a:ext uri="{FF2B5EF4-FFF2-40B4-BE49-F238E27FC236}">
                  <a16:creationId xmlns:a16="http://schemas.microsoft.com/office/drawing/2014/main" id="{7A5CBED9-D735-B5DB-A2E4-0B0FD287FFC0}"/>
                </a:ext>
              </a:extLst>
            </p:cNvPr>
            <p:cNvSpPr/>
            <p:nvPr/>
          </p:nvSpPr>
          <p:spPr>
            <a:xfrm>
              <a:off x="7120037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0" name="Полилиния 189">
              <a:extLst>
                <a:ext uri="{FF2B5EF4-FFF2-40B4-BE49-F238E27FC236}">
                  <a16:creationId xmlns:a16="http://schemas.microsoft.com/office/drawing/2014/main" id="{4BC307EE-7B7A-C215-8ADF-16D50069D92C}"/>
                </a:ext>
              </a:extLst>
            </p:cNvPr>
            <p:cNvSpPr/>
            <p:nvPr/>
          </p:nvSpPr>
          <p:spPr>
            <a:xfrm>
              <a:off x="7209315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1" name="Полилиния 190">
              <a:extLst>
                <a:ext uri="{FF2B5EF4-FFF2-40B4-BE49-F238E27FC236}">
                  <a16:creationId xmlns:a16="http://schemas.microsoft.com/office/drawing/2014/main" id="{62791FB7-B328-928E-BAB0-B2385B632B1B}"/>
                </a:ext>
              </a:extLst>
            </p:cNvPr>
            <p:cNvSpPr/>
            <p:nvPr/>
          </p:nvSpPr>
          <p:spPr>
            <a:xfrm>
              <a:off x="738787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2" name="Полилиния 191">
              <a:extLst>
                <a:ext uri="{FF2B5EF4-FFF2-40B4-BE49-F238E27FC236}">
                  <a16:creationId xmlns:a16="http://schemas.microsoft.com/office/drawing/2014/main" id="{5170AB40-2AC5-1869-911A-FBAF3825A98F}"/>
                </a:ext>
              </a:extLst>
            </p:cNvPr>
            <p:cNvSpPr/>
            <p:nvPr/>
          </p:nvSpPr>
          <p:spPr>
            <a:xfrm>
              <a:off x="743251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3" name="Полилиния 192">
              <a:extLst>
                <a:ext uri="{FF2B5EF4-FFF2-40B4-BE49-F238E27FC236}">
                  <a16:creationId xmlns:a16="http://schemas.microsoft.com/office/drawing/2014/main" id="{E8D5B912-58A6-178E-3429-701406F9A2EC}"/>
                </a:ext>
              </a:extLst>
            </p:cNvPr>
            <p:cNvSpPr/>
            <p:nvPr/>
          </p:nvSpPr>
          <p:spPr>
            <a:xfrm>
              <a:off x="747715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4" name="Полилиния 193">
              <a:extLst>
                <a:ext uri="{FF2B5EF4-FFF2-40B4-BE49-F238E27FC236}">
                  <a16:creationId xmlns:a16="http://schemas.microsoft.com/office/drawing/2014/main" id="{D0B5AB8C-F821-F204-CAB4-556807F376A9}"/>
                </a:ext>
              </a:extLst>
            </p:cNvPr>
            <p:cNvSpPr/>
            <p:nvPr/>
          </p:nvSpPr>
          <p:spPr>
            <a:xfrm>
              <a:off x="756652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5" name="Полилиния 194">
              <a:extLst>
                <a:ext uri="{FF2B5EF4-FFF2-40B4-BE49-F238E27FC236}">
                  <a16:creationId xmlns:a16="http://schemas.microsoft.com/office/drawing/2014/main" id="{3B7E88F4-32A1-0DC9-7E3E-74C577AFEB76}"/>
                </a:ext>
              </a:extLst>
            </p:cNvPr>
            <p:cNvSpPr/>
            <p:nvPr/>
          </p:nvSpPr>
          <p:spPr>
            <a:xfrm>
              <a:off x="761116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6" name="Полилиния 195">
              <a:extLst>
                <a:ext uri="{FF2B5EF4-FFF2-40B4-BE49-F238E27FC236}">
                  <a16:creationId xmlns:a16="http://schemas.microsoft.com/office/drawing/2014/main" id="{A1E7C260-F29F-62AD-9D55-5D2FCE3AB39F}"/>
                </a:ext>
              </a:extLst>
            </p:cNvPr>
            <p:cNvSpPr/>
            <p:nvPr/>
          </p:nvSpPr>
          <p:spPr>
            <a:xfrm>
              <a:off x="765580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7" name="Полилиния 196">
              <a:extLst>
                <a:ext uri="{FF2B5EF4-FFF2-40B4-BE49-F238E27FC236}">
                  <a16:creationId xmlns:a16="http://schemas.microsoft.com/office/drawing/2014/main" id="{C8AB9071-2C5E-ED43-760D-CD0877B16A2C}"/>
                </a:ext>
              </a:extLst>
            </p:cNvPr>
            <p:cNvSpPr/>
            <p:nvPr/>
          </p:nvSpPr>
          <p:spPr>
            <a:xfrm>
              <a:off x="770044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8" name="Полилиния 197">
              <a:extLst>
                <a:ext uri="{FF2B5EF4-FFF2-40B4-BE49-F238E27FC236}">
                  <a16:creationId xmlns:a16="http://schemas.microsoft.com/office/drawing/2014/main" id="{9EE3B8F9-8C3B-998C-7B3B-58BAB27238E5}"/>
                </a:ext>
              </a:extLst>
            </p:cNvPr>
            <p:cNvSpPr/>
            <p:nvPr/>
          </p:nvSpPr>
          <p:spPr>
            <a:xfrm>
              <a:off x="774508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9" name="Полилиния 198">
              <a:extLst>
                <a:ext uri="{FF2B5EF4-FFF2-40B4-BE49-F238E27FC236}">
                  <a16:creationId xmlns:a16="http://schemas.microsoft.com/office/drawing/2014/main" id="{0524E18B-DACE-13DB-8215-C3E6CAA68700}"/>
                </a:ext>
              </a:extLst>
            </p:cNvPr>
            <p:cNvSpPr/>
            <p:nvPr/>
          </p:nvSpPr>
          <p:spPr>
            <a:xfrm>
              <a:off x="787899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0" name="Полилиния 199">
              <a:extLst>
                <a:ext uri="{FF2B5EF4-FFF2-40B4-BE49-F238E27FC236}">
                  <a16:creationId xmlns:a16="http://schemas.microsoft.com/office/drawing/2014/main" id="{4BC13619-8F22-BE47-7356-7B2A479A5E83}"/>
                </a:ext>
              </a:extLst>
            </p:cNvPr>
            <p:cNvSpPr/>
            <p:nvPr/>
          </p:nvSpPr>
          <p:spPr>
            <a:xfrm>
              <a:off x="645035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1" name="Полилиния 200">
              <a:extLst>
                <a:ext uri="{FF2B5EF4-FFF2-40B4-BE49-F238E27FC236}">
                  <a16:creationId xmlns:a16="http://schemas.microsoft.com/office/drawing/2014/main" id="{57BAA716-0CF8-ABCD-AFD1-05AF0C52475A}"/>
                </a:ext>
              </a:extLst>
            </p:cNvPr>
            <p:cNvSpPr/>
            <p:nvPr/>
          </p:nvSpPr>
          <p:spPr>
            <a:xfrm>
              <a:off x="6941480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2" name="Полилиния 201">
              <a:extLst>
                <a:ext uri="{FF2B5EF4-FFF2-40B4-BE49-F238E27FC236}">
                  <a16:creationId xmlns:a16="http://schemas.microsoft.com/office/drawing/2014/main" id="{AE173D05-DFE5-A8A2-C267-494C3A33120D}"/>
                </a:ext>
              </a:extLst>
            </p:cNvPr>
            <p:cNvSpPr/>
            <p:nvPr/>
          </p:nvSpPr>
          <p:spPr>
            <a:xfrm>
              <a:off x="698611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3" name="Полилиния 202">
              <a:extLst>
                <a:ext uri="{FF2B5EF4-FFF2-40B4-BE49-F238E27FC236}">
                  <a16:creationId xmlns:a16="http://schemas.microsoft.com/office/drawing/2014/main" id="{2F77A747-A8B2-3493-D4E7-CFC26E8D6D63}"/>
                </a:ext>
              </a:extLst>
            </p:cNvPr>
            <p:cNvSpPr/>
            <p:nvPr/>
          </p:nvSpPr>
          <p:spPr>
            <a:xfrm>
              <a:off x="703075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4" name="Полилиния 203">
              <a:extLst>
                <a:ext uri="{FF2B5EF4-FFF2-40B4-BE49-F238E27FC236}">
                  <a16:creationId xmlns:a16="http://schemas.microsoft.com/office/drawing/2014/main" id="{7ABA9A1D-FD0C-83DF-1CFB-9AF56148AC5B}"/>
                </a:ext>
              </a:extLst>
            </p:cNvPr>
            <p:cNvSpPr/>
            <p:nvPr/>
          </p:nvSpPr>
          <p:spPr>
            <a:xfrm>
              <a:off x="707539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5" name="Полилиния 204">
              <a:extLst>
                <a:ext uri="{FF2B5EF4-FFF2-40B4-BE49-F238E27FC236}">
                  <a16:creationId xmlns:a16="http://schemas.microsoft.com/office/drawing/2014/main" id="{AFFF6306-7B4E-D27B-3445-1CA9796C8FAB}"/>
                </a:ext>
              </a:extLst>
            </p:cNvPr>
            <p:cNvSpPr/>
            <p:nvPr/>
          </p:nvSpPr>
          <p:spPr>
            <a:xfrm>
              <a:off x="7164676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6" name="Полилиния 205">
              <a:extLst>
                <a:ext uri="{FF2B5EF4-FFF2-40B4-BE49-F238E27FC236}">
                  <a16:creationId xmlns:a16="http://schemas.microsoft.com/office/drawing/2014/main" id="{21D1D9BB-3C00-1496-5A0A-CB3AA4259DAB}"/>
                </a:ext>
              </a:extLst>
            </p:cNvPr>
            <p:cNvSpPr/>
            <p:nvPr/>
          </p:nvSpPr>
          <p:spPr>
            <a:xfrm>
              <a:off x="720931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7" name="Полилиния 206">
              <a:extLst>
                <a:ext uri="{FF2B5EF4-FFF2-40B4-BE49-F238E27FC236}">
                  <a16:creationId xmlns:a16="http://schemas.microsoft.com/office/drawing/2014/main" id="{AB5F44F0-D14E-1EA2-D582-BE3521EA184D}"/>
                </a:ext>
              </a:extLst>
            </p:cNvPr>
            <p:cNvSpPr/>
            <p:nvPr/>
          </p:nvSpPr>
          <p:spPr>
            <a:xfrm>
              <a:off x="725395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8" name="Полилиния 207">
              <a:extLst>
                <a:ext uri="{FF2B5EF4-FFF2-40B4-BE49-F238E27FC236}">
                  <a16:creationId xmlns:a16="http://schemas.microsoft.com/office/drawing/2014/main" id="{BAA31D16-D3C9-B4A7-9BBE-EB8CCBE1F3AD}"/>
                </a:ext>
              </a:extLst>
            </p:cNvPr>
            <p:cNvSpPr/>
            <p:nvPr/>
          </p:nvSpPr>
          <p:spPr>
            <a:xfrm>
              <a:off x="729859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9" name="Полилиния 208">
              <a:extLst>
                <a:ext uri="{FF2B5EF4-FFF2-40B4-BE49-F238E27FC236}">
                  <a16:creationId xmlns:a16="http://schemas.microsoft.com/office/drawing/2014/main" id="{D320B377-FB95-9CFB-A59B-3EACF448868D}"/>
                </a:ext>
              </a:extLst>
            </p:cNvPr>
            <p:cNvSpPr/>
            <p:nvPr/>
          </p:nvSpPr>
          <p:spPr>
            <a:xfrm>
              <a:off x="734323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0" name="Полилиния 209">
              <a:extLst>
                <a:ext uri="{FF2B5EF4-FFF2-40B4-BE49-F238E27FC236}">
                  <a16:creationId xmlns:a16="http://schemas.microsoft.com/office/drawing/2014/main" id="{D2505CC1-F467-B3A5-5E38-A17570D73E7A}"/>
                </a:ext>
              </a:extLst>
            </p:cNvPr>
            <p:cNvSpPr/>
            <p:nvPr/>
          </p:nvSpPr>
          <p:spPr>
            <a:xfrm>
              <a:off x="738787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1" name="Полилиния 210">
              <a:extLst>
                <a:ext uri="{FF2B5EF4-FFF2-40B4-BE49-F238E27FC236}">
                  <a16:creationId xmlns:a16="http://schemas.microsoft.com/office/drawing/2014/main" id="{77FB350B-F9BF-4AE9-EE46-F8E493C89E64}"/>
                </a:ext>
              </a:extLst>
            </p:cNvPr>
            <p:cNvSpPr/>
            <p:nvPr/>
          </p:nvSpPr>
          <p:spPr>
            <a:xfrm>
              <a:off x="743251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2" name="Полилиния 211">
              <a:extLst>
                <a:ext uri="{FF2B5EF4-FFF2-40B4-BE49-F238E27FC236}">
                  <a16:creationId xmlns:a16="http://schemas.microsoft.com/office/drawing/2014/main" id="{C6862E07-936E-8B31-C006-703535E17B04}"/>
                </a:ext>
              </a:extLst>
            </p:cNvPr>
            <p:cNvSpPr/>
            <p:nvPr/>
          </p:nvSpPr>
          <p:spPr>
            <a:xfrm>
              <a:off x="747715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3" name="Полилиния 212">
              <a:extLst>
                <a:ext uri="{FF2B5EF4-FFF2-40B4-BE49-F238E27FC236}">
                  <a16:creationId xmlns:a16="http://schemas.microsoft.com/office/drawing/2014/main" id="{4D75FB46-5A81-2B71-75C2-E8175B811925}"/>
                </a:ext>
              </a:extLst>
            </p:cNvPr>
            <p:cNvSpPr/>
            <p:nvPr/>
          </p:nvSpPr>
          <p:spPr>
            <a:xfrm>
              <a:off x="752188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4" name="Полилиния 213">
              <a:extLst>
                <a:ext uri="{FF2B5EF4-FFF2-40B4-BE49-F238E27FC236}">
                  <a16:creationId xmlns:a16="http://schemas.microsoft.com/office/drawing/2014/main" id="{5E58B157-12E1-E818-74E3-0FB3E755938F}"/>
                </a:ext>
              </a:extLst>
            </p:cNvPr>
            <p:cNvSpPr/>
            <p:nvPr/>
          </p:nvSpPr>
          <p:spPr>
            <a:xfrm>
              <a:off x="761116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5" name="Полилиния 214">
              <a:extLst>
                <a:ext uri="{FF2B5EF4-FFF2-40B4-BE49-F238E27FC236}">
                  <a16:creationId xmlns:a16="http://schemas.microsoft.com/office/drawing/2014/main" id="{EA6CAEF7-D3CC-3976-5F18-EF4492EE96B7}"/>
                </a:ext>
              </a:extLst>
            </p:cNvPr>
            <p:cNvSpPr/>
            <p:nvPr/>
          </p:nvSpPr>
          <p:spPr>
            <a:xfrm>
              <a:off x="774508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6" name="Полилиния 215">
              <a:extLst>
                <a:ext uri="{FF2B5EF4-FFF2-40B4-BE49-F238E27FC236}">
                  <a16:creationId xmlns:a16="http://schemas.microsoft.com/office/drawing/2014/main" id="{DABB295D-A09A-40BC-EC16-535B48EF16B2}"/>
                </a:ext>
              </a:extLst>
            </p:cNvPr>
            <p:cNvSpPr/>
            <p:nvPr/>
          </p:nvSpPr>
          <p:spPr>
            <a:xfrm>
              <a:off x="787899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7" name="Полилиния 216">
              <a:extLst>
                <a:ext uri="{FF2B5EF4-FFF2-40B4-BE49-F238E27FC236}">
                  <a16:creationId xmlns:a16="http://schemas.microsoft.com/office/drawing/2014/main" id="{44C01F2C-778B-FBFA-CE29-FCFE94BA8F8C}"/>
                </a:ext>
              </a:extLst>
            </p:cNvPr>
            <p:cNvSpPr/>
            <p:nvPr/>
          </p:nvSpPr>
          <p:spPr>
            <a:xfrm>
              <a:off x="649499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8" name="Полилиния 217">
              <a:extLst>
                <a:ext uri="{FF2B5EF4-FFF2-40B4-BE49-F238E27FC236}">
                  <a16:creationId xmlns:a16="http://schemas.microsoft.com/office/drawing/2014/main" id="{BEA11414-7F52-47D7-3A22-65631170CF9A}"/>
                </a:ext>
              </a:extLst>
            </p:cNvPr>
            <p:cNvSpPr/>
            <p:nvPr/>
          </p:nvSpPr>
          <p:spPr>
            <a:xfrm>
              <a:off x="653963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9" name="Полилиния 218">
              <a:extLst>
                <a:ext uri="{FF2B5EF4-FFF2-40B4-BE49-F238E27FC236}">
                  <a16:creationId xmlns:a16="http://schemas.microsoft.com/office/drawing/2014/main" id="{72407101-2706-A001-A664-E3E4EF8ED531}"/>
                </a:ext>
              </a:extLst>
            </p:cNvPr>
            <p:cNvSpPr/>
            <p:nvPr/>
          </p:nvSpPr>
          <p:spPr>
            <a:xfrm>
              <a:off x="658427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0" name="Полилиния 219">
              <a:extLst>
                <a:ext uri="{FF2B5EF4-FFF2-40B4-BE49-F238E27FC236}">
                  <a16:creationId xmlns:a16="http://schemas.microsoft.com/office/drawing/2014/main" id="{43FB7881-681B-251C-8C82-999532E04E8A}"/>
                </a:ext>
              </a:extLst>
            </p:cNvPr>
            <p:cNvSpPr/>
            <p:nvPr/>
          </p:nvSpPr>
          <p:spPr>
            <a:xfrm>
              <a:off x="6628910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1" name="Полилиния 220">
              <a:extLst>
                <a:ext uri="{FF2B5EF4-FFF2-40B4-BE49-F238E27FC236}">
                  <a16:creationId xmlns:a16="http://schemas.microsoft.com/office/drawing/2014/main" id="{26511C41-5B94-F6F7-337B-5CD00E85475E}"/>
                </a:ext>
              </a:extLst>
            </p:cNvPr>
            <p:cNvSpPr/>
            <p:nvPr/>
          </p:nvSpPr>
          <p:spPr>
            <a:xfrm>
              <a:off x="671818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2" name="Полилиния 221">
              <a:extLst>
                <a:ext uri="{FF2B5EF4-FFF2-40B4-BE49-F238E27FC236}">
                  <a16:creationId xmlns:a16="http://schemas.microsoft.com/office/drawing/2014/main" id="{D334D12A-5AA5-DCA2-559D-8D5EC664B5C1}"/>
                </a:ext>
              </a:extLst>
            </p:cNvPr>
            <p:cNvSpPr/>
            <p:nvPr/>
          </p:nvSpPr>
          <p:spPr>
            <a:xfrm>
              <a:off x="676282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3" name="Полилиния 222">
              <a:extLst>
                <a:ext uri="{FF2B5EF4-FFF2-40B4-BE49-F238E27FC236}">
                  <a16:creationId xmlns:a16="http://schemas.microsoft.com/office/drawing/2014/main" id="{A0D3FA9F-6399-2545-2331-BDCE16DBED84}"/>
                </a:ext>
              </a:extLst>
            </p:cNvPr>
            <p:cNvSpPr/>
            <p:nvPr/>
          </p:nvSpPr>
          <p:spPr>
            <a:xfrm>
              <a:off x="698611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4" name="Полилиния 223">
              <a:extLst>
                <a:ext uri="{FF2B5EF4-FFF2-40B4-BE49-F238E27FC236}">
                  <a16:creationId xmlns:a16="http://schemas.microsoft.com/office/drawing/2014/main" id="{F5FD6456-158C-D169-0265-5A98B2329EA7}"/>
                </a:ext>
              </a:extLst>
            </p:cNvPr>
            <p:cNvSpPr/>
            <p:nvPr/>
          </p:nvSpPr>
          <p:spPr>
            <a:xfrm>
              <a:off x="707539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5" name="Полилиния 224">
              <a:extLst>
                <a:ext uri="{FF2B5EF4-FFF2-40B4-BE49-F238E27FC236}">
                  <a16:creationId xmlns:a16="http://schemas.microsoft.com/office/drawing/2014/main" id="{A8DB75FC-D3CB-2629-4538-7B08669A75ED}"/>
                </a:ext>
              </a:extLst>
            </p:cNvPr>
            <p:cNvSpPr/>
            <p:nvPr/>
          </p:nvSpPr>
          <p:spPr>
            <a:xfrm>
              <a:off x="7120037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6" name="Полилиния 225">
              <a:extLst>
                <a:ext uri="{FF2B5EF4-FFF2-40B4-BE49-F238E27FC236}">
                  <a16:creationId xmlns:a16="http://schemas.microsoft.com/office/drawing/2014/main" id="{9EECB70B-A297-E1C0-7BEE-CFDAEE5E3B0F}"/>
                </a:ext>
              </a:extLst>
            </p:cNvPr>
            <p:cNvSpPr/>
            <p:nvPr/>
          </p:nvSpPr>
          <p:spPr>
            <a:xfrm>
              <a:off x="7164676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7" name="Полилиния 226">
              <a:extLst>
                <a:ext uri="{FF2B5EF4-FFF2-40B4-BE49-F238E27FC236}">
                  <a16:creationId xmlns:a16="http://schemas.microsoft.com/office/drawing/2014/main" id="{D2CEC86A-F82F-5600-CCBC-F014003EAD16}"/>
                </a:ext>
              </a:extLst>
            </p:cNvPr>
            <p:cNvSpPr/>
            <p:nvPr/>
          </p:nvSpPr>
          <p:spPr>
            <a:xfrm>
              <a:off x="720931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8" name="Полилиния 227">
              <a:extLst>
                <a:ext uri="{FF2B5EF4-FFF2-40B4-BE49-F238E27FC236}">
                  <a16:creationId xmlns:a16="http://schemas.microsoft.com/office/drawing/2014/main" id="{344BF45B-1E00-7E5F-557D-DC1C1567405D}"/>
                </a:ext>
              </a:extLst>
            </p:cNvPr>
            <p:cNvSpPr/>
            <p:nvPr/>
          </p:nvSpPr>
          <p:spPr>
            <a:xfrm>
              <a:off x="725395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9" name="Полилиния 228">
              <a:extLst>
                <a:ext uri="{FF2B5EF4-FFF2-40B4-BE49-F238E27FC236}">
                  <a16:creationId xmlns:a16="http://schemas.microsoft.com/office/drawing/2014/main" id="{2EBBC00F-0C15-B376-B4CD-74126CB983DA}"/>
                </a:ext>
              </a:extLst>
            </p:cNvPr>
            <p:cNvSpPr/>
            <p:nvPr/>
          </p:nvSpPr>
          <p:spPr>
            <a:xfrm>
              <a:off x="734323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0" name="Полилиния 229">
              <a:extLst>
                <a:ext uri="{FF2B5EF4-FFF2-40B4-BE49-F238E27FC236}">
                  <a16:creationId xmlns:a16="http://schemas.microsoft.com/office/drawing/2014/main" id="{6AE8D584-DB17-7338-9A3E-F9887332999A}"/>
                </a:ext>
              </a:extLst>
            </p:cNvPr>
            <p:cNvSpPr/>
            <p:nvPr/>
          </p:nvSpPr>
          <p:spPr>
            <a:xfrm>
              <a:off x="747715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1" name="Полилиния 230">
              <a:extLst>
                <a:ext uri="{FF2B5EF4-FFF2-40B4-BE49-F238E27FC236}">
                  <a16:creationId xmlns:a16="http://schemas.microsoft.com/office/drawing/2014/main" id="{9DE64A35-9E19-8E73-0912-CB8902CC778F}"/>
                </a:ext>
              </a:extLst>
            </p:cNvPr>
            <p:cNvSpPr/>
            <p:nvPr/>
          </p:nvSpPr>
          <p:spPr>
            <a:xfrm>
              <a:off x="7566524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2" name="Полилиния 231">
              <a:extLst>
                <a:ext uri="{FF2B5EF4-FFF2-40B4-BE49-F238E27FC236}">
                  <a16:creationId xmlns:a16="http://schemas.microsoft.com/office/drawing/2014/main" id="{537C2437-9424-8F4B-9E04-D6F93B67B757}"/>
                </a:ext>
              </a:extLst>
            </p:cNvPr>
            <p:cNvSpPr/>
            <p:nvPr/>
          </p:nvSpPr>
          <p:spPr>
            <a:xfrm>
              <a:off x="778972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3" name="Полилиния 232">
              <a:extLst>
                <a:ext uri="{FF2B5EF4-FFF2-40B4-BE49-F238E27FC236}">
                  <a16:creationId xmlns:a16="http://schemas.microsoft.com/office/drawing/2014/main" id="{104151B3-606E-EB61-EB87-7007923E1F56}"/>
                </a:ext>
              </a:extLst>
            </p:cNvPr>
            <p:cNvSpPr/>
            <p:nvPr/>
          </p:nvSpPr>
          <p:spPr>
            <a:xfrm>
              <a:off x="787899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4" name="Полилиния 233">
              <a:extLst>
                <a:ext uri="{FF2B5EF4-FFF2-40B4-BE49-F238E27FC236}">
                  <a16:creationId xmlns:a16="http://schemas.microsoft.com/office/drawing/2014/main" id="{E7ACC6BE-304E-15F9-D47A-9F53906C2829}"/>
                </a:ext>
              </a:extLst>
            </p:cNvPr>
            <p:cNvSpPr/>
            <p:nvPr/>
          </p:nvSpPr>
          <p:spPr>
            <a:xfrm>
              <a:off x="645035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5" name="Полилиния 234">
              <a:extLst>
                <a:ext uri="{FF2B5EF4-FFF2-40B4-BE49-F238E27FC236}">
                  <a16:creationId xmlns:a16="http://schemas.microsoft.com/office/drawing/2014/main" id="{AC6390AD-2178-ED39-173A-45845F7812BF}"/>
                </a:ext>
              </a:extLst>
            </p:cNvPr>
            <p:cNvSpPr/>
            <p:nvPr/>
          </p:nvSpPr>
          <p:spPr>
            <a:xfrm>
              <a:off x="649499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6" name="Полилиния 235">
              <a:extLst>
                <a:ext uri="{FF2B5EF4-FFF2-40B4-BE49-F238E27FC236}">
                  <a16:creationId xmlns:a16="http://schemas.microsoft.com/office/drawing/2014/main" id="{F95F8BE8-F25D-8FB9-3602-4882820B17D8}"/>
                </a:ext>
              </a:extLst>
            </p:cNvPr>
            <p:cNvSpPr/>
            <p:nvPr/>
          </p:nvSpPr>
          <p:spPr>
            <a:xfrm>
              <a:off x="653963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7" name="Полилиния 236">
              <a:extLst>
                <a:ext uri="{FF2B5EF4-FFF2-40B4-BE49-F238E27FC236}">
                  <a16:creationId xmlns:a16="http://schemas.microsoft.com/office/drawing/2014/main" id="{B756CF05-39D0-05C8-1D36-101F04C3E666}"/>
                </a:ext>
              </a:extLst>
            </p:cNvPr>
            <p:cNvSpPr/>
            <p:nvPr/>
          </p:nvSpPr>
          <p:spPr>
            <a:xfrm>
              <a:off x="658427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8" name="Полилиния 237">
              <a:extLst>
                <a:ext uri="{FF2B5EF4-FFF2-40B4-BE49-F238E27FC236}">
                  <a16:creationId xmlns:a16="http://schemas.microsoft.com/office/drawing/2014/main" id="{3B1B314B-E48F-6415-8273-E01F1BC4F9E7}"/>
                </a:ext>
              </a:extLst>
            </p:cNvPr>
            <p:cNvSpPr/>
            <p:nvPr/>
          </p:nvSpPr>
          <p:spPr>
            <a:xfrm>
              <a:off x="662891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9" name="Полилиния 238">
              <a:extLst>
                <a:ext uri="{FF2B5EF4-FFF2-40B4-BE49-F238E27FC236}">
                  <a16:creationId xmlns:a16="http://schemas.microsoft.com/office/drawing/2014/main" id="{ADE858D7-AB68-4E47-71A4-6B3EC4A1315F}"/>
                </a:ext>
              </a:extLst>
            </p:cNvPr>
            <p:cNvSpPr/>
            <p:nvPr/>
          </p:nvSpPr>
          <p:spPr>
            <a:xfrm>
              <a:off x="676282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0" name="Полилиния 239">
              <a:extLst>
                <a:ext uri="{FF2B5EF4-FFF2-40B4-BE49-F238E27FC236}">
                  <a16:creationId xmlns:a16="http://schemas.microsoft.com/office/drawing/2014/main" id="{2C6F10E5-6907-D466-6C97-C83C200949B4}"/>
                </a:ext>
              </a:extLst>
            </p:cNvPr>
            <p:cNvSpPr/>
            <p:nvPr/>
          </p:nvSpPr>
          <p:spPr>
            <a:xfrm>
              <a:off x="680746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1" name="Полилиния 240">
              <a:extLst>
                <a:ext uri="{FF2B5EF4-FFF2-40B4-BE49-F238E27FC236}">
                  <a16:creationId xmlns:a16="http://schemas.microsoft.com/office/drawing/2014/main" id="{CC2C53B7-95D4-F851-410E-7F702FBECEAB}"/>
                </a:ext>
              </a:extLst>
            </p:cNvPr>
            <p:cNvSpPr/>
            <p:nvPr/>
          </p:nvSpPr>
          <p:spPr>
            <a:xfrm>
              <a:off x="689684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2" name="Полилиния 241">
              <a:extLst>
                <a:ext uri="{FF2B5EF4-FFF2-40B4-BE49-F238E27FC236}">
                  <a16:creationId xmlns:a16="http://schemas.microsoft.com/office/drawing/2014/main" id="{AABA3CE8-B0A8-7488-2F1F-AF4B66C5DE6B}"/>
                </a:ext>
              </a:extLst>
            </p:cNvPr>
            <p:cNvSpPr/>
            <p:nvPr/>
          </p:nvSpPr>
          <p:spPr>
            <a:xfrm>
              <a:off x="703075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3" name="Полилиния 242">
              <a:extLst>
                <a:ext uri="{FF2B5EF4-FFF2-40B4-BE49-F238E27FC236}">
                  <a16:creationId xmlns:a16="http://schemas.microsoft.com/office/drawing/2014/main" id="{FD46958A-5172-FEAA-1B4D-C2CA64E4F8A2}"/>
                </a:ext>
              </a:extLst>
            </p:cNvPr>
            <p:cNvSpPr/>
            <p:nvPr/>
          </p:nvSpPr>
          <p:spPr>
            <a:xfrm>
              <a:off x="712003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4" name="Полилиния 243">
              <a:extLst>
                <a:ext uri="{FF2B5EF4-FFF2-40B4-BE49-F238E27FC236}">
                  <a16:creationId xmlns:a16="http://schemas.microsoft.com/office/drawing/2014/main" id="{4BBA19C9-F20B-D134-37C4-FCDDFECBD706}"/>
                </a:ext>
              </a:extLst>
            </p:cNvPr>
            <p:cNvSpPr/>
            <p:nvPr/>
          </p:nvSpPr>
          <p:spPr>
            <a:xfrm>
              <a:off x="720931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5" name="Полилиния 244">
              <a:extLst>
                <a:ext uri="{FF2B5EF4-FFF2-40B4-BE49-F238E27FC236}">
                  <a16:creationId xmlns:a16="http://schemas.microsoft.com/office/drawing/2014/main" id="{05B72AC1-8F03-000F-3E5C-8A2E43F73E9E}"/>
                </a:ext>
              </a:extLst>
            </p:cNvPr>
            <p:cNvSpPr/>
            <p:nvPr/>
          </p:nvSpPr>
          <p:spPr>
            <a:xfrm>
              <a:off x="725395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6" name="Полилиния 245">
              <a:extLst>
                <a:ext uri="{FF2B5EF4-FFF2-40B4-BE49-F238E27FC236}">
                  <a16:creationId xmlns:a16="http://schemas.microsoft.com/office/drawing/2014/main" id="{0500F979-8B20-9A42-1BAC-3A754A20A31B}"/>
                </a:ext>
              </a:extLst>
            </p:cNvPr>
            <p:cNvSpPr/>
            <p:nvPr/>
          </p:nvSpPr>
          <p:spPr>
            <a:xfrm>
              <a:off x="729859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7" name="Полилиния 246">
              <a:extLst>
                <a:ext uri="{FF2B5EF4-FFF2-40B4-BE49-F238E27FC236}">
                  <a16:creationId xmlns:a16="http://schemas.microsoft.com/office/drawing/2014/main" id="{B1DAFB58-A51F-DD05-1F51-46600EB34A57}"/>
                </a:ext>
              </a:extLst>
            </p:cNvPr>
            <p:cNvSpPr/>
            <p:nvPr/>
          </p:nvSpPr>
          <p:spPr>
            <a:xfrm>
              <a:off x="7432512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8" name="Полилиния 247">
              <a:extLst>
                <a:ext uri="{FF2B5EF4-FFF2-40B4-BE49-F238E27FC236}">
                  <a16:creationId xmlns:a16="http://schemas.microsoft.com/office/drawing/2014/main" id="{59273736-9760-79BD-11D8-6CBE219829DE}"/>
                </a:ext>
              </a:extLst>
            </p:cNvPr>
            <p:cNvSpPr/>
            <p:nvPr/>
          </p:nvSpPr>
          <p:spPr>
            <a:xfrm>
              <a:off x="747715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9732A1E7-E311-E12A-EB87-4EC3DCF60DC3}"/>
                </a:ext>
              </a:extLst>
            </p:cNvPr>
            <p:cNvSpPr/>
            <p:nvPr/>
          </p:nvSpPr>
          <p:spPr>
            <a:xfrm>
              <a:off x="756652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0" name="Полилиния 249">
              <a:extLst>
                <a:ext uri="{FF2B5EF4-FFF2-40B4-BE49-F238E27FC236}">
                  <a16:creationId xmlns:a16="http://schemas.microsoft.com/office/drawing/2014/main" id="{6B8B44D5-057B-F514-FA63-915572785A7B}"/>
                </a:ext>
              </a:extLst>
            </p:cNvPr>
            <p:cNvSpPr/>
            <p:nvPr/>
          </p:nvSpPr>
          <p:spPr>
            <a:xfrm>
              <a:off x="774508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1" name="Полилиния 250">
              <a:extLst>
                <a:ext uri="{FF2B5EF4-FFF2-40B4-BE49-F238E27FC236}">
                  <a16:creationId xmlns:a16="http://schemas.microsoft.com/office/drawing/2014/main" id="{EF46FAA5-BDFE-9459-C1D9-C43E96BC4C2E}"/>
                </a:ext>
              </a:extLst>
            </p:cNvPr>
            <p:cNvSpPr/>
            <p:nvPr/>
          </p:nvSpPr>
          <p:spPr>
            <a:xfrm>
              <a:off x="783436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2" name="Полилиния 251">
              <a:extLst>
                <a:ext uri="{FF2B5EF4-FFF2-40B4-BE49-F238E27FC236}">
                  <a16:creationId xmlns:a16="http://schemas.microsoft.com/office/drawing/2014/main" id="{7FD4A76F-6B11-91AA-216B-D60C1F084BE4}"/>
                </a:ext>
              </a:extLst>
            </p:cNvPr>
            <p:cNvSpPr/>
            <p:nvPr/>
          </p:nvSpPr>
          <p:spPr>
            <a:xfrm>
              <a:off x="653963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3" name="Полилиния 252">
              <a:extLst>
                <a:ext uri="{FF2B5EF4-FFF2-40B4-BE49-F238E27FC236}">
                  <a16:creationId xmlns:a16="http://schemas.microsoft.com/office/drawing/2014/main" id="{AF50FBF3-F5D6-AEA2-2752-E9E19BF93704}"/>
                </a:ext>
              </a:extLst>
            </p:cNvPr>
            <p:cNvSpPr/>
            <p:nvPr/>
          </p:nvSpPr>
          <p:spPr>
            <a:xfrm>
              <a:off x="6628910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4E7C4459-33DD-D2B3-DA7B-738EEEFA9D3A}"/>
                </a:ext>
              </a:extLst>
            </p:cNvPr>
            <p:cNvSpPr/>
            <p:nvPr/>
          </p:nvSpPr>
          <p:spPr>
            <a:xfrm>
              <a:off x="667354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5" name="Полилиния 254">
              <a:extLst>
                <a:ext uri="{FF2B5EF4-FFF2-40B4-BE49-F238E27FC236}">
                  <a16:creationId xmlns:a16="http://schemas.microsoft.com/office/drawing/2014/main" id="{059FCA12-EDEF-87F3-5BEC-5C22165C5C19}"/>
                </a:ext>
              </a:extLst>
            </p:cNvPr>
            <p:cNvSpPr/>
            <p:nvPr/>
          </p:nvSpPr>
          <p:spPr>
            <a:xfrm>
              <a:off x="671818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6" name="Полилиния 255">
              <a:extLst>
                <a:ext uri="{FF2B5EF4-FFF2-40B4-BE49-F238E27FC236}">
                  <a16:creationId xmlns:a16="http://schemas.microsoft.com/office/drawing/2014/main" id="{183983F3-014D-7AB7-41F7-6D02053AFABD}"/>
                </a:ext>
              </a:extLst>
            </p:cNvPr>
            <p:cNvSpPr/>
            <p:nvPr/>
          </p:nvSpPr>
          <p:spPr>
            <a:xfrm>
              <a:off x="6852106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7" name="Полилиния 256">
              <a:extLst>
                <a:ext uri="{FF2B5EF4-FFF2-40B4-BE49-F238E27FC236}">
                  <a16:creationId xmlns:a16="http://schemas.microsoft.com/office/drawing/2014/main" id="{35FC6A1E-7A44-DBE6-1D09-119454D1689E}"/>
                </a:ext>
              </a:extLst>
            </p:cNvPr>
            <p:cNvSpPr/>
            <p:nvPr/>
          </p:nvSpPr>
          <p:spPr>
            <a:xfrm>
              <a:off x="7253955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8" name="Полилиния 257">
              <a:extLst>
                <a:ext uri="{FF2B5EF4-FFF2-40B4-BE49-F238E27FC236}">
                  <a16:creationId xmlns:a16="http://schemas.microsoft.com/office/drawing/2014/main" id="{524126F1-325C-03D4-C1E7-15E695D3FD50}"/>
                </a:ext>
              </a:extLst>
            </p:cNvPr>
            <p:cNvSpPr/>
            <p:nvPr/>
          </p:nvSpPr>
          <p:spPr>
            <a:xfrm>
              <a:off x="7432512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7F41BAD4-779E-CC6F-1DD1-B5A7D32E03E2}"/>
                </a:ext>
              </a:extLst>
            </p:cNvPr>
            <p:cNvSpPr/>
            <p:nvPr/>
          </p:nvSpPr>
          <p:spPr>
            <a:xfrm>
              <a:off x="747715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0" name="Полилиния 259">
              <a:extLst>
                <a:ext uri="{FF2B5EF4-FFF2-40B4-BE49-F238E27FC236}">
                  <a16:creationId xmlns:a16="http://schemas.microsoft.com/office/drawing/2014/main" id="{60039CEB-D415-48F4-4D07-40617F9E4421}"/>
                </a:ext>
              </a:extLst>
            </p:cNvPr>
            <p:cNvSpPr/>
            <p:nvPr/>
          </p:nvSpPr>
          <p:spPr>
            <a:xfrm>
              <a:off x="7611164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" name="Полилиния 260">
              <a:extLst>
                <a:ext uri="{FF2B5EF4-FFF2-40B4-BE49-F238E27FC236}">
                  <a16:creationId xmlns:a16="http://schemas.microsoft.com/office/drawing/2014/main" id="{AC065DEE-F192-D388-0A75-C476B546E838}"/>
                </a:ext>
              </a:extLst>
            </p:cNvPr>
            <p:cNvSpPr/>
            <p:nvPr/>
          </p:nvSpPr>
          <p:spPr>
            <a:xfrm>
              <a:off x="649499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" name="Полилиния 261">
              <a:extLst>
                <a:ext uri="{FF2B5EF4-FFF2-40B4-BE49-F238E27FC236}">
                  <a16:creationId xmlns:a16="http://schemas.microsoft.com/office/drawing/2014/main" id="{90DC3D24-7D2A-8823-5C27-FD29AD5F7CB8}"/>
                </a:ext>
              </a:extLst>
            </p:cNvPr>
            <p:cNvSpPr/>
            <p:nvPr/>
          </p:nvSpPr>
          <p:spPr>
            <a:xfrm>
              <a:off x="6628910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" name="Полилиния 262">
              <a:extLst>
                <a:ext uri="{FF2B5EF4-FFF2-40B4-BE49-F238E27FC236}">
                  <a16:creationId xmlns:a16="http://schemas.microsoft.com/office/drawing/2014/main" id="{E838DC94-DAB5-5842-0E5B-78E3C2BD8003}"/>
                </a:ext>
              </a:extLst>
            </p:cNvPr>
            <p:cNvSpPr/>
            <p:nvPr/>
          </p:nvSpPr>
          <p:spPr>
            <a:xfrm>
              <a:off x="667354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" name="Полилиния 263">
              <a:extLst>
                <a:ext uri="{FF2B5EF4-FFF2-40B4-BE49-F238E27FC236}">
                  <a16:creationId xmlns:a16="http://schemas.microsoft.com/office/drawing/2014/main" id="{32E90591-8E35-C875-70BF-2E3F9EF5B07D}"/>
                </a:ext>
              </a:extLst>
            </p:cNvPr>
            <p:cNvSpPr/>
            <p:nvPr/>
          </p:nvSpPr>
          <p:spPr>
            <a:xfrm>
              <a:off x="685210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" name="Полилиния 264">
              <a:extLst>
                <a:ext uri="{FF2B5EF4-FFF2-40B4-BE49-F238E27FC236}">
                  <a16:creationId xmlns:a16="http://schemas.microsoft.com/office/drawing/2014/main" id="{8DB18D4E-8564-E1C5-DD45-8475306F6598}"/>
                </a:ext>
              </a:extLst>
            </p:cNvPr>
            <p:cNvSpPr/>
            <p:nvPr/>
          </p:nvSpPr>
          <p:spPr>
            <a:xfrm>
              <a:off x="689684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" name="Полилиния 265">
              <a:extLst>
                <a:ext uri="{FF2B5EF4-FFF2-40B4-BE49-F238E27FC236}">
                  <a16:creationId xmlns:a16="http://schemas.microsoft.com/office/drawing/2014/main" id="{51C197F2-EBE9-F6CB-64F8-9D67A411A151}"/>
                </a:ext>
              </a:extLst>
            </p:cNvPr>
            <p:cNvSpPr/>
            <p:nvPr/>
          </p:nvSpPr>
          <p:spPr>
            <a:xfrm>
              <a:off x="7075398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" name="Полилиния 266">
              <a:extLst>
                <a:ext uri="{FF2B5EF4-FFF2-40B4-BE49-F238E27FC236}">
                  <a16:creationId xmlns:a16="http://schemas.microsoft.com/office/drawing/2014/main" id="{53458AC1-9D90-E5D2-1793-1367D89FB8E7}"/>
                </a:ext>
              </a:extLst>
            </p:cNvPr>
            <p:cNvSpPr/>
            <p:nvPr/>
          </p:nvSpPr>
          <p:spPr>
            <a:xfrm>
              <a:off x="716467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" name="Полилиния 267">
              <a:extLst>
                <a:ext uri="{FF2B5EF4-FFF2-40B4-BE49-F238E27FC236}">
                  <a16:creationId xmlns:a16="http://schemas.microsoft.com/office/drawing/2014/main" id="{5A361043-605C-B74D-C8AE-FB873770DE41}"/>
                </a:ext>
              </a:extLst>
            </p:cNvPr>
            <p:cNvSpPr/>
            <p:nvPr/>
          </p:nvSpPr>
          <p:spPr>
            <a:xfrm>
              <a:off x="7209315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" name="Полилиния 268">
              <a:extLst>
                <a:ext uri="{FF2B5EF4-FFF2-40B4-BE49-F238E27FC236}">
                  <a16:creationId xmlns:a16="http://schemas.microsoft.com/office/drawing/2014/main" id="{7EECA926-E9C3-672F-D4F0-CB459F154CC0}"/>
                </a:ext>
              </a:extLst>
            </p:cNvPr>
            <p:cNvSpPr/>
            <p:nvPr/>
          </p:nvSpPr>
          <p:spPr>
            <a:xfrm>
              <a:off x="734323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" name="Полилиния 269">
              <a:extLst>
                <a:ext uri="{FF2B5EF4-FFF2-40B4-BE49-F238E27FC236}">
                  <a16:creationId xmlns:a16="http://schemas.microsoft.com/office/drawing/2014/main" id="{49E80F46-D50B-C3FF-EEDE-8B75CC37DE0E}"/>
                </a:ext>
              </a:extLst>
            </p:cNvPr>
            <p:cNvSpPr/>
            <p:nvPr/>
          </p:nvSpPr>
          <p:spPr>
            <a:xfrm>
              <a:off x="747715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" name="Полилиния 270">
              <a:extLst>
                <a:ext uri="{FF2B5EF4-FFF2-40B4-BE49-F238E27FC236}">
                  <a16:creationId xmlns:a16="http://schemas.microsoft.com/office/drawing/2014/main" id="{AE115DB8-056E-2D5C-76CE-5B3501CBB7A4}"/>
                </a:ext>
              </a:extLst>
            </p:cNvPr>
            <p:cNvSpPr/>
            <p:nvPr/>
          </p:nvSpPr>
          <p:spPr>
            <a:xfrm>
              <a:off x="7566524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" name="Полилиния 271">
              <a:extLst>
                <a:ext uri="{FF2B5EF4-FFF2-40B4-BE49-F238E27FC236}">
                  <a16:creationId xmlns:a16="http://schemas.microsoft.com/office/drawing/2014/main" id="{79E1BD6B-3691-990A-D8E4-43DF7B27ADB4}"/>
                </a:ext>
              </a:extLst>
            </p:cNvPr>
            <p:cNvSpPr/>
            <p:nvPr/>
          </p:nvSpPr>
          <p:spPr>
            <a:xfrm>
              <a:off x="765580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" name="Полилиния 273">
              <a:extLst>
                <a:ext uri="{FF2B5EF4-FFF2-40B4-BE49-F238E27FC236}">
                  <a16:creationId xmlns:a16="http://schemas.microsoft.com/office/drawing/2014/main" id="{85135A52-11C1-9032-AB41-49F1EFAD6FBE}"/>
                </a:ext>
              </a:extLst>
            </p:cNvPr>
            <p:cNvSpPr/>
            <p:nvPr/>
          </p:nvSpPr>
          <p:spPr>
            <a:xfrm>
              <a:off x="778972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" name="Полилиния 274">
              <a:extLst>
                <a:ext uri="{FF2B5EF4-FFF2-40B4-BE49-F238E27FC236}">
                  <a16:creationId xmlns:a16="http://schemas.microsoft.com/office/drawing/2014/main" id="{73BB7657-5F35-E3CC-3F90-1A53544B2211}"/>
                </a:ext>
              </a:extLst>
            </p:cNvPr>
            <p:cNvSpPr/>
            <p:nvPr/>
          </p:nvSpPr>
          <p:spPr>
            <a:xfrm>
              <a:off x="787899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" name="Полилиния 275">
              <a:extLst>
                <a:ext uri="{FF2B5EF4-FFF2-40B4-BE49-F238E27FC236}">
                  <a16:creationId xmlns:a16="http://schemas.microsoft.com/office/drawing/2014/main" id="{81C60136-6303-2E3B-1957-411F250B6BCB}"/>
                </a:ext>
              </a:extLst>
            </p:cNvPr>
            <p:cNvSpPr/>
            <p:nvPr/>
          </p:nvSpPr>
          <p:spPr>
            <a:xfrm>
              <a:off x="645035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" name="Полилиния 295">
              <a:extLst>
                <a:ext uri="{FF2B5EF4-FFF2-40B4-BE49-F238E27FC236}">
                  <a16:creationId xmlns:a16="http://schemas.microsoft.com/office/drawing/2014/main" id="{6E40ECCF-545A-6F8C-B6EE-5B16F682C98A}"/>
                </a:ext>
              </a:extLst>
            </p:cNvPr>
            <p:cNvSpPr/>
            <p:nvPr/>
          </p:nvSpPr>
          <p:spPr>
            <a:xfrm>
              <a:off x="653963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" name="Полилиния 296">
              <a:extLst>
                <a:ext uri="{FF2B5EF4-FFF2-40B4-BE49-F238E27FC236}">
                  <a16:creationId xmlns:a16="http://schemas.microsoft.com/office/drawing/2014/main" id="{2FE0B9DA-B7E1-B6D8-BA81-89420AC64F41}"/>
                </a:ext>
              </a:extLst>
            </p:cNvPr>
            <p:cNvSpPr/>
            <p:nvPr/>
          </p:nvSpPr>
          <p:spPr>
            <a:xfrm>
              <a:off x="658427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" name="Полилиния 297">
              <a:extLst>
                <a:ext uri="{FF2B5EF4-FFF2-40B4-BE49-F238E27FC236}">
                  <a16:creationId xmlns:a16="http://schemas.microsoft.com/office/drawing/2014/main" id="{5EAAFC26-E1C9-A55E-800A-69E941B5DD17}"/>
                </a:ext>
              </a:extLst>
            </p:cNvPr>
            <p:cNvSpPr/>
            <p:nvPr/>
          </p:nvSpPr>
          <p:spPr>
            <a:xfrm>
              <a:off x="662891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" name="Полилиния 298">
              <a:extLst>
                <a:ext uri="{FF2B5EF4-FFF2-40B4-BE49-F238E27FC236}">
                  <a16:creationId xmlns:a16="http://schemas.microsoft.com/office/drawing/2014/main" id="{E6FBDAD6-F532-A406-D2D4-370D1EEEA63C}"/>
                </a:ext>
              </a:extLst>
            </p:cNvPr>
            <p:cNvSpPr/>
            <p:nvPr/>
          </p:nvSpPr>
          <p:spPr>
            <a:xfrm>
              <a:off x="667354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" name="Полилиния 299">
              <a:extLst>
                <a:ext uri="{FF2B5EF4-FFF2-40B4-BE49-F238E27FC236}">
                  <a16:creationId xmlns:a16="http://schemas.microsoft.com/office/drawing/2014/main" id="{C0A5DBDB-8510-4AC1-B8FB-D18EF5BDFCE3}"/>
                </a:ext>
              </a:extLst>
            </p:cNvPr>
            <p:cNvSpPr/>
            <p:nvPr/>
          </p:nvSpPr>
          <p:spPr>
            <a:xfrm>
              <a:off x="671818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" name="Полилиния 300">
              <a:extLst>
                <a:ext uri="{FF2B5EF4-FFF2-40B4-BE49-F238E27FC236}">
                  <a16:creationId xmlns:a16="http://schemas.microsoft.com/office/drawing/2014/main" id="{84D4ECA7-2A6F-4754-FC8C-6A19F5DA7D8A}"/>
                </a:ext>
              </a:extLst>
            </p:cNvPr>
            <p:cNvSpPr/>
            <p:nvPr/>
          </p:nvSpPr>
          <p:spPr>
            <a:xfrm>
              <a:off x="6762828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" name="Полилиния 301">
              <a:extLst>
                <a:ext uri="{FF2B5EF4-FFF2-40B4-BE49-F238E27FC236}">
                  <a16:creationId xmlns:a16="http://schemas.microsoft.com/office/drawing/2014/main" id="{45B9FFBA-5F8A-9238-D438-3608178154DC}"/>
                </a:ext>
              </a:extLst>
            </p:cNvPr>
            <p:cNvSpPr/>
            <p:nvPr/>
          </p:nvSpPr>
          <p:spPr>
            <a:xfrm>
              <a:off x="680746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" name="Полилиния 302">
              <a:extLst>
                <a:ext uri="{FF2B5EF4-FFF2-40B4-BE49-F238E27FC236}">
                  <a16:creationId xmlns:a16="http://schemas.microsoft.com/office/drawing/2014/main" id="{5F35FE0A-6CCD-BD53-F291-6D75D3534A95}"/>
                </a:ext>
              </a:extLst>
            </p:cNvPr>
            <p:cNvSpPr/>
            <p:nvPr/>
          </p:nvSpPr>
          <p:spPr>
            <a:xfrm>
              <a:off x="6852106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" name="Полилиния 303">
              <a:extLst>
                <a:ext uri="{FF2B5EF4-FFF2-40B4-BE49-F238E27FC236}">
                  <a16:creationId xmlns:a16="http://schemas.microsoft.com/office/drawing/2014/main" id="{A388393E-E985-1853-0D1D-6CE8481CCFDE}"/>
                </a:ext>
              </a:extLst>
            </p:cNvPr>
            <p:cNvSpPr/>
            <p:nvPr/>
          </p:nvSpPr>
          <p:spPr>
            <a:xfrm>
              <a:off x="689684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" name="Полилиния 304">
              <a:extLst>
                <a:ext uri="{FF2B5EF4-FFF2-40B4-BE49-F238E27FC236}">
                  <a16:creationId xmlns:a16="http://schemas.microsoft.com/office/drawing/2014/main" id="{CFD71F9A-1995-86A0-54E8-1BDA41362F4C}"/>
                </a:ext>
              </a:extLst>
            </p:cNvPr>
            <p:cNvSpPr/>
            <p:nvPr/>
          </p:nvSpPr>
          <p:spPr>
            <a:xfrm>
              <a:off x="694148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" name="Полилиния 305">
              <a:extLst>
                <a:ext uri="{FF2B5EF4-FFF2-40B4-BE49-F238E27FC236}">
                  <a16:creationId xmlns:a16="http://schemas.microsoft.com/office/drawing/2014/main" id="{E7D393AF-B993-F1AB-33AD-FA256DE5936B}"/>
                </a:ext>
              </a:extLst>
            </p:cNvPr>
            <p:cNvSpPr/>
            <p:nvPr/>
          </p:nvSpPr>
          <p:spPr>
            <a:xfrm>
              <a:off x="712003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" name="Полилиния 306">
              <a:extLst>
                <a:ext uri="{FF2B5EF4-FFF2-40B4-BE49-F238E27FC236}">
                  <a16:creationId xmlns:a16="http://schemas.microsoft.com/office/drawing/2014/main" id="{69D7C069-4768-D88B-C1E5-C5F5C70B141A}"/>
                </a:ext>
              </a:extLst>
            </p:cNvPr>
            <p:cNvSpPr/>
            <p:nvPr/>
          </p:nvSpPr>
          <p:spPr>
            <a:xfrm>
              <a:off x="734323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" name="Полилиния 307">
              <a:extLst>
                <a:ext uri="{FF2B5EF4-FFF2-40B4-BE49-F238E27FC236}">
                  <a16:creationId xmlns:a16="http://schemas.microsoft.com/office/drawing/2014/main" id="{3EC1055A-22D1-AB4D-5396-725649AC965A}"/>
                </a:ext>
              </a:extLst>
            </p:cNvPr>
            <p:cNvSpPr/>
            <p:nvPr/>
          </p:nvSpPr>
          <p:spPr>
            <a:xfrm>
              <a:off x="7432512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" name="Полилиния 308">
              <a:extLst>
                <a:ext uri="{FF2B5EF4-FFF2-40B4-BE49-F238E27FC236}">
                  <a16:creationId xmlns:a16="http://schemas.microsoft.com/office/drawing/2014/main" id="{2E6BE152-02DF-4543-A164-E65F8BD5D4BE}"/>
                </a:ext>
              </a:extLst>
            </p:cNvPr>
            <p:cNvSpPr/>
            <p:nvPr/>
          </p:nvSpPr>
          <p:spPr>
            <a:xfrm>
              <a:off x="747715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" name="Полилиния 309">
              <a:extLst>
                <a:ext uri="{FF2B5EF4-FFF2-40B4-BE49-F238E27FC236}">
                  <a16:creationId xmlns:a16="http://schemas.microsoft.com/office/drawing/2014/main" id="{0163304B-D849-C2C3-85F4-D89F649F75D5}"/>
                </a:ext>
              </a:extLst>
            </p:cNvPr>
            <p:cNvSpPr/>
            <p:nvPr/>
          </p:nvSpPr>
          <p:spPr>
            <a:xfrm>
              <a:off x="774508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" name="Полилиния 310">
              <a:extLst>
                <a:ext uri="{FF2B5EF4-FFF2-40B4-BE49-F238E27FC236}">
                  <a16:creationId xmlns:a16="http://schemas.microsoft.com/office/drawing/2014/main" id="{152DFD4B-A198-29DD-9B00-DBA612EC2F1A}"/>
                </a:ext>
              </a:extLst>
            </p:cNvPr>
            <p:cNvSpPr/>
            <p:nvPr/>
          </p:nvSpPr>
          <p:spPr>
            <a:xfrm>
              <a:off x="778972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" name="Полилиния 311">
              <a:extLst>
                <a:ext uri="{FF2B5EF4-FFF2-40B4-BE49-F238E27FC236}">
                  <a16:creationId xmlns:a16="http://schemas.microsoft.com/office/drawing/2014/main" id="{AD5697D2-95DD-12EF-160F-F6E1F3D5406E}"/>
                </a:ext>
              </a:extLst>
            </p:cNvPr>
            <p:cNvSpPr/>
            <p:nvPr/>
          </p:nvSpPr>
          <p:spPr>
            <a:xfrm>
              <a:off x="787899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" name="Полилиния 312">
              <a:extLst>
                <a:ext uri="{FF2B5EF4-FFF2-40B4-BE49-F238E27FC236}">
                  <a16:creationId xmlns:a16="http://schemas.microsoft.com/office/drawing/2014/main" id="{60C2B5A1-B702-61AE-2354-902612AB9B49}"/>
                </a:ext>
              </a:extLst>
            </p:cNvPr>
            <p:cNvSpPr/>
            <p:nvPr/>
          </p:nvSpPr>
          <p:spPr>
            <a:xfrm>
              <a:off x="649499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" name="Полилиния 313">
              <a:extLst>
                <a:ext uri="{FF2B5EF4-FFF2-40B4-BE49-F238E27FC236}">
                  <a16:creationId xmlns:a16="http://schemas.microsoft.com/office/drawing/2014/main" id="{21C29BC4-81C2-0679-8AB6-087DCADE4BEB}"/>
                </a:ext>
              </a:extLst>
            </p:cNvPr>
            <p:cNvSpPr/>
            <p:nvPr/>
          </p:nvSpPr>
          <p:spPr>
            <a:xfrm>
              <a:off x="653963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" name="Полилиния 314">
              <a:extLst>
                <a:ext uri="{FF2B5EF4-FFF2-40B4-BE49-F238E27FC236}">
                  <a16:creationId xmlns:a16="http://schemas.microsoft.com/office/drawing/2014/main" id="{22991EDE-592B-892D-80DB-16694D1FB74F}"/>
                </a:ext>
              </a:extLst>
            </p:cNvPr>
            <p:cNvSpPr/>
            <p:nvPr/>
          </p:nvSpPr>
          <p:spPr>
            <a:xfrm>
              <a:off x="667354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" name="Полилиния 315">
              <a:extLst>
                <a:ext uri="{FF2B5EF4-FFF2-40B4-BE49-F238E27FC236}">
                  <a16:creationId xmlns:a16="http://schemas.microsoft.com/office/drawing/2014/main" id="{17CA6753-ECF2-1545-31E6-75112DC5F3F3}"/>
                </a:ext>
              </a:extLst>
            </p:cNvPr>
            <p:cNvSpPr/>
            <p:nvPr/>
          </p:nvSpPr>
          <p:spPr>
            <a:xfrm>
              <a:off x="676282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" name="Полилиния 316">
              <a:extLst>
                <a:ext uri="{FF2B5EF4-FFF2-40B4-BE49-F238E27FC236}">
                  <a16:creationId xmlns:a16="http://schemas.microsoft.com/office/drawing/2014/main" id="{99CC0304-2A93-3D8A-46FE-6268A5929EE7}"/>
                </a:ext>
              </a:extLst>
            </p:cNvPr>
            <p:cNvSpPr/>
            <p:nvPr/>
          </p:nvSpPr>
          <p:spPr>
            <a:xfrm>
              <a:off x="689684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" name="Полилиния 317">
              <a:extLst>
                <a:ext uri="{FF2B5EF4-FFF2-40B4-BE49-F238E27FC236}">
                  <a16:creationId xmlns:a16="http://schemas.microsoft.com/office/drawing/2014/main" id="{C9B55BE2-33A5-8ACB-3A42-F4EAA316A4FC}"/>
                </a:ext>
              </a:extLst>
            </p:cNvPr>
            <p:cNvSpPr/>
            <p:nvPr/>
          </p:nvSpPr>
          <p:spPr>
            <a:xfrm>
              <a:off x="6941480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" name="Полилиния 318">
              <a:extLst>
                <a:ext uri="{FF2B5EF4-FFF2-40B4-BE49-F238E27FC236}">
                  <a16:creationId xmlns:a16="http://schemas.microsoft.com/office/drawing/2014/main" id="{2A7DBB42-4D3E-C3C5-C873-0750BE5CDF79}"/>
                </a:ext>
              </a:extLst>
            </p:cNvPr>
            <p:cNvSpPr/>
            <p:nvPr/>
          </p:nvSpPr>
          <p:spPr>
            <a:xfrm>
              <a:off x="707539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" name="Полилиния 319">
              <a:extLst>
                <a:ext uri="{FF2B5EF4-FFF2-40B4-BE49-F238E27FC236}">
                  <a16:creationId xmlns:a16="http://schemas.microsoft.com/office/drawing/2014/main" id="{F976CED7-F5CF-5B71-6025-B17B79B7436C}"/>
                </a:ext>
              </a:extLst>
            </p:cNvPr>
            <p:cNvSpPr/>
            <p:nvPr/>
          </p:nvSpPr>
          <p:spPr>
            <a:xfrm>
              <a:off x="7120037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" name="Полилиния 320">
              <a:extLst>
                <a:ext uri="{FF2B5EF4-FFF2-40B4-BE49-F238E27FC236}">
                  <a16:creationId xmlns:a16="http://schemas.microsoft.com/office/drawing/2014/main" id="{13D6E029-BB33-3B26-3112-AC1F1DD8233E}"/>
                </a:ext>
              </a:extLst>
            </p:cNvPr>
            <p:cNvSpPr/>
            <p:nvPr/>
          </p:nvSpPr>
          <p:spPr>
            <a:xfrm>
              <a:off x="7209315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" name="Полилиния 321">
              <a:extLst>
                <a:ext uri="{FF2B5EF4-FFF2-40B4-BE49-F238E27FC236}">
                  <a16:creationId xmlns:a16="http://schemas.microsoft.com/office/drawing/2014/main" id="{FCFA5420-DF70-1189-D06A-D5451C4257E7}"/>
                </a:ext>
              </a:extLst>
            </p:cNvPr>
            <p:cNvSpPr/>
            <p:nvPr/>
          </p:nvSpPr>
          <p:spPr>
            <a:xfrm>
              <a:off x="734323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" name="Полилиния 322">
              <a:extLst>
                <a:ext uri="{FF2B5EF4-FFF2-40B4-BE49-F238E27FC236}">
                  <a16:creationId xmlns:a16="http://schemas.microsoft.com/office/drawing/2014/main" id="{047DF1E4-2A83-4CFB-8CEB-555EBA002D87}"/>
                </a:ext>
              </a:extLst>
            </p:cNvPr>
            <p:cNvSpPr/>
            <p:nvPr/>
          </p:nvSpPr>
          <p:spPr>
            <a:xfrm>
              <a:off x="747715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" name="Полилиния 323">
              <a:extLst>
                <a:ext uri="{FF2B5EF4-FFF2-40B4-BE49-F238E27FC236}">
                  <a16:creationId xmlns:a16="http://schemas.microsoft.com/office/drawing/2014/main" id="{531174F2-7A12-E986-CD67-5F59506F95B3}"/>
                </a:ext>
              </a:extLst>
            </p:cNvPr>
            <p:cNvSpPr/>
            <p:nvPr/>
          </p:nvSpPr>
          <p:spPr>
            <a:xfrm>
              <a:off x="7611164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" name="Полилиния 324">
              <a:extLst>
                <a:ext uri="{FF2B5EF4-FFF2-40B4-BE49-F238E27FC236}">
                  <a16:creationId xmlns:a16="http://schemas.microsoft.com/office/drawing/2014/main" id="{A95E30B6-7B6A-87D0-74BA-46C02616F307}"/>
                </a:ext>
              </a:extLst>
            </p:cNvPr>
            <p:cNvSpPr/>
            <p:nvPr/>
          </p:nvSpPr>
          <p:spPr>
            <a:xfrm>
              <a:off x="765580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" name="Полилиния 325">
              <a:extLst>
                <a:ext uri="{FF2B5EF4-FFF2-40B4-BE49-F238E27FC236}">
                  <a16:creationId xmlns:a16="http://schemas.microsoft.com/office/drawing/2014/main" id="{CD107D46-05A2-B366-3B34-921C34720A90}"/>
                </a:ext>
              </a:extLst>
            </p:cNvPr>
            <p:cNvSpPr/>
            <p:nvPr/>
          </p:nvSpPr>
          <p:spPr>
            <a:xfrm>
              <a:off x="774508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" name="Полилиния 326">
              <a:extLst>
                <a:ext uri="{FF2B5EF4-FFF2-40B4-BE49-F238E27FC236}">
                  <a16:creationId xmlns:a16="http://schemas.microsoft.com/office/drawing/2014/main" id="{6D8193DE-DE73-DAF5-01C2-73B9CEC34E06}"/>
                </a:ext>
              </a:extLst>
            </p:cNvPr>
            <p:cNvSpPr/>
            <p:nvPr/>
          </p:nvSpPr>
          <p:spPr>
            <a:xfrm>
              <a:off x="787899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" name="Полилиния 327">
              <a:extLst>
                <a:ext uri="{FF2B5EF4-FFF2-40B4-BE49-F238E27FC236}">
                  <a16:creationId xmlns:a16="http://schemas.microsoft.com/office/drawing/2014/main" id="{B9FB7AD4-D396-9277-9413-36336499C727}"/>
                </a:ext>
              </a:extLst>
            </p:cNvPr>
            <p:cNvSpPr/>
            <p:nvPr/>
          </p:nvSpPr>
          <p:spPr>
            <a:xfrm>
              <a:off x="645035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" name="Полилиния 328">
              <a:extLst>
                <a:ext uri="{FF2B5EF4-FFF2-40B4-BE49-F238E27FC236}">
                  <a16:creationId xmlns:a16="http://schemas.microsoft.com/office/drawing/2014/main" id="{CBCA8733-5354-C4DB-F412-7479A7E83432}"/>
                </a:ext>
              </a:extLst>
            </p:cNvPr>
            <p:cNvSpPr/>
            <p:nvPr/>
          </p:nvSpPr>
          <p:spPr>
            <a:xfrm>
              <a:off x="649499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" name="Полилиния 329">
              <a:extLst>
                <a:ext uri="{FF2B5EF4-FFF2-40B4-BE49-F238E27FC236}">
                  <a16:creationId xmlns:a16="http://schemas.microsoft.com/office/drawing/2014/main" id="{F67D543E-51F2-1FEC-5EB1-C97E43B2B74A}"/>
                </a:ext>
              </a:extLst>
            </p:cNvPr>
            <p:cNvSpPr/>
            <p:nvPr/>
          </p:nvSpPr>
          <p:spPr>
            <a:xfrm>
              <a:off x="658427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" name="Полилиния 330">
              <a:extLst>
                <a:ext uri="{FF2B5EF4-FFF2-40B4-BE49-F238E27FC236}">
                  <a16:creationId xmlns:a16="http://schemas.microsoft.com/office/drawing/2014/main" id="{98D01845-0925-1657-D5B6-F2EEC3DB2E75}"/>
                </a:ext>
              </a:extLst>
            </p:cNvPr>
            <p:cNvSpPr/>
            <p:nvPr/>
          </p:nvSpPr>
          <p:spPr>
            <a:xfrm>
              <a:off x="662891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" name="Полилиния 331">
              <a:extLst>
                <a:ext uri="{FF2B5EF4-FFF2-40B4-BE49-F238E27FC236}">
                  <a16:creationId xmlns:a16="http://schemas.microsoft.com/office/drawing/2014/main" id="{DF832845-A475-B3B0-21C4-745C1BF5E251}"/>
                </a:ext>
              </a:extLst>
            </p:cNvPr>
            <p:cNvSpPr/>
            <p:nvPr/>
          </p:nvSpPr>
          <p:spPr>
            <a:xfrm>
              <a:off x="667354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" name="Полилиния 332">
              <a:extLst>
                <a:ext uri="{FF2B5EF4-FFF2-40B4-BE49-F238E27FC236}">
                  <a16:creationId xmlns:a16="http://schemas.microsoft.com/office/drawing/2014/main" id="{5D492ADB-14B4-E2FF-9586-84B64F665DAF}"/>
                </a:ext>
              </a:extLst>
            </p:cNvPr>
            <p:cNvSpPr/>
            <p:nvPr/>
          </p:nvSpPr>
          <p:spPr>
            <a:xfrm>
              <a:off x="671818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" name="Полилиния 333">
              <a:extLst>
                <a:ext uri="{FF2B5EF4-FFF2-40B4-BE49-F238E27FC236}">
                  <a16:creationId xmlns:a16="http://schemas.microsoft.com/office/drawing/2014/main" id="{807693DE-4EED-1619-7112-78C59E94B6F3}"/>
                </a:ext>
              </a:extLst>
            </p:cNvPr>
            <p:cNvSpPr/>
            <p:nvPr/>
          </p:nvSpPr>
          <p:spPr>
            <a:xfrm>
              <a:off x="680746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" name="Полилиния 334">
              <a:extLst>
                <a:ext uri="{FF2B5EF4-FFF2-40B4-BE49-F238E27FC236}">
                  <a16:creationId xmlns:a16="http://schemas.microsoft.com/office/drawing/2014/main" id="{3034FD9F-2167-6065-A890-F63DFC2495C2}"/>
                </a:ext>
              </a:extLst>
            </p:cNvPr>
            <p:cNvSpPr/>
            <p:nvPr/>
          </p:nvSpPr>
          <p:spPr>
            <a:xfrm>
              <a:off x="689684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" name="Полилиния 335">
              <a:extLst>
                <a:ext uri="{FF2B5EF4-FFF2-40B4-BE49-F238E27FC236}">
                  <a16:creationId xmlns:a16="http://schemas.microsoft.com/office/drawing/2014/main" id="{B1A238E2-ACA8-0CF6-0508-BA65A8AF1DD8}"/>
                </a:ext>
              </a:extLst>
            </p:cNvPr>
            <p:cNvSpPr/>
            <p:nvPr/>
          </p:nvSpPr>
          <p:spPr>
            <a:xfrm>
              <a:off x="694148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" name="Полилиния 336">
              <a:extLst>
                <a:ext uri="{FF2B5EF4-FFF2-40B4-BE49-F238E27FC236}">
                  <a16:creationId xmlns:a16="http://schemas.microsoft.com/office/drawing/2014/main" id="{73384646-97A8-21BB-09D4-06E15B19C016}"/>
                </a:ext>
              </a:extLst>
            </p:cNvPr>
            <p:cNvSpPr/>
            <p:nvPr/>
          </p:nvSpPr>
          <p:spPr>
            <a:xfrm>
              <a:off x="7030758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" name="Полилиния 337">
              <a:extLst>
                <a:ext uri="{FF2B5EF4-FFF2-40B4-BE49-F238E27FC236}">
                  <a16:creationId xmlns:a16="http://schemas.microsoft.com/office/drawing/2014/main" id="{443670A1-57DD-30EE-51D2-8C324608873D}"/>
                </a:ext>
              </a:extLst>
            </p:cNvPr>
            <p:cNvSpPr/>
            <p:nvPr/>
          </p:nvSpPr>
          <p:spPr>
            <a:xfrm>
              <a:off x="712003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" name="Полилиния 338">
              <a:extLst>
                <a:ext uri="{FF2B5EF4-FFF2-40B4-BE49-F238E27FC236}">
                  <a16:creationId xmlns:a16="http://schemas.microsoft.com/office/drawing/2014/main" id="{BF05D027-10B4-A9DD-F31C-7BD77BAFA800}"/>
                </a:ext>
              </a:extLst>
            </p:cNvPr>
            <p:cNvSpPr/>
            <p:nvPr/>
          </p:nvSpPr>
          <p:spPr>
            <a:xfrm>
              <a:off x="7253955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" name="Полилиния 339">
              <a:extLst>
                <a:ext uri="{FF2B5EF4-FFF2-40B4-BE49-F238E27FC236}">
                  <a16:creationId xmlns:a16="http://schemas.microsoft.com/office/drawing/2014/main" id="{681F96B3-EC74-1A50-6FD5-95558101E376}"/>
                </a:ext>
              </a:extLst>
            </p:cNvPr>
            <p:cNvSpPr/>
            <p:nvPr/>
          </p:nvSpPr>
          <p:spPr>
            <a:xfrm>
              <a:off x="7298594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" name="Полилиния 340">
              <a:extLst>
                <a:ext uri="{FF2B5EF4-FFF2-40B4-BE49-F238E27FC236}">
                  <a16:creationId xmlns:a16="http://schemas.microsoft.com/office/drawing/2014/main" id="{4E324197-4564-6C30-B4D4-78560504C6C4}"/>
                </a:ext>
              </a:extLst>
            </p:cNvPr>
            <p:cNvSpPr/>
            <p:nvPr/>
          </p:nvSpPr>
          <p:spPr>
            <a:xfrm>
              <a:off x="734323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" name="Полилиния 341">
              <a:extLst>
                <a:ext uri="{FF2B5EF4-FFF2-40B4-BE49-F238E27FC236}">
                  <a16:creationId xmlns:a16="http://schemas.microsoft.com/office/drawing/2014/main" id="{F90F2086-7FB1-BF37-FC25-ED1F64ACE0EB}"/>
                </a:ext>
              </a:extLst>
            </p:cNvPr>
            <p:cNvSpPr/>
            <p:nvPr/>
          </p:nvSpPr>
          <p:spPr>
            <a:xfrm>
              <a:off x="747715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" name="Полилиния 342">
              <a:extLst>
                <a:ext uri="{FF2B5EF4-FFF2-40B4-BE49-F238E27FC236}">
                  <a16:creationId xmlns:a16="http://schemas.microsoft.com/office/drawing/2014/main" id="{A902C540-54A0-D19D-CE99-7DF900B61BDE}"/>
                </a:ext>
              </a:extLst>
            </p:cNvPr>
            <p:cNvSpPr/>
            <p:nvPr/>
          </p:nvSpPr>
          <p:spPr>
            <a:xfrm>
              <a:off x="765580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" name="Полилиния 343">
              <a:extLst>
                <a:ext uri="{FF2B5EF4-FFF2-40B4-BE49-F238E27FC236}">
                  <a16:creationId xmlns:a16="http://schemas.microsoft.com/office/drawing/2014/main" id="{394D5420-A563-14FA-63A6-639F7B8ED4AC}"/>
                </a:ext>
              </a:extLst>
            </p:cNvPr>
            <p:cNvSpPr/>
            <p:nvPr/>
          </p:nvSpPr>
          <p:spPr>
            <a:xfrm>
              <a:off x="649499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" name="Полилиния 344">
              <a:extLst>
                <a:ext uri="{FF2B5EF4-FFF2-40B4-BE49-F238E27FC236}">
                  <a16:creationId xmlns:a16="http://schemas.microsoft.com/office/drawing/2014/main" id="{EF7C7AEE-66AD-62AD-A4EA-91DC6B8F2154}"/>
                </a:ext>
              </a:extLst>
            </p:cNvPr>
            <p:cNvSpPr/>
            <p:nvPr/>
          </p:nvSpPr>
          <p:spPr>
            <a:xfrm>
              <a:off x="653963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" name="Полилиния 345">
              <a:extLst>
                <a:ext uri="{FF2B5EF4-FFF2-40B4-BE49-F238E27FC236}">
                  <a16:creationId xmlns:a16="http://schemas.microsoft.com/office/drawing/2014/main" id="{4E9897C5-5E83-C727-732E-A4BAC99C2449}"/>
                </a:ext>
              </a:extLst>
            </p:cNvPr>
            <p:cNvSpPr/>
            <p:nvPr/>
          </p:nvSpPr>
          <p:spPr>
            <a:xfrm>
              <a:off x="658427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" name="Полилиния 346">
              <a:extLst>
                <a:ext uri="{FF2B5EF4-FFF2-40B4-BE49-F238E27FC236}">
                  <a16:creationId xmlns:a16="http://schemas.microsoft.com/office/drawing/2014/main" id="{6587FBF1-6216-F1C9-90AD-566807CD375B}"/>
                </a:ext>
              </a:extLst>
            </p:cNvPr>
            <p:cNvSpPr/>
            <p:nvPr/>
          </p:nvSpPr>
          <p:spPr>
            <a:xfrm>
              <a:off x="667354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" name="Полилиния 347">
              <a:extLst>
                <a:ext uri="{FF2B5EF4-FFF2-40B4-BE49-F238E27FC236}">
                  <a16:creationId xmlns:a16="http://schemas.microsoft.com/office/drawing/2014/main" id="{02660714-21A6-A613-910A-57FA15EBF3A9}"/>
                </a:ext>
              </a:extLst>
            </p:cNvPr>
            <p:cNvSpPr/>
            <p:nvPr/>
          </p:nvSpPr>
          <p:spPr>
            <a:xfrm>
              <a:off x="676282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" name="Полилиния 348">
              <a:extLst>
                <a:ext uri="{FF2B5EF4-FFF2-40B4-BE49-F238E27FC236}">
                  <a16:creationId xmlns:a16="http://schemas.microsoft.com/office/drawing/2014/main" id="{2ECA0B2F-3FFB-2E56-A719-9AEF8D09C369}"/>
                </a:ext>
              </a:extLst>
            </p:cNvPr>
            <p:cNvSpPr/>
            <p:nvPr/>
          </p:nvSpPr>
          <p:spPr>
            <a:xfrm>
              <a:off x="6807467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" name="Полилиния 349">
              <a:extLst>
                <a:ext uri="{FF2B5EF4-FFF2-40B4-BE49-F238E27FC236}">
                  <a16:creationId xmlns:a16="http://schemas.microsoft.com/office/drawing/2014/main" id="{3E8FD7AE-BEBF-2CD9-7B1E-9E3E8A4D5DA3}"/>
                </a:ext>
              </a:extLst>
            </p:cNvPr>
            <p:cNvSpPr/>
            <p:nvPr/>
          </p:nvSpPr>
          <p:spPr>
            <a:xfrm>
              <a:off x="685210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" name="Полилиния 350">
              <a:extLst>
                <a:ext uri="{FF2B5EF4-FFF2-40B4-BE49-F238E27FC236}">
                  <a16:creationId xmlns:a16="http://schemas.microsoft.com/office/drawing/2014/main" id="{218E5B38-AE6D-1BB5-6C38-000EFA7535EA}"/>
                </a:ext>
              </a:extLst>
            </p:cNvPr>
            <p:cNvSpPr/>
            <p:nvPr/>
          </p:nvSpPr>
          <p:spPr>
            <a:xfrm>
              <a:off x="703075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" name="Полилиния 351">
              <a:extLst>
                <a:ext uri="{FF2B5EF4-FFF2-40B4-BE49-F238E27FC236}">
                  <a16:creationId xmlns:a16="http://schemas.microsoft.com/office/drawing/2014/main" id="{A0C4D864-0421-1C1E-577A-A08FBBF8D108}"/>
                </a:ext>
              </a:extLst>
            </p:cNvPr>
            <p:cNvSpPr/>
            <p:nvPr/>
          </p:nvSpPr>
          <p:spPr>
            <a:xfrm>
              <a:off x="707539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" name="Полилиния 352">
              <a:extLst>
                <a:ext uri="{FF2B5EF4-FFF2-40B4-BE49-F238E27FC236}">
                  <a16:creationId xmlns:a16="http://schemas.microsoft.com/office/drawing/2014/main" id="{EE443848-11C4-F80D-13D5-05448B9FEE95}"/>
                </a:ext>
              </a:extLst>
            </p:cNvPr>
            <p:cNvSpPr/>
            <p:nvPr/>
          </p:nvSpPr>
          <p:spPr>
            <a:xfrm>
              <a:off x="716467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" name="Полилиния 353">
              <a:extLst>
                <a:ext uri="{FF2B5EF4-FFF2-40B4-BE49-F238E27FC236}">
                  <a16:creationId xmlns:a16="http://schemas.microsoft.com/office/drawing/2014/main" id="{314501DA-B082-2549-7137-A1F1E9306AFE}"/>
                </a:ext>
              </a:extLst>
            </p:cNvPr>
            <p:cNvSpPr/>
            <p:nvPr/>
          </p:nvSpPr>
          <p:spPr>
            <a:xfrm>
              <a:off x="720931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" name="Полилиния 354">
              <a:extLst>
                <a:ext uri="{FF2B5EF4-FFF2-40B4-BE49-F238E27FC236}">
                  <a16:creationId xmlns:a16="http://schemas.microsoft.com/office/drawing/2014/main" id="{2012FEFE-BD26-BA99-B108-3736AE6CFF10}"/>
                </a:ext>
              </a:extLst>
            </p:cNvPr>
            <p:cNvSpPr/>
            <p:nvPr/>
          </p:nvSpPr>
          <p:spPr>
            <a:xfrm>
              <a:off x="725395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" name="Полилиния 355">
              <a:extLst>
                <a:ext uri="{FF2B5EF4-FFF2-40B4-BE49-F238E27FC236}">
                  <a16:creationId xmlns:a16="http://schemas.microsoft.com/office/drawing/2014/main" id="{CD0C4F9C-B916-7AE6-1FF5-FFE99DEB08E6}"/>
                </a:ext>
              </a:extLst>
            </p:cNvPr>
            <p:cNvSpPr/>
            <p:nvPr/>
          </p:nvSpPr>
          <p:spPr>
            <a:xfrm>
              <a:off x="765580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" name="Полилиния 356">
              <a:extLst>
                <a:ext uri="{FF2B5EF4-FFF2-40B4-BE49-F238E27FC236}">
                  <a16:creationId xmlns:a16="http://schemas.microsoft.com/office/drawing/2014/main" id="{43D048B3-9390-21FC-0A94-5F4D221CDA43}"/>
                </a:ext>
              </a:extLst>
            </p:cNvPr>
            <p:cNvSpPr/>
            <p:nvPr/>
          </p:nvSpPr>
          <p:spPr>
            <a:xfrm>
              <a:off x="774508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" name="Полилиния 357">
              <a:extLst>
                <a:ext uri="{FF2B5EF4-FFF2-40B4-BE49-F238E27FC236}">
                  <a16:creationId xmlns:a16="http://schemas.microsoft.com/office/drawing/2014/main" id="{B1C063D4-D982-5FC7-FDEC-268E79514ABE}"/>
                </a:ext>
              </a:extLst>
            </p:cNvPr>
            <p:cNvSpPr/>
            <p:nvPr/>
          </p:nvSpPr>
          <p:spPr>
            <a:xfrm>
              <a:off x="778972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" name="Полилиния 358">
              <a:extLst>
                <a:ext uri="{FF2B5EF4-FFF2-40B4-BE49-F238E27FC236}">
                  <a16:creationId xmlns:a16="http://schemas.microsoft.com/office/drawing/2014/main" id="{AEF038B3-025D-5779-611B-4E13B1A9B8CE}"/>
                </a:ext>
              </a:extLst>
            </p:cNvPr>
            <p:cNvSpPr/>
            <p:nvPr/>
          </p:nvSpPr>
          <p:spPr>
            <a:xfrm>
              <a:off x="7834360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" name="Полилиния 359">
              <a:extLst>
                <a:ext uri="{FF2B5EF4-FFF2-40B4-BE49-F238E27FC236}">
                  <a16:creationId xmlns:a16="http://schemas.microsoft.com/office/drawing/2014/main" id="{2DB6B9D0-5C2D-4D71-E3FC-F0D881A446E4}"/>
                </a:ext>
              </a:extLst>
            </p:cNvPr>
            <p:cNvSpPr/>
            <p:nvPr/>
          </p:nvSpPr>
          <p:spPr>
            <a:xfrm>
              <a:off x="787899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" name="Полилиния 360">
              <a:extLst>
                <a:ext uri="{FF2B5EF4-FFF2-40B4-BE49-F238E27FC236}">
                  <a16:creationId xmlns:a16="http://schemas.microsoft.com/office/drawing/2014/main" id="{41B367E5-4CE1-6BA6-D4F3-2FF9661E742A}"/>
                </a:ext>
              </a:extLst>
            </p:cNvPr>
            <p:cNvSpPr/>
            <p:nvPr/>
          </p:nvSpPr>
          <p:spPr>
            <a:xfrm>
              <a:off x="645035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" name="Полилиния 361">
              <a:extLst>
                <a:ext uri="{FF2B5EF4-FFF2-40B4-BE49-F238E27FC236}">
                  <a16:creationId xmlns:a16="http://schemas.microsoft.com/office/drawing/2014/main" id="{6E0B7A81-0D2B-1D37-6475-34E08304019B}"/>
                </a:ext>
              </a:extLst>
            </p:cNvPr>
            <p:cNvSpPr/>
            <p:nvPr/>
          </p:nvSpPr>
          <p:spPr>
            <a:xfrm>
              <a:off x="649499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" name="Полилиния 362">
              <a:extLst>
                <a:ext uri="{FF2B5EF4-FFF2-40B4-BE49-F238E27FC236}">
                  <a16:creationId xmlns:a16="http://schemas.microsoft.com/office/drawing/2014/main" id="{494AB906-EACA-A4C7-2861-2C93736D58F3}"/>
                </a:ext>
              </a:extLst>
            </p:cNvPr>
            <p:cNvSpPr/>
            <p:nvPr/>
          </p:nvSpPr>
          <p:spPr>
            <a:xfrm>
              <a:off x="658427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" name="Полилиния 363">
              <a:extLst>
                <a:ext uri="{FF2B5EF4-FFF2-40B4-BE49-F238E27FC236}">
                  <a16:creationId xmlns:a16="http://schemas.microsoft.com/office/drawing/2014/main" id="{E996BAD6-6E6C-AC78-6CBE-9ADC531329E1}"/>
                </a:ext>
              </a:extLst>
            </p:cNvPr>
            <p:cNvSpPr/>
            <p:nvPr/>
          </p:nvSpPr>
          <p:spPr>
            <a:xfrm>
              <a:off x="667354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" name="Полилиния 364">
              <a:extLst>
                <a:ext uri="{FF2B5EF4-FFF2-40B4-BE49-F238E27FC236}">
                  <a16:creationId xmlns:a16="http://schemas.microsoft.com/office/drawing/2014/main" id="{8047F53A-C018-BC98-D2C3-CF7404DD7654}"/>
                </a:ext>
              </a:extLst>
            </p:cNvPr>
            <p:cNvSpPr/>
            <p:nvPr/>
          </p:nvSpPr>
          <p:spPr>
            <a:xfrm>
              <a:off x="671818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" name="Полилиния 365">
              <a:extLst>
                <a:ext uri="{FF2B5EF4-FFF2-40B4-BE49-F238E27FC236}">
                  <a16:creationId xmlns:a16="http://schemas.microsoft.com/office/drawing/2014/main" id="{DDDA5FF5-845B-9934-2887-221D2E7F96CA}"/>
                </a:ext>
              </a:extLst>
            </p:cNvPr>
            <p:cNvSpPr/>
            <p:nvPr/>
          </p:nvSpPr>
          <p:spPr>
            <a:xfrm>
              <a:off x="685210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" name="Полилиния 366">
              <a:extLst>
                <a:ext uri="{FF2B5EF4-FFF2-40B4-BE49-F238E27FC236}">
                  <a16:creationId xmlns:a16="http://schemas.microsoft.com/office/drawing/2014/main" id="{D71998AF-51B1-B901-51AF-388C36D546DE}"/>
                </a:ext>
              </a:extLst>
            </p:cNvPr>
            <p:cNvSpPr/>
            <p:nvPr/>
          </p:nvSpPr>
          <p:spPr>
            <a:xfrm>
              <a:off x="689684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" name="Полилиния 367">
              <a:extLst>
                <a:ext uri="{FF2B5EF4-FFF2-40B4-BE49-F238E27FC236}">
                  <a16:creationId xmlns:a16="http://schemas.microsoft.com/office/drawing/2014/main" id="{8B02C068-9722-7C6A-DE8F-ACC6B55E2F8B}"/>
                </a:ext>
              </a:extLst>
            </p:cNvPr>
            <p:cNvSpPr/>
            <p:nvPr/>
          </p:nvSpPr>
          <p:spPr>
            <a:xfrm>
              <a:off x="716467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" name="Полилиния 368">
              <a:extLst>
                <a:ext uri="{FF2B5EF4-FFF2-40B4-BE49-F238E27FC236}">
                  <a16:creationId xmlns:a16="http://schemas.microsoft.com/office/drawing/2014/main" id="{5AEA93B7-F875-CE45-289C-0FDD7C7B7378}"/>
                </a:ext>
              </a:extLst>
            </p:cNvPr>
            <p:cNvSpPr/>
            <p:nvPr/>
          </p:nvSpPr>
          <p:spPr>
            <a:xfrm>
              <a:off x="7253955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" name="Полилиния 369">
              <a:extLst>
                <a:ext uri="{FF2B5EF4-FFF2-40B4-BE49-F238E27FC236}">
                  <a16:creationId xmlns:a16="http://schemas.microsoft.com/office/drawing/2014/main" id="{166620B7-DE1C-9DD8-D412-0E2807179B91}"/>
                </a:ext>
              </a:extLst>
            </p:cNvPr>
            <p:cNvSpPr/>
            <p:nvPr/>
          </p:nvSpPr>
          <p:spPr>
            <a:xfrm>
              <a:off x="734323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" name="Полилиния 370">
              <a:extLst>
                <a:ext uri="{FF2B5EF4-FFF2-40B4-BE49-F238E27FC236}">
                  <a16:creationId xmlns:a16="http://schemas.microsoft.com/office/drawing/2014/main" id="{D878C388-9103-E06F-81FA-B103825EE02A}"/>
                </a:ext>
              </a:extLst>
            </p:cNvPr>
            <p:cNvSpPr/>
            <p:nvPr/>
          </p:nvSpPr>
          <p:spPr>
            <a:xfrm>
              <a:off x="738787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" name="Полилиния 371">
              <a:extLst>
                <a:ext uri="{FF2B5EF4-FFF2-40B4-BE49-F238E27FC236}">
                  <a16:creationId xmlns:a16="http://schemas.microsoft.com/office/drawing/2014/main" id="{1C7DD5D7-B0EC-BDBE-BB81-03BC9E4C11E9}"/>
                </a:ext>
              </a:extLst>
            </p:cNvPr>
            <p:cNvSpPr/>
            <p:nvPr/>
          </p:nvSpPr>
          <p:spPr>
            <a:xfrm>
              <a:off x="747715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" name="Полилиния 372">
              <a:extLst>
                <a:ext uri="{FF2B5EF4-FFF2-40B4-BE49-F238E27FC236}">
                  <a16:creationId xmlns:a16="http://schemas.microsoft.com/office/drawing/2014/main" id="{36EE600D-E5AA-E647-24C5-3C4E9DC1F21E}"/>
                </a:ext>
              </a:extLst>
            </p:cNvPr>
            <p:cNvSpPr/>
            <p:nvPr/>
          </p:nvSpPr>
          <p:spPr>
            <a:xfrm>
              <a:off x="756652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" name="Полилиния 373">
              <a:extLst>
                <a:ext uri="{FF2B5EF4-FFF2-40B4-BE49-F238E27FC236}">
                  <a16:creationId xmlns:a16="http://schemas.microsoft.com/office/drawing/2014/main" id="{896E09F0-9F4B-E025-67A2-C37732EA536A}"/>
                </a:ext>
              </a:extLst>
            </p:cNvPr>
            <p:cNvSpPr/>
            <p:nvPr/>
          </p:nvSpPr>
          <p:spPr>
            <a:xfrm>
              <a:off x="761116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" name="Полилиния 374">
              <a:extLst>
                <a:ext uri="{FF2B5EF4-FFF2-40B4-BE49-F238E27FC236}">
                  <a16:creationId xmlns:a16="http://schemas.microsoft.com/office/drawing/2014/main" id="{B48046FA-20FC-BC59-7719-E8CBB83EE42E}"/>
                </a:ext>
              </a:extLst>
            </p:cNvPr>
            <p:cNvSpPr/>
            <p:nvPr/>
          </p:nvSpPr>
          <p:spPr>
            <a:xfrm>
              <a:off x="770044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" name="Полилиния 375">
              <a:extLst>
                <a:ext uri="{FF2B5EF4-FFF2-40B4-BE49-F238E27FC236}">
                  <a16:creationId xmlns:a16="http://schemas.microsoft.com/office/drawing/2014/main" id="{AA53CC91-FA1C-E222-3070-CC9F8B154BAD}"/>
                </a:ext>
              </a:extLst>
            </p:cNvPr>
            <p:cNvSpPr/>
            <p:nvPr/>
          </p:nvSpPr>
          <p:spPr>
            <a:xfrm>
              <a:off x="774508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" name="Полилиния 376">
              <a:extLst>
                <a:ext uri="{FF2B5EF4-FFF2-40B4-BE49-F238E27FC236}">
                  <a16:creationId xmlns:a16="http://schemas.microsoft.com/office/drawing/2014/main" id="{32A097AC-D2D9-7FFE-F8AC-6D057BCFC01D}"/>
                </a:ext>
              </a:extLst>
            </p:cNvPr>
            <p:cNvSpPr/>
            <p:nvPr/>
          </p:nvSpPr>
          <p:spPr>
            <a:xfrm>
              <a:off x="787899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" name="Полилиния 377">
              <a:extLst>
                <a:ext uri="{FF2B5EF4-FFF2-40B4-BE49-F238E27FC236}">
                  <a16:creationId xmlns:a16="http://schemas.microsoft.com/office/drawing/2014/main" id="{E0AED521-08F3-FEF2-CE07-DE29984916C5}"/>
                </a:ext>
              </a:extLst>
            </p:cNvPr>
            <p:cNvSpPr/>
            <p:nvPr/>
          </p:nvSpPr>
          <p:spPr>
            <a:xfrm>
              <a:off x="658427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" name="Полилиния 378">
              <a:extLst>
                <a:ext uri="{FF2B5EF4-FFF2-40B4-BE49-F238E27FC236}">
                  <a16:creationId xmlns:a16="http://schemas.microsoft.com/office/drawing/2014/main" id="{99EB6489-1222-C58A-1271-611BF657A822}"/>
                </a:ext>
              </a:extLst>
            </p:cNvPr>
            <p:cNvSpPr/>
            <p:nvPr/>
          </p:nvSpPr>
          <p:spPr>
            <a:xfrm>
              <a:off x="662891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" name="Полилиния 379">
              <a:extLst>
                <a:ext uri="{FF2B5EF4-FFF2-40B4-BE49-F238E27FC236}">
                  <a16:creationId xmlns:a16="http://schemas.microsoft.com/office/drawing/2014/main" id="{E4698306-7133-3553-2A53-0EE323123E40}"/>
                </a:ext>
              </a:extLst>
            </p:cNvPr>
            <p:cNvSpPr/>
            <p:nvPr/>
          </p:nvSpPr>
          <p:spPr>
            <a:xfrm>
              <a:off x="667354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" name="Полилиния 380">
              <a:extLst>
                <a:ext uri="{FF2B5EF4-FFF2-40B4-BE49-F238E27FC236}">
                  <a16:creationId xmlns:a16="http://schemas.microsoft.com/office/drawing/2014/main" id="{5FCC14CC-2B77-9323-1FA1-9DB6C321DD2C}"/>
                </a:ext>
              </a:extLst>
            </p:cNvPr>
            <p:cNvSpPr/>
            <p:nvPr/>
          </p:nvSpPr>
          <p:spPr>
            <a:xfrm>
              <a:off x="676282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" name="Полилиния 381">
              <a:extLst>
                <a:ext uri="{FF2B5EF4-FFF2-40B4-BE49-F238E27FC236}">
                  <a16:creationId xmlns:a16="http://schemas.microsoft.com/office/drawing/2014/main" id="{7570B6F6-E2BC-2E41-39DF-B1D70FA70237}"/>
                </a:ext>
              </a:extLst>
            </p:cNvPr>
            <p:cNvSpPr/>
            <p:nvPr/>
          </p:nvSpPr>
          <p:spPr>
            <a:xfrm>
              <a:off x="685210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" name="Полилиния 382">
              <a:extLst>
                <a:ext uri="{FF2B5EF4-FFF2-40B4-BE49-F238E27FC236}">
                  <a16:creationId xmlns:a16="http://schemas.microsoft.com/office/drawing/2014/main" id="{5901828D-70DC-B686-9803-AA3721253AFF}"/>
                </a:ext>
              </a:extLst>
            </p:cNvPr>
            <p:cNvSpPr/>
            <p:nvPr/>
          </p:nvSpPr>
          <p:spPr>
            <a:xfrm>
              <a:off x="694148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" name="Полилиния 383">
              <a:extLst>
                <a:ext uri="{FF2B5EF4-FFF2-40B4-BE49-F238E27FC236}">
                  <a16:creationId xmlns:a16="http://schemas.microsoft.com/office/drawing/2014/main" id="{D94CE48B-A278-6303-D34D-878DF1ABAF6A}"/>
                </a:ext>
              </a:extLst>
            </p:cNvPr>
            <p:cNvSpPr/>
            <p:nvPr/>
          </p:nvSpPr>
          <p:spPr>
            <a:xfrm>
              <a:off x="698611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" name="Полилиния 384">
              <a:extLst>
                <a:ext uri="{FF2B5EF4-FFF2-40B4-BE49-F238E27FC236}">
                  <a16:creationId xmlns:a16="http://schemas.microsoft.com/office/drawing/2014/main" id="{9BF8E8E3-19B2-DF1D-ABCB-AB85C2D080DB}"/>
                </a:ext>
              </a:extLst>
            </p:cNvPr>
            <p:cNvSpPr/>
            <p:nvPr/>
          </p:nvSpPr>
          <p:spPr>
            <a:xfrm>
              <a:off x="703075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" name="Полилиния 385">
              <a:extLst>
                <a:ext uri="{FF2B5EF4-FFF2-40B4-BE49-F238E27FC236}">
                  <a16:creationId xmlns:a16="http://schemas.microsoft.com/office/drawing/2014/main" id="{E1816DC2-578B-C588-E97E-4AE0AA0A797E}"/>
                </a:ext>
              </a:extLst>
            </p:cNvPr>
            <p:cNvSpPr/>
            <p:nvPr/>
          </p:nvSpPr>
          <p:spPr>
            <a:xfrm>
              <a:off x="707539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" name="Полилиния 386">
              <a:extLst>
                <a:ext uri="{FF2B5EF4-FFF2-40B4-BE49-F238E27FC236}">
                  <a16:creationId xmlns:a16="http://schemas.microsoft.com/office/drawing/2014/main" id="{E816D02B-79AE-A9C9-AFEC-7B6C4BB040D1}"/>
                </a:ext>
              </a:extLst>
            </p:cNvPr>
            <p:cNvSpPr/>
            <p:nvPr/>
          </p:nvSpPr>
          <p:spPr>
            <a:xfrm>
              <a:off x="7120037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" name="Полилиния 387">
              <a:extLst>
                <a:ext uri="{FF2B5EF4-FFF2-40B4-BE49-F238E27FC236}">
                  <a16:creationId xmlns:a16="http://schemas.microsoft.com/office/drawing/2014/main" id="{B4ACABDD-858B-152C-2B8D-9231867AB767}"/>
                </a:ext>
              </a:extLst>
            </p:cNvPr>
            <p:cNvSpPr/>
            <p:nvPr/>
          </p:nvSpPr>
          <p:spPr>
            <a:xfrm>
              <a:off x="716467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" name="Полилиния 388">
              <a:extLst>
                <a:ext uri="{FF2B5EF4-FFF2-40B4-BE49-F238E27FC236}">
                  <a16:creationId xmlns:a16="http://schemas.microsoft.com/office/drawing/2014/main" id="{AC7B1919-854F-28F3-5A93-B7F377999494}"/>
                </a:ext>
              </a:extLst>
            </p:cNvPr>
            <p:cNvSpPr/>
            <p:nvPr/>
          </p:nvSpPr>
          <p:spPr>
            <a:xfrm>
              <a:off x="7209315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" name="Полилиния 389">
              <a:extLst>
                <a:ext uri="{FF2B5EF4-FFF2-40B4-BE49-F238E27FC236}">
                  <a16:creationId xmlns:a16="http://schemas.microsoft.com/office/drawing/2014/main" id="{865D53BE-3423-936A-5853-A5116AB4FA06}"/>
                </a:ext>
              </a:extLst>
            </p:cNvPr>
            <p:cNvSpPr/>
            <p:nvPr/>
          </p:nvSpPr>
          <p:spPr>
            <a:xfrm>
              <a:off x="7298594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" name="Полилиния 390">
              <a:extLst>
                <a:ext uri="{FF2B5EF4-FFF2-40B4-BE49-F238E27FC236}">
                  <a16:creationId xmlns:a16="http://schemas.microsoft.com/office/drawing/2014/main" id="{978E287E-ED42-5532-61E9-41F166AEBE73}"/>
                </a:ext>
              </a:extLst>
            </p:cNvPr>
            <p:cNvSpPr/>
            <p:nvPr/>
          </p:nvSpPr>
          <p:spPr>
            <a:xfrm>
              <a:off x="7655803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" name="Полилиния 391">
              <a:extLst>
                <a:ext uri="{FF2B5EF4-FFF2-40B4-BE49-F238E27FC236}">
                  <a16:creationId xmlns:a16="http://schemas.microsoft.com/office/drawing/2014/main" id="{329B87C4-5F62-131F-E2DF-3B29750C68DC}"/>
                </a:ext>
              </a:extLst>
            </p:cNvPr>
            <p:cNvSpPr/>
            <p:nvPr/>
          </p:nvSpPr>
          <p:spPr>
            <a:xfrm>
              <a:off x="7700442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" name="Полилиния 392">
              <a:extLst>
                <a:ext uri="{FF2B5EF4-FFF2-40B4-BE49-F238E27FC236}">
                  <a16:creationId xmlns:a16="http://schemas.microsoft.com/office/drawing/2014/main" id="{F8F2B30F-C3C8-41D0-F89E-DDDD2E6E1515}"/>
                </a:ext>
              </a:extLst>
            </p:cNvPr>
            <p:cNvSpPr/>
            <p:nvPr/>
          </p:nvSpPr>
          <p:spPr>
            <a:xfrm>
              <a:off x="774508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" name="Полилиния 393">
              <a:extLst>
                <a:ext uri="{FF2B5EF4-FFF2-40B4-BE49-F238E27FC236}">
                  <a16:creationId xmlns:a16="http://schemas.microsoft.com/office/drawing/2014/main" id="{B1BA1014-91B3-6CAF-2250-C83ABE205740}"/>
                </a:ext>
              </a:extLst>
            </p:cNvPr>
            <p:cNvSpPr/>
            <p:nvPr/>
          </p:nvSpPr>
          <p:spPr>
            <a:xfrm>
              <a:off x="783436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" name="Полилиния 394">
              <a:extLst>
                <a:ext uri="{FF2B5EF4-FFF2-40B4-BE49-F238E27FC236}">
                  <a16:creationId xmlns:a16="http://schemas.microsoft.com/office/drawing/2014/main" id="{9F0C03A4-FD7A-8274-15F2-7D4839F658E0}"/>
                </a:ext>
              </a:extLst>
            </p:cNvPr>
            <p:cNvSpPr/>
            <p:nvPr/>
          </p:nvSpPr>
          <p:spPr>
            <a:xfrm>
              <a:off x="645035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" name="Полилиния 395">
              <a:extLst>
                <a:ext uri="{FF2B5EF4-FFF2-40B4-BE49-F238E27FC236}">
                  <a16:creationId xmlns:a16="http://schemas.microsoft.com/office/drawing/2014/main" id="{670BBCDC-2AE4-4740-DFB4-FD813B1289B7}"/>
                </a:ext>
              </a:extLst>
            </p:cNvPr>
            <p:cNvSpPr/>
            <p:nvPr/>
          </p:nvSpPr>
          <p:spPr>
            <a:xfrm>
              <a:off x="649499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" name="Полилиния 396">
              <a:extLst>
                <a:ext uri="{FF2B5EF4-FFF2-40B4-BE49-F238E27FC236}">
                  <a16:creationId xmlns:a16="http://schemas.microsoft.com/office/drawing/2014/main" id="{DA3DFCD5-FD22-7D08-E548-45D030BD57CF}"/>
                </a:ext>
              </a:extLst>
            </p:cNvPr>
            <p:cNvSpPr/>
            <p:nvPr/>
          </p:nvSpPr>
          <p:spPr>
            <a:xfrm>
              <a:off x="653963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" name="Полилиния 397">
              <a:extLst>
                <a:ext uri="{FF2B5EF4-FFF2-40B4-BE49-F238E27FC236}">
                  <a16:creationId xmlns:a16="http://schemas.microsoft.com/office/drawing/2014/main" id="{8BFDBA06-E4F1-67A7-CAF2-101FD3A8272C}"/>
                </a:ext>
              </a:extLst>
            </p:cNvPr>
            <p:cNvSpPr/>
            <p:nvPr/>
          </p:nvSpPr>
          <p:spPr>
            <a:xfrm>
              <a:off x="658427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" name="Полилиния 398">
              <a:extLst>
                <a:ext uri="{FF2B5EF4-FFF2-40B4-BE49-F238E27FC236}">
                  <a16:creationId xmlns:a16="http://schemas.microsoft.com/office/drawing/2014/main" id="{9EF1F016-659D-3A3E-2830-3936A883ECC8}"/>
                </a:ext>
              </a:extLst>
            </p:cNvPr>
            <p:cNvSpPr/>
            <p:nvPr/>
          </p:nvSpPr>
          <p:spPr>
            <a:xfrm>
              <a:off x="662891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" name="Полилиния 399">
              <a:extLst>
                <a:ext uri="{FF2B5EF4-FFF2-40B4-BE49-F238E27FC236}">
                  <a16:creationId xmlns:a16="http://schemas.microsoft.com/office/drawing/2014/main" id="{F2804DB5-445B-F2C1-9727-546BD51DD1E6}"/>
                </a:ext>
              </a:extLst>
            </p:cNvPr>
            <p:cNvSpPr/>
            <p:nvPr/>
          </p:nvSpPr>
          <p:spPr>
            <a:xfrm>
              <a:off x="671818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" name="Полилиния 400">
              <a:extLst>
                <a:ext uri="{FF2B5EF4-FFF2-40B4-BE49-F238E27FC236}">
                  <a16:creationId xmlns:a16="http://schemas.microsoft.com/office/drawing/2014/main" id="{6802C9D1-ED8D-DA60-635C-1E3AB009ECD1}"/>
                </a:ext>
              </a:extLst>
            </p:cNvPr>
            <p:cNvSpPr/>
            <p:nvPr/>
          </p:nvSpPr>
          <p:spPr>
            <a:xfrm>
              <a:off x="698611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" name="Полилиния 401">
              <a:extLst>
                <a:ext uri="{FF2B5EF4-FFF2-40B4-BE49-F238E27FC236}">
                  <a16:creationId xmlns:a16="http://schemas.microsoft.com/office/drawing/2014/main" id="{C651B77D-A241-209F-E96F-A30912741620}"/>
                </a:ext>
              </a:extLst>
            </p:cNvPr>
            <p:cNvSpPr/>
            <p:nvPr/>
          </p:nvSpPr>
          <p:spPr>
            <a:xfrm>
              <a:off x="7030758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" name="Полилиния 402">
              <a:extLst>
                <a:ext uri="{FF2B5EF4-FFF2-40B4-BE49-F238E27FC236}">
                  <a16:creationId xmlns:a16="http://schemas.microsoft.com/office/drawing/2014/main" id="{79C44ABC-582C-FF2F-B8F1-92C66754E9CB}"/>
                </a:ext>
              </a:extLst>
            </p:cNvPr>
            <p:cNvSpPr/>
            <p:nvPr/>
          </p:nvSpPr>
          <p:spPr>
            <a:xfrm>
              <a:off x="7120037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" name="Полилиния 403">
              <a:extLst>
                <a:ext uri="{FF2B5EF4-FFF2-40B4-BE49-F238E27FC236}">
                  <a16:creationId xmlns:a16="http://schemas.microsoft.com/office/drawing/2014/main" id="{260E2A8A-1420-D3B6-EB6B-23CABC1799AD}"/>
                </a:ext>
              </a:extLst>
            </p:cNvPr>
            <p:cNvSpPr/>
            <p:nvPr/>
          </p:nvSpPr>
          <p:spPr>
            <a:xfrm>
              <a:off x="725395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" name="Полилиния 404">
              <a:extLst>
                <a:ext uri="{FF2B5EF4-FFF2-40B4-BE49-F238E27FC236}">
                  <a16:creationId xmlns:a16="http://schemas.microsoft.com/office/drawing/2014/main" id="{17AADD70-3AE3-4659-2CFA-9D01A96AC036}"/>
                </a:ext>
              </a:extLst>
            </p:cNvPr>
            <p:cNvSpPr/>
            <p:nvPr/>
          </p:nvSpPr>
          <p:spPr>
            <a:xfrm>
              <a:off x="734323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" name="Полилиния 405">
              <a:extLst>
                <a:ext uri="{FF2B5EF4-FFF2-40B4-BE49-F238E27FC236}">
                  <a16:creationId xmlns:a16="http://schemas.microsoft.com/office/drawing/2014/main" id="{605FB15E-3E16-7AF4-358D-CE95542C9844}"/>
                </a:ext>
              </a:extLst>
            </p:cNvPr>
            <p:cNvSpPr/>
            <p:nvPr/>
          </p:nvSpPr>
          <p:spPr>
            <a:xfrm>
              <a:off x="747715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" name="Полилиния 406">
              <a:extLst>
                <a:ext uri="{FF2B5EF4-FFF2-40B4-BE49-F238E27FC236}">
                  <a16:creationId xmlns:a16="http://schemas.microsoft.com/office/drawing/2014/main" id="{7A4CB699-F012-AFF4-6CA3-CFC46A2F9864}"/>
                </a:ext>
              </a:extLst>
            </p:cNvPr>
            <p:cNvSpPr/>
            <p:nvPr/>
          </p:nvSpPr>
          <p:spPr>
            <a:xfrm>
              <a:off x="752188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" name="Полилиния 407">
              <a:extLst>
                <a:ext uri="{FF2B5EF4-FFF2-40B4-BE49-F238E27FC236}">
                  <a16:creationId xmlns:a16="http://schemas.microsoft.com/office/drawing/2014/main" id="{EAB6F394-27EE-7342-6AD4-5B1B3E7DFB15}"/>
                </a:ext>
              </a:extLst>
            </p:cNvPr>
            <p:cNvSpPr/>
            <p:nvPr/>
          </p:nvSpPr>
          <p:spPr>
            <a:xfrm>
              <a:off x="756652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" name="Полилиния 408">
              <a:extLst>
                <a:ext uri="{FF2B5EF4-FFF2-40B4-BE49-F238E27FC236}">
                  <a16:creationId xmlns:a16="http://schemas.microsoft.com/office/drawing/2014/main" id="{CE755D19-9C4F-E3AD-BD9F-5BC53CD13C47}"/>
                </a:ext>
              </a:extLst>
            </p:cNvPr>
            <p:cNvSpPr/>
            <p:nvPr/>
          </p:nvSpPr>
          <p:spPr>
            <a:xfrm>
              <a:off x="761116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0" name="Полилиния 409">
              <a:extLst>
                <a:ext uri="{FF2B5EF4-FFF2-40B4-BE49-F238E27FC236}">
                  <a16:creationId xmlns:a16="http://schemas.microsoft.com/office/drawing/2014/main" id="{70F20424-5448-596F-CD56-418FB74CD75A}"/>
                </a:ext>
              </a:extLst>
            </p:cNvPr>
            <p:cNvSpPr/>
            <p:nvPr/>
          </p:nvSpPr>
          <p:spPr>
            <a:xfrm>
              <a:off x="765580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1" name="Полилиния 410">
              <a:extLst>
                <a:ext uri="{FF2B5EF4-FFF2-40B4-BE49-F238E27FC236}">
                  <a16:creationId xmlns:a16="http://schemas.microsoft.com/office/drawing/2014/main" id="{64A18BAD-9CF0-C9DB-1CAD-9C4007FEC34A}"/>
                </a:ext>
              </a:extLst>
            </p:cNvPr>
            <p:cNvSpPr/>
            <p:nvPr/>
          </p:nvSpPr>
          <p:spPr>
            <a:xfrm>
              <a:off x="7700442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2" name="Полилиния 411">
              <a:extLst>
                <a:ext uri="{FF2B5EF4-FFF2-40B4-BE49-F238E27FC236}">
                  <a16:creationId xmlns:a16="http://schemas.microsoft.com/office/drawing/2014/main" id="{7EE9647A-DC12-0AD6-3C99-39A764ABB04D}"/>
                </a:ext>
              </a:extLst>
            </p:cNvPr>
            <p:cNvSpPr/>
            <p:nvPr/>
          </p:nvSpPr>
          <p:spPr>
            <a:xfrm>
              <a:off x="774508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3" name="Полилиния 412">
              <a:extLst>
                <a:ext uri="{FF2B5EF4-FFF2-40B4-BE49-F238E27FC236}">
                  <a16:creationId xmlns:a16="http://schemas.microsoft.com/office/drawing/2014/main" id="{652189F6-9F53-046A-EE95-E4471BA2450A}"/>
                </a:ext>
              </a:extLst>
            </p:cNvPr>
            <p:cNvSpPr/>
            <p:nvPr/>
          </p:nvSpPr>
          <p:spPr>
            <a:xfrm>
              <a:off x="783436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4" name="Полилиния 413">
              <a:extLst>
                <a:ext uri="{FF2B5EF4-FFF2-40B4-BE49-F238E27FC236}">
                  <a16:creationId xmlns:a16="http://schemas.microsoft.com/office/drawing/2014/main" id="{C3884808-B9CA-74B7-D7E9-B81AED931E49}"/>
                </a:ext>
              </a:extLst>
            </p:cNvPr>
            <p:cNvSpPr/>
            <p:nvPr/>
          </p:nvSpPr>
          <p:spPr>
            <a:xfrm>
              <a:off x="787899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5" name="Полилиния 414">
              <a:extLst>
                <a:ext uri="{FF2B5EF4-FFF2-40B4-BE49-F238E27FC236}">
                  <a16:creationId xmlns:a16="http://schemas.microsoft.com/office/drawing/2014/main" id="{038AA901-65D3-0763-7655-B178F29578FC}"/>
                </a:ext>
              </a:extLst>
            </p:cNvPr>
            <p:cNvSpPr/>
            <p:nvPr/>
          </p:nvSpPr>
          <p:spPr>
            <a:xfrm>
              <a:off x="6807467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6" name="Полилиния 415">
              <a:extLst>
                <a:ext uri="{FF2B5EF4-FFF2-40B4-BE49-F238E27FC236}">
                  <a16:creationId xmlns:a16="http://schemas.microsoft.com/office/drawing/2014/main" id="{B4B46649-9D5E-7A46-0916-10993369531A}"/>
                </a:ext>
              </a:extLst>
            </p:cNvPr>
            <p:cNvSpPr/>
            <p:nvPr/>
          </p:nvSpPr>
          <p:spPr>
            <a:xfrm>
              <a:off x="7164676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7" name="Полилиния 416">
              <a:extLst>
                <a:ext uri="{FF2B5EF4-FFF2-40B4-BE49-F238E27FC236}">
                  <a16:creationId xmlns:a16="http://schemas.microsoft.com/office/drawing/2014/main" id="{1859BE9E-DE29-C9E9-649B-D15E44BBDEC5}"/>
                </a:ext>
              </a:extLst>
            </p:cNvPr>
            <p:cNvSpPr/>
            <p:nvPr/>
          </p:nvSpPr>
          <p:spPr>
            <a:xfrm>
              <a:off x="720931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8" name="Полилиния 417">
              <a:extLst>
                <a:ext uri="{FF2B5EF4-FFF2-40B4-BE49-F238E27FC236}">
                  <a16:creationId xmlns:a16="http://schemas.microsoft.com/office/drawing/2014/main" id="{4BDDB241-6507-488C-8386-E962C2C168EF}"/>
                </a:ext>
              </a:extLst>
            </p:cNvPr>
            <p:cNvSpPr/>
            <p:nvPr/>
          </p:nvSpPr>
          <p:spPr>
            <a:xfrm>
              <a:off x="738787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9" name="Полилиния 418">
              <a:extLst>
                <a:ext uri="{FF2B5EF4-FFF2-40B4-BE49-F238E27FC236}">
                  <a16:creationId xmlns:a16="http://schemas.microsoft.com/office/drawing/2014/main" id="{FEF302F4-6473-D155-1E82-59934355FC52}"/>
                </a:ext>
              </a:extLst>
            </p:cNvPr>
            <p:cNvSpPr/>
            <p:nvPr/>
          </p:nvSpPr>
          <p:spPr>
            <a:xfrm>
              <a:off x="752188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0" name="Полилиния 419">
              <a:extLst>
                <a:ext uri="{FF2B5EF4-FFF2-40B4-BE49-F238E27FC236}">
                  <a16:creationId xmlns:a16="http://schemas.microsoft.com/office/drawing/2014/main" id="{E7BD7EF4-0E23-50C8-2D21-E07CD2D55E9A}"/>
                </a:ext>
              </a:extLst>
            </p:cNvPr>
            <p:cNvSpPr/>
            <p:nvPr/>
          </p:nvSpPr>
          <p:spPr>
            <a:xfrm>
              <a:off x="770044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1" name="Полилиния 420">
              <a:extLst>
                <a:ext uri="{FF2B5EF4-FFF2-40B4-BE49-F238E27FC236}">
                  <a16:creationId xmlns:a16="http://schemas.microsoft.com/office/drawing/2014/main" id="{D7AD064F-A458-0365-D15F-CC4CC180452A}"/>
                </a:ext>
              </a:extLst>
            </p:cNvPr>
            <p:cNvSpPr/>
            <p:nvPr/>
          </p:nvSpPr>
          <p:spPr>
            <a:xfrm>
              <a:off x="7745081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2" name="Полилиния 421">
              <a:extLst>
                <a:ext uri="{FF2B5EF4-FFF2-40B4-BE49-F238E27FC236}">
                  <a16:creationId xmlns:a16="http://schemas.microsoft.com/office/drawing/2014/main" id="{319893DA-BA1F-D802-E882-6316120C7A6C}"/>
                </a:ext>
              </a:extLst>
            </p:cNvPr>
            <p:cNvSpPr/>
            <p:nvPr/>
          </p:nvSpPr>
          <p:spPr>
            <a:xfrm>
              <a:off x="7834360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3" name="Полилиния 422">
              <a:extLst>
                <a:ext uri="{FF2B5EF4-FFF2-40B4-BE49-F238E27FC236}">
                  <a16:creationId xmlns:a16="http://schemas.microsoft.com/office/drawing/2014/main" id="{AE7905F5-E32C-A1DD-99DE-14ED7B8A0DE7}"/>
                </a:ext>
              </a:extLst>
            </p:cNvPr>
            <p:cNvSpPr/>
            <p:nvPr/>
          </p:nvSpPr>
          <p:spPr>
            <a:xfrm>
              <a:off x="7878999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4" name="Полилиния 423">
              <a:extLst>
                <a:ext uri="{FF2B5EF4-FFF2-40B4-BE49-F238E27FC236}">
                  <a16:creationId xmlns:a16="http://schemas.microsoft.com/office/drawing/2014/main" id="{776B6160-8DF7-87B2-D776-7AD5ACDA06A4}"/>
                </a:ext>
              </a:extLst>
            </p:cNvPr>
            <p:cNvSpPr/>
            <p:nvPr/>
          </p:nvSpPr>
          <p:spPr>
            <a:xfrm>
              <a:off x="680746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5" name="Полилиния 424">
              <a:extLst>
                <a:ext uri="{FF2B5EF4-FFF2-40B4-BE49-F238E27FC236}">
                  <a16:creationId xmlns:a16="http://schemas.microsoft.com/office/drawing/2014/main" id="{8A85AA49-31BF-4274-7D7F-F051958F371C}"/>
                </a:ext>
              </a:extLst>
            </p:cNvPr>
            <p:cNvSpPr/>
            <p:nvPr/>
          </p:nvSpPr>
          <p:spPr>
            <a:xfrm>
              <a:off x="685210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6" name="Полилиния 425">
              <a:extLst>
                <a:ext uri="{FF2B5EF4-FFF2-40B4-BE49-F238E27FC236}">
                  <a16:creationId xmlns:a16="http://schemas.microsoft.com/office/drawing/2014/main" id="{E52382B0-EE47-9972-D9EC-2D56CE86E3D3}"/>
                </a:ext>
              </a:extLst>
            </p:cNvPr>
            <p:cNvSpPr/>
            <p:nvPr/>
          </p:nvSpPr>
          <p:spPr>
            <a:xfrm>
              <a:off x="689684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7" name="Полилиния 426">
              <a:extLst>
                <a:ext uri="{FF2B5EF4-FFF2-40B4-BE49-F238E27FC236}">
                  <a16:creationId xmlns:a16="http://schemas.microsoft.com/office/drawing/2014/main" id="{439549FB-8CC5-9800-E7F9-523AD5D508E1}"/>
                </a:ext>
              </a:extLst>
            </p:cNvPr>
            <p:cNvSpPr/>
            <p:nvPr/>
          </p:nvSpPr>
          <p:spPr>
            <a:xfrm>
              <a:off x="703075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8" name="Полилиния 427">
              <a:extLst>
                <a:ext uri="{FF2B5EF4-FFF2-40B4-BE49-F238E27FC236}">
                  <a16:creationId xmlns:a16="http://schemas.microsoft.com/office/drawing/2014/main" id="{A6D7376B-FEF8-C3E8-E02E-87C0479B01F9}"/>
                </a:ext>
              </a:extLst>
            </p:cNvPr>
            <p:cNvSpPr/>
            <p:nvPr/>
          </p:nvSpPr>
          <p:spPr>
            <a:xfrm>
              <a:off x="707539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9" name="Полилиния 428">
              <a:extLst>
                <a:ext uri="{FF2B5EF4-FFF2-40B4-BE49-F238E27FC236}">
                  <a16:creationId xmlns:a16="http://schemas.microsoft.com/office/drawing/2014/main" id="{0A09FC0B-1E17-B9FB-6F45-13C4A06C9CAA}"/>
                </a:ext>
              </a:extLst>
            </p:cNvPr>
            <p:cNvSpPr/>
            <p:nvPr/>
          </p:nvSpPr>
          <p:spPr>
            <a:xfrm>
              <a:off x="712003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0" name="Полилиния 429">
              <a:extLst>
                <a:ext uri="{FF2B5EF4-FFF2-40B4-BE49-F238E27FC236}">
                  <a16:creationId xmlns:a16="http://schemas.microsoft.com/office/drawing/2014/main" id="{819602DD-2592-9D91-1821-F5489D2A1DD9}"/>
                </a:ext>
              </a:extLst>
            </p:cNvPr>
            <p:cNvSpPr/>
            <p:nvPr/>
          </p:nvSpPr>
          <p:spPr>
            <a:xfrm>
              <a:off x="716467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1" name="Полилиния 430">
              <a:extLst>
                <a:ext uri="{FF2B5EF4-FFF2-40B4-BE49-F238E27FC236}">
                  <a16:creationId xmlns:a16="http://schemas.microsoft.com/office/drawing/2014/main" id="{2CA12039-1DEC-83B3-705B-3C359F3CAD5C}"/>
                </a:ext>
              </a:extLst>
            </p:cNvPr>
            <p:cNvSpPr/>
            <p:nvPr/>
          </p:nvSpPr>
          <p:spPr>
            <a:xfrm>
              <a:off x="729859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2" name="Полилиния 431">
              <a:extLst>
                <a:ext uri="{FF2B5EF4-FFF2-40B4-BE49-F238E27FC236}">
                  <a16:creationId xmlns:a16="http://schemas.microsoft.com/office/drawing/2014/main" id="{9D083FDB-98E6-4207-E3CA-66DE3A5604C0}"/>
                </a:ext>
              </a:extLst>
            </p:cNvPr>
            <p:cNvSpPr/>
            <p:nvPr/>
          </p:nvSpPr>
          <p:spPr>
            <a:xfrm>
              <a:off x="7343233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3" name="Полилиния 432">
              <a:extLst>
                <a:ext uri="{FF2B5EF4-FFF2-40B4-BE49-F238E27FC236}">
                  <a16:creationId xmlns:a16="http://schemas.microsoft.com/office/drawing/2014/main" id="{D367BEE2-C170-6819-30AF-CA2EC40C5435}"/>
                </a:ext>
              </a:extLst>
            </p:cNvPr>
            <p:cNvSpPr/>
            <p:nvPr/>
          </p:nvSpPr>
          <p:spPr>
            <a:xfrm>
              <a:off x="7521885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4" name="Полилиния 433">
              <a:extLst>
                <a:ext uri="{FF2B5EF4-FFF2-40B4-BE49-F238E27FC236}">
                  <a16:creationId xmlns:a16="http://schemas.microsoft.com/office/drawing/2014/main" id="{DF025C0D-E822-6797-92DD-2FE8265860A4}"/>
                </a:ext>
              </a:extLst>
            </p:cNvPr>
            <p:cNvSpPr/>
            <p:nvPr/>
          </p:nvSpPr>
          <p:spPr>
            <a:xfrm>
              <a:off x="761116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5" name="Полилиния 434">
              <a:extLst>
                <a:ext uri="{FF2B5EF4-FFF2-40B4-BE49-F238E27FC236}">
                  <a16:creationId xmlns:a16="http://schemas.microsoft.com/office/drawing/2014/main" id="{6880CBCF-38D2-EEF1-2E66-CF7262395857}"/>
                </a:ext>
              </a:extLst>
            </p:cNvPr>
            <p:cNvSpPr/>
            <p:nvPr/>
          </p:nvSpPr>
          <p:spPr>
            <a:xfrm>
              <a:off x="7700442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6" name="Полилиния 435">
              <a:extLst>
                <a:ext uri="{FF2B5EF4-FFF2-40B4-BE49-F238E27FC236}">
                  <a16:creationId xmlns:a16="http://schemas.microsoft.com/office/drawing/2014/main" id="{0CBABA19-3DAE-B73B-3C02-E8A30DFA3271}"/>
                </a:ext>
              </a:extLst>
            </p:cNvPr>
            <p:cNvSpPr/>
            <p:nvPr/>
          </p:nvSpPr>
          <p:spPr>
            <a:xfrm>
              <a:off x="778972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7" name="Полилиния 436">
              <a:extLst>
                <a:ext uri="{FF2B5EF4-FFF2-40B4-BE49-F238E27FC236}">
                  <a16:creationId xmlns:a16="http://schemas.microsoft.com/office/drawing/2014/main" id="{A72EA11E-D626-34A6-FCB5-6B62F3D8E185}"/>
                </a:ext>
              </a:extLst>
            </p:cNvPr>
            <p:cNvSpPr/>
            <p:nvPr/>
          </p:nvSpPr>
          <p:spPr>
            <a:xfrm>
              <a:off x="7878999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8" name="Полилиния 437">
              <a:extLst>
                <a:ext uri="{FF2B5EF4-FFF2-40B4-BE49-F238E27FC236}">
                  <a16:creationId xmlns:a16="http://schemas.microsoft.com/office/drawing/2014/main" id="{050BD28F-B4EF-659B-1134-A1BEAD55963F}"/>
                </a:ext>
              </a:extLst>
            </p:cNvPr>
            <p:cNvSpPr/>
            <p:nvPr/>
          </p:nvSpPr>
          <p:spPr>
            <a:xfrm>
              <a:off x="680746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9" name="Полилиния 438">
              <a:extLst>
                <a:ext uri="{FF2B5EF4-FFF2-40B4-BE49-F238E27FC236}">
                  <a16:creationId xmlns:a16="http://schemas.microsoft.com/office/drawing/2014/main" id="{B06EAEA4-AC02-6870-6B63-D123DAEC90D2}"/>
                </a:ext>
              </a:extLst>
            </p:cNvPr>
            <p:cNvSpPr/>
            <p:nvPr/>
          </p:nvSpPr>
          <p:spPr>
            <a:xfrm>
              <a:off x="689684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0" name="Полилиния 439">
              <a:extLst>
                <a:ext uri="{FF2B5EF4-FFF2-40B4-BE49-F238E27FC236}">
                  <a16:creationId xmlns:a16="http://schemas.microsoft.com/office/drawing/2014/main" id="{4C2C5E3B-80F1-CE29-576B-5C59E8264112}"/>
                </a:ext>
              </a:extLst>
            </p:cNvPr>
            <p:cNvSpPr/>
            <p:nvPr/>
          </p:nvSpPr>
          <p:spPr>
            <a:xfrm>
              <a:off x="694148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1" name="Полилиния 440">
              <a:extLst>
                <a:ext uri="{FF2B5EF4-FFF2-40B4-BE49-F238E27FC236}">
                  <a16:creationId xmlns:a16="http://schemas.microsoft.com/office/drawing/2014/main" id="{33CDB23F-3DD8-CB06-2FDB-350613FD6CC5}"/>
                </a:ext>
              </a:extLst>
            </p:cNvPr>
            <p:cNvSpPr/>
            <p:nvPr/>
          </p:nvSpPr>
          <p:spPr>
            <a:xfrm>
              <a:off x="698611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2" name="Полилиния 441">
              <a:extLst>
                <a:ext uri="{FF2B5EF4-FFF2-40B4-BE49-F238E27FC236}">
                  <a16:creationId xmlns:a16="http://schemas.microsoft.com/office/drawing/2014/main" id="{66FB0C7F-719B-11F0-ABD1-12BE99A98393}"/>
                </a:ext>
              </a:extLst>
            </p:cNvPr>
            <p:cNvSpPr/>
            <p:nvPr/>
          </p:nvSpPr>
          <p:spPr>
            <a:xfrm>
              <a:off x="712003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3" name="Полилиния 442">
              <a:extLst>
                <a:ext uri="{FF2B5EF4-FFF2-40B4-BE49-F238E27FC236}">
                  <a16:creationId xmlns:a16="http://schemas.microsoft.com/office/drawing/2014/main" id="{6414F5EE-9E6D-1E8C-C7CE-2B78548395B8}"/>
                </a:ext>
              </a:extLst>
            </p:cNvPr>
            <p:cNvSpPr/>
            <p:nvPr/>
          </p:nvSpPr>
          <p:spPr>
            <a:xfrm>
              <a:off x="720931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4" name="Полилиния 443">
              <a:extLst>
                <a:ext uri="{FF2B5EF4-FFF2-40B4-BE49-F238E27FC236}">
                  <a16:creationId xmlns:a16="http://schemas.microsoft.com/office/drawing/2014/main" id="{D1BC2701-9103-C24C-0303-7D3BDC02AF1A}"/>
                </a:ext>
              </a:extLst>
            </p:cNvPr>
            <p:cNvSpPr/>
            <p:nvPr/>
          </p:nvSpPr>
          <p:spPr>
            <a:xfrm>
              <a:off x="725395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5" name="Полилиния 444">
              <a:extLst>
                <a:ext uri="{FF2B5EF4-FFF2-40B4-BE49-F238E27FC236}">
                  <a16:creationId xmlns:a16="http://schemas.microsoft.com/office/drawing/2014/main" id="{B199777C-B4AF-9257-F00A-78EF4405C7EE}"/>
                </a:ext>
              </a:extLst>
            </p:cNvPr>
            <p:cNvSpPr/>
            <p:nvPr/>
          </p:nvSpPr>
          <p:spPr>
            <a:xfrm>
              <a:off x="738787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6" name="Полилиния 445">
              <a:extLst>
                <a:ext uri="{FF2B5EF4-FFF2-40B4-BE49-F238E27FC236}">
                  <a16:creationId xmlns:a16="http://schemas.microsoft.com/office/drawing/2014/main" id="{ADEA112B-0313-0B94-AA60-9ED222EBBAFB}"/>
                </a:ext>
              </a:extLst>
            </p:cNvPr>
            <p:cNvSpPr/>
            <p:nvPr/>
          </p:nvSpPr>
          <p:spPr>
            <a:xfrm>
              <a:off x="747715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7" name="Полилиния 446">
              <a:extLst>
                <a:ext uri="{FF2B5EF4-FFF2-40B4-BE49-F238E27FC236}">
                  <a16:creationId xmlns:a16="http://schemas.microsoft.com/office/drawing/2014/main" id="{469D89EE-E058-E3A2-A71A-B14A3F0828CA}"/>
                </a:ext>
              </a:extLst>
            </p:cNvPr>
            <p:cNvSpPr/>
            <p:nvPr/>
          </p:nvSpPr>
          <p:spPr>
            <a:xfrm>
              <a:off x="752188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8" name="Полилиния 447">
              <a:extLst>
                <a:ext uri="{FF2B5EF4-FFF2-40B4-BE49-F238E27FC236}">
                  <a16:creationId xmlns:a16="http://schemas.microsoft.com/office/drawing/2014/main" id="{69CA9596-02C2-9503-F66F-BF9CF9D8C64F}"/>
                </a:ext>
              </a:extLst>
            </p:cNvPr>
            <p:cNvSpPr/>
            <p:nvPr/>
          </p:nvSpPr>
          <p:spPr>
            <a:xfrm>
              <a:off x="770044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9" name="Полилиния 448">
              <a:extLst>
                <a:ext uri="{FF2B5EF4-FFF2-40B4-BE49-F238E27FC236}">
                  <a16:creationId xmlns:a16="http://schemas.microsoft.com/office/drawing/2014/main" id="{70683373-0B8D-5DD9-4A9F-4B648A6001C1}"/>
                </a:ext>
              </a:extLst>
            </p:cNvPr>
            <p:cNvSpPr/>
            <p:nvPr/>
          </p:nvSpPr>
          <p:spPr>
            <a:xfrm>
              <a:off x="774508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0" name="Полилиния 449">
              <a:extLst>
                <a:ext uri="{FF2B5EF4-FFF2-40B4-BE49-F238E27FC236}">
                  <a16:creationId xmlns:a16="http://schemas.microsoft.com/office/drawing/2014/main" id="{168E2A53-7613-3129-C17A-9D8177DAD904}"/>
                </a:ext>
              </a:extLst>
            </p:cNvPr>
            <p:cNvSpPr/>
            <p:nvPr/>
          </p:nvSpPr>
          <p:spPr>
            <a:xfrm>
              <a:off x="783436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1" name="Полилиния 450">
              <a:extLst>
                <a:ext uri="{FF2B5EF4-FFF2-40B4-BE49-F238E27FC236}">
                  <a16:creationId xmlns:a16="http://schemas.microsoft.com/office/drawing/2014/main" id="{2E717ABD-302A-4805-9723-30AFD208FE34}"/>
                </a:ext>
              </a:extLst>
            </p:cNvPr>
            <p:cNvSpPr/>
            <p:nvPr/>
          </p:nvSpPr>
          <p:spPr>
            <a:xfrm>
              <a:off x="787899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2" name="Полилиния 451">
              <a:extLst>
                <a:ext uri="{FF2B5EF4-FFF2-40B4-BE49-F238E27FC236}">
                  <a16:creationId xmlns:a16="http://schemas.microsoft.com/office/drawing/2014/main" id="{BC65A916-371F-6276-EB4D-6625E6E8F982}"/>
                </a:ext>
              </a:extLst>
            </p:cNvPr>
            <p:cNvSpPr/>
            <p:nvPr/>
          </p:nvSpPr>
          <p:spPr>
            <a:xfrm>
              <a:off x="689684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3" name="Полилиния 452">
              <a:extLst>
                <a:ext uri="{FF2B5EF4-FFF2-40B4-BE49-F238E27FC236}">
                  <a16:creationId xmlns:a16="http://schemas.microsoft.com/office/drawing/2014/main" id="{EF824ED3-03B4-B149-3E76-82250A011DD0}"/>
                </a:ext>
              </a:extLst>
            </p:cNvPr>
            <p:cNvSpPr/>
            <p:nvPr/>
          </p:nvSpPr>
          <p:spPr>
            <a:xfrm>
              <a:off x="6941480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4" name="Полилиния 453">
              <a:extLst>
                <a:ext uri="{FF2B5EF4-FFF2-40B4-BE49-F238E27FC236}">
                  <a16:creationId xmlns:a16="http://schemas.microsoft.com/office/drawing/2014/main" id="{77085844-EBEB-9823-0864-BB2176DFBE49}"/>
                </a:ext>
              </a:extLst>
            </p:cNvPr>
            <p:cNvSpPr/>
            <p:nvPr/>
          </p:nvSpPr>
          <p:spPr>
            <a:xfrm>
              <a:off x="6986119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5" name="Полилиния 454">
              <a:extLst>
                <a:ext uri="{FF2B5EF4-FFF2-40B4-BE49-F238E27FC236}">
                  <a16:creationId xmlns:a16="http://schemas.microsoft.com/office/drawing/2014/main" id="{0A2EA0DA-AFC7-3F8C-CF2A-993C67DD0613}"/>
                </a:ext>
              </a:extLst>
            </p:cNvPr>
            <p:cNvSpPr/>
            <p:nvPr/>
          </p:nvSpPr>
          <p:spPr>
            <a:xfrm>
              <a:off x="703075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6" name="Полилиния 455">
              <a:extLst>
                <a:ext uri="{FF2B5EF4-FFF2-40B4-BE49-F238E27FC236}">
                  <a16:creationId xmlns:a16="http://schemas.microsoft.com/office/drawing/2014/main" id="{699DB216-AE0E-6E4A-D384-36E22F24831C}"/>
                </a:ext>
              </a:extLst>
            </p:cNvPr>
            <p:cNvSpPr/>
            <p:nvPr/>
          </p:nvSpPr>
          <p:spPr>
            <a:xfrm>
              <a:off x="707539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7" name="Полилиния 456">
              <a:extLst>
                <a:ext uri="{FF2B5EF4-FFF2-40B4-BE49-F238E27FC236}">
                  <a16:creationId xmlns:a16="http://schemas.microsoft.com/office/drawing/2014/main" id="{F24C5D52-FBDE-56A0-7023-21D07DAAE93A}"/>
                </a:ext>
              </a:extLst>
            </p:cNvPr>
            <p:cNvSpPr/>
            <p:nvPr/>
          </p:nvSpPr>
          <p:spPr>
            <a:xfrm>
              <a:off x="7120037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8" name="Полилиния 457">
              <a:extLst>
                <a:ext uri="{FF2B5EF4-FFF2-40B4-BE49-F238E27FC236}">
                  <a16:creationId xmlns:a16="http://schemas.microsoft.com/office/drawing/2014/main" id="{88515D9E-7323-1DF2-18C1-20994A3C2748}"/>
                </a:ext>
              </a:extLst>
            </p:cNvPr>
            <p:cNvSpPr/>
            <p:nvPr/>
          </p:nvSpPr>
          <p:spPr>
            <a:xfrm>
              <a:off x="729859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9" name="Полилиния 458">
              <a:extLst>
                <a:ext uri="{FF2B5EF4-FFF2-40B4-BE49-F238E27FC236}">
                  <a16:creationId xmlns:a16="http://schemas.microsoft.com/office/drawing/2014/main" id="{67CFB4A3-D021-6905-18C0-D70DC5F14C87}"/>
                </a:ext>
              </a:extLst>
            </p:cNvPr>
            <p:cNvSpPr/>
            <p:nvPr/>
          </p:nvSpPr>
          <p:spPr>
            <a:xfrm>
              <a:off x="734323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0" name="Полилиния 459">
              <a:extLst>
                <a:ext uri="{FF2B5EF4-FFF2-40B4-BE49-F238E27FC236}">
                  <a16:creationId xmlns:a16="http://schemas.microsoft.com/office/drawing/2014/main" id="{9520EC7F-BEBA-0E28-B34C-2AFDAB92E819}"/>
                </a:ext>
              </a:extLst>
            </p:cNvPr>
            <p:cNvSpPr/>
            <p:nvPr/>
          </p:nvSpPr>
          <p:spPr>
            <a:xfrm>
              <a:off x="738787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1" name="Полилиния 460">
              <a:extLst>
                <a:ext uri="{FF2B5EF4-FFF2-40B4-BE49-F238E27FC236}">
                  <a16:creationId xmlns:a16="http://schemas.microsoft.com/office/drawing/2014/main" id="{3287127D-0395-1C3C-C601-DDBA7C4E87FB}"/>
                </a:ext>
              </a:extLst>
            </p:cNvPr>
            <p:cNvSpPr/>
            <p:nvPr/>
          </p:nvSpPr>
          <p:spPr>
            <a:xfrm>
              <a:off x="747715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2" name="Полилиния 461">
              <a:extLst>
                <a:ext uri="{FF2B5EF4-FFF2-40B4-BE49-F238E27FC236}">
                  <a16:creationId xmlns:a16="http://schemas.microsoft.com/office/drawing/2014/main" id="{6F59F8CB-BEDD-625D-64B5-2A480062F52C}"/>
                </a:ext>
              </a:extLst>
            </p:cNvPr>
            <p:cNvSpPr/>
            <p:nvPr/>
          </p:nvSpPr>
          <p:spPr>
            <a:xfrm>
              <a:off x="7521885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3" name="Полилиния 462">
              <a:extLst>
                <a:ext uri="{FF2B5EF4-FFF2-40B4-BE49-F238E27FC236}">
                  <a16:creationId xmlns:a16="http://schemas.microsoft.com/office/drawing/2014/main" id="{86D4DBA6-ED01-92B7-5DFE-C444154F6BF1}"/>
                </a:ext>
              </a:extLst>
            </p:cNvPr>
            <p:cNvSpPr/>
            <p:nvPr/>
          </p:nvSpPr>
          <p:spPr>
            <a:xfrm>
              <a:off x="756652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4" name="Полилиния 463">
              <a:extLst>
                <a:ext uri="{FF2B5EF4-FFF2-40B4-BE49-F238E27FC236}">
                  <a16:creationId xmlns:a16="http://schemas.microsoft.com/office/drawing/2014/main" id="{AC6C5763-5942-A2BA-5EDF-B43916AC897B}"/>
                </a:ext>
              </a:extLst>
            </p:cNvPr>
            <p:cNvSpPr/>
            <p:nvPr/>
          </p:nvSpPr>
          <p:spPr>
            <a:xfrm>
              <a:off x="761116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5" name="Полилиния 464">
              <a:extLst>
                <a:ext uri="{FF2B5EF4-FFF2-40B4-BE49-F238E27FC236}">
                  <a16:creationId xmlns:a16="http://schemas.microsoft.com/office/drawing/2014/main" id="{9779FCB5-3680-4E70-D393-E7401F559F94}"/>
                </a:ext>
              </a:extLst>
            </p:cNvPr>
            <p:cNvSpPr/>
            <p:nvPr/>
          </p:nvSpPr>
          <p:spPr>
            <a:xfrm>
              <a:off x="765580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6" name="Полилиния 465">
              <a:extLst>
                <a:ext uri="{FF2B5EF4-FFF2-40B4-BE49-F238E27FC236}">
                  <a16:creationId xmlns:a16="http://schemas.microsoft.com/office/drawing/2014/main" id="{B33AC3EE-E3DB-121B-5D73-ED88592BE5D5}"/>
                </a:ext>
              </a:extLst>
            </p:cNvPr>
            <p:cNvSpPr/>
            <p:nvPr/>
          </p:nvSpPr>
          <p:spPr>
            <a:xfrm>
              <a:off x="770044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7" name="Полилиния 466">
              <a:extLst>
                <a:ext uri="{FF2B5EF4-FFF2-40B4-BE49-F238E27FC236}">
                  <a16:creationId xmlns:a16="http://schemas.microsoft.com/office/drawing/2014/main" id="{75A14463-8DA3-5E1B-C554-823759639842}"/>
                </a:ext>
              </a:extLst>
            </p:cNvPr>
            <p:cNvSpPr/>
            <p:nvPr/>
          </p:nvSpPr>
          <p:spPr>
            <a:xfrm>
              <a:off x="774508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8" name="Полилиния 467">
              <a:extLst>
                <a:ext uri="{FF2B5EF4-FFF2-40B4-BE49-F238E27FC236}">
                  <a16:creationId xmlns:a16="http://schemas.microsoft.com/office/drawing/2014/main" id="{020D1FC4-EA84-F925-9ED5-93E2C0E930A2}"/>
                </a:ext>
              </a:extLst>
            </p:cNvPr>
            <p:cNvSpPr/>
            <p:nvPr/>
          </p:nvSpPr>
          <p:spPr>
            <a:xfrm>
              <a:off x="685210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9" name="Полилиния 468">
              <a:extLst>
                <a:ext uri="{FF2B5EF4-FFF2-40B4-BE49-F238E27FC236}">
                  <a16:creationId xmlns:a16="http://schemas.microsoft.com/office/drawing/2014/main" id="{D7DDFEE9-0DBE-3F06-5CE7-BB150355DFE8}"/>
                </a:ext>
              </a:extLst>
            </p:cNvPr>
            <p:cNvSpPr/>
            <p:nvPr/>
          </p:nvSpPr>
          <p:spPr>
            <a:xfrm>
              <a:off x="6896841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0" name="Полилиния 469">
              <a:extLst>
                <a:ext uri="{FF2B5EF4-FFF2-40B4-BE49-F238E27FC236}">
                  <a16:creationId xmlns:a16="http://schemas.microsoft.com/office/drawing/2014/main" id="{7D80C5B0-DC3F-8DEB-2C62-AF5E9FDBAD10}"/>
                </a:ext>
              </a:extLst>
            </p:cNvPr>
            <p:cNvSpPr/>
            <p:nvPr/>
          </p:nvSpPr>
          <p:spPr>
            <a:xfrm>
              <a:off x="694148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1" name="Полилиния 470">
              <a:extLst>
                <a:ext uri="{FF2B5EF4-FFF2-40B4-BE49-F238E27FC236}">
                  <a16:creationId xmlns:a16="http://schemas.microsoft.com/office/drawing/2014/main" id="{147AEB4B-FA2C-F8B3-3E86-6E4538030E63}"/>
                </a:ext>
              </a:extLst>
            </p:cNvPr>
            <p:cNvSpPr/>
            <p:nvPr/>
          </p:nvSpPr>
          <p:spPr>
            <a:xfrm>
              <a:off x="7030758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2" name="Полилиния 471">
              <a:extLst>
                <a:ext uri="{FF2B5EF4-FFF2-40B4-BE49-F238E27FC236}">
                  <a16:creationId xmlns:a16="http://schemas.microsoft.com/office/drawing/2014/main" id="{93A2112E-77C9-BD11-808A-CB06A221B44C}"/>
                </a:ext>
              </a:extLst>
            </p:cNvPr>
            <p:cNvSpPr/>
            <p:nvPr/>
          </p:nvSpPr>
          <p:spPr>
            <a:xfrm>
              <a:off x="716467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3" name="Полилиния 472">
              <a:extLst>
                <a:ext uri="{FF2B5EF4-FFF2-40B4-BE49-F238E27FC236}">
                  <a16:creationId xmlns:a16="http://schemas.microsoft.com/office/drawing/2014/main" id="{783A3B1B-884B-2E91-4B88-535FE0FD6BA9}"/>
                </a:ext>
              </a:extLst>
            </p:cNvPr>
            <p:cNvSpPr/>
            <p:nvPr/>
          </p:nvSpPr>
          <p:spPr>
            <a:xfrm>
              <a:off x="7209315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4" name="Полилиния 473">
              <a:extLst>
                <a:ext uri="{FF2B5EF4-FFF2-40B4-BE49-F238E27FC236}">
                  <a16:creationId xmlns:a16="http://schemas.microsoft.com/office/drawing/2014/main" id="{B42CAD9F-B21B-4FB5-98C1-B2E2FB10DAEC}"/>
                </a:ext>
              </a:extLst>
            </p:cNvPr>
            <p:cNvSpPr/>
            <p:nvPr/>
          </p:nvSpPr>
          <p:spPr>
            <a:xfrm>
              <a:off x="734323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5" name="Полилиния 474">
              <a:extLst>
                <a:ext uri="{FF2B5EF4-FFF2-40B4-BE49-F238E27FC236}">
                  <a16:creationId xmlns:a16="http://schemas.microsoft.com/office/drawing/2014/main" id="{A8AF6FB0-C188-AC47-3BCA-DF19B458C7C6}"/>
                </a:ext>
              </a:extLst>
            </p:cNvPr>
            <p:cNvSpPr/>
            <p:nvPr/>
          </p:nvSpPr>
          <p:spPr>
            <a:xfrm>
              <a:off x="738787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6" name="Полилиния 475">
              <a:extLst>
                <a:ext uri="{FF2B5EF4-FFF2-40B4-BE49-F238E27FC236}">
                  <a16:creationId xmlns:a16="http://schemas.microsoft.com/office/drawing/2014/main" id="{643FBF9F-A4CE-E011-EC0C-4F2A14FD8D65}"/>
                </a:ext>
              </a:extLst>
            </p:cNvPr>
            <p:cNvSpPr/>
            <p:nvPr/>
          </p:nvSpPr>
          <p:spPr>
            <a:xfrm>
              <a:off x="7566524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7" name="Полилиния 476">
              <a:extLst>
                <a:ext uri="{FF2B5EF4-FFF2-40B4-BE49-F238E27FC236}">
                  <a16:creationId xmlns:a16="http://schemas.microsoft.com/office/drawing/2014/main" id="{3EEB1FF3-756C-CB9B-C899-7B991303293A}"/>
                </a:ext>
              </a:extLst>
            </p:cNvPr>
            <p:cNvSpPr/>
            <p:nvPr/>
          </p:nvSpPr>
          <p:spPr>
            <a:xfrm>
              <a:off x="765580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8" name="Полилиния 477">
              <a:extLst>
                <a:ext uri="{FF2B5EF4-FFF2-40B4-BE49-F238E27FC236}">
                  <a16:creationId xmlns:a16="http://schemas.microsoft.com/office/drawing/2014/main" id="{7CA3CEFA-FD1B-4221-5712-2E8A9B666A34}"/>
                </a:ext>
              </a:extLst>
            </p:cNvPr>
            <p:cNvSpPr/>
            <p:nvPr/>
          </p:nvSpPr>
          <p:spPr>
            <a:xfrm>
              <a:off x="770044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9" name="Полилиния 478">
              <a:extLst>
                <a:ext uri="{FF2B5EF4-FFF2-40B4-BE49-F238E27FC236}">
                  <a16:creationId xmlns:a16="http://schemas.microsoft.com/office/drawing/2014/main" id="{9C2A6B9B-DA1F-FBB5-ECFF-A6A95A5B6BC8}"/>
                </a:ext>
              </a:extLst>
            </p:cNvPr>
            <p:cNvSpPr/>
            <p:nvPr/>
          </p:nvSpPr>
          <p:spPr>
            <a:xfrm>
              <a:off x="783436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0" name="Полилиния 479">
              <a:extLst>
                <a:ext uri="{FF2B5EF4-FFF2-40B4-BE49-F238E27FC236}">
                  <a16:creationId xmlns:a16="http://schemas.microsoft.com/office/drawing/2014/main" id="{81E5E4F6-B7B7-26AD-EDD2-5370FC214778}"/>
                </a:ext>
              </a:extLst>
            </p:cNvPr>
            <p:cNvSpPr/>
            <p:nvPr/>
          </p:nvSpPr>
          <p:spPr>
            <a:xfrm>
              <a:off x="6807467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1" name="Полилиния 480">
              <a:extLst>
                <a:ext uri="{FF2B5EF4-FFF2-40B4-BE49-F238E27FC236}">
                  <a16:creationId xmlns:a16="http://schemas.microsoft.com/office/drawing/2014/main" id="{17CC793B-78D5-6115-B49A-4E994381256A}"/>
                </a:ext>
              </a:extLst>
            </p:cNvPr>
            <p:cNvSpPr/>
            <p:nvPr/>
          </p:nvSpPr>
          <p:spPr>
            <a:xfrm>
              <a:off x="685210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2" name="Полилиния 481">
              <a:extLst>
                <a:ext uri="{FF2B5EF4-FFF2-40B4-BE49-F238E27FC236}">
                  <a16:creationId xmlns:a16="http://schemas.microsoft.com/office/drawing/2014/main" id="{5BA747D0-0E59-CD2B-CFF1-99F11A45F84D}"/>
                </a:ext>
              </a:extLst>
            </p:cNvPr>
            <p:cNvSpPr/>
            <p:nvPr/>
          </p:nvSpPr>
          <p:spPr>
            <a:xfrm>
              <a:off x="694148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3" name="Полилиния 482">
              <a:extLst>
                <a:ext uri="{FF2B5EF4-FFF2-40B4-BE49-F238E27FC236}">
                  <a16:creationId xmlns:a16="http://schemas.microsoft.com/office/drawing/2014/main" id="{E6BB87AD-64F4-8A71-6187-5070EAC71BBC}"/>
                </a:ext>
              </a:extLst>
            </p:cNvPr>
            <p:cNvSpPr/>
            <p:nvPr/>
          </p:nvSpPr>
          <p:spPr>
            <a:xfrm>
              <a:off x="7075398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4" name="Полилиния 483">
              <a:extLst>
                <a:ext uri="{FF2B5EF4-FFF2-40B4-BE49-F238E27FC236}">
                  <a16:creationId xmlns:a16="http://schemas.microsoft.com/office/drawing/2014/main" id="{15A78737-8226-D178-6B45-21593A86A436}"/>
                </a:ext>
              </a:extLst>
            </p:cNvPr>
            <p:cNvSpPr/>
            <p:nvPr/>
          </p:nvSpPr>
          <p:spPr>
            <a:xfrm>
              <a:off x="716467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5" name="Полилиния 484">
              <a:extLst>
                <a:ext uri="{FF2B5EF4-FFF2-40B4-BE49-F238E27FC236}">
                  <a16:creationId xmlns:a16="http://schemas.microsoft.com/office/drawing/2014/main" id="{7355F47C-7F6D-6FE2-4B47-8BC4541E8C6F}"/>
                </a:ext>
              </a:extLst>
            </p:cNvPr>
            <p:cNvSpPr/>
            <p:nvPr/>
          </p:nvSpPr>
          <p:spPr>
            <a:xfrm>
              <a:off x="720931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6" name="Полилиния 485">
              <a:extLst>
                <a:ext uri="{FF2B5EF4-FFF2-40B4-BE49-F238E27FC236}">
                  <a16:creationId xmlns:a16="http://schemas.microsoft.com/office/drawing/2014/main" id="{8FABF401-7C6C-729E-EE8D-CAC8E4EE9FBF}"/>
                </a:ext>
              </a:extLst>
            </p:cNvPr>
            <p:cNvSpPr/>
            <p:nvPr/>
          </p:nvSpPr>
          <p:spPr>
            <a:xfrm>
              <a:off x="725395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7" name="Полилиния 486">
              <a:extLst>
                <a:ext uri="{FF2B5EF4-FFF2-40B4-BE49-F238E27FC236}">
                  <a16:creationId xmlns:a16="http://schemas.microsoft.com/office/drawing/2014/main" id="{FBEEA746-8928-C6A6-D340-10B98264B288}"/>
                </a:ext>
              </a:extLst>
            </p:cNvPr>
            <p:cNvSpPr/>
            <p:nvPr/>
          </p:nvSpPr>
          <p:spPr>
            <a:xfrm>
              <a:off x="7298594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8" name="Полилиния 487">
              <a:extLst>
                <a:ext uri="{FF2B5EF4-FFF2-40B4-BE49-F238E27FC236}">
                  <a16:creationId xmlns:a16="http://schemas.microsoft.com/office/drawing/2014/main" id="{841DE9F3-AE8A-93D1-42CB-910C4D8C3EB9}"/>
                </a:ext>
              </a:extLst>
            </p:cNvPr>
            <p:cNvSpPr/>
            <p:nvPr/>
          </p:nvSpPr>
          <p:spPr>
            <a:xfrm>
              <a:off x="7343233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9" name="Полилиния 488">
              <a:extLst>
                <a:ext uri="{FF2B5EF4-FFF2-40B4-BE49-F238E27FC236}">
                  <a16:creationId xmlns:a16="http://schemas.microsoft.com/office/drawing/2014/main" id="{CDDAA709-2264-F67B-26C6-F4794758066D}"/>
                </a:ext>
              </a:extLst>
            </p:cNvPr>
            <p:cNvSpPr/>
            <p:nvPr/>
          </p:nvSpPr>
          <p:spPr>
            <a:xfrm>
              <a:off x="743251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0" name="Полилиния 489">
              <a:extLst>
                <a:ext uri="{FF2B5EF4-FFF2-40B4-BE49-F238E27FC236}">
                  <a16:creationId xmlns:a16="http://schemas.microsoft.com/office/drawing/2014/main" id="{C636905F-065B-A932-CD2D-B432AC56340D}"/>
                </a:ext>
              </a:extLst>
            </p:cNvPr>
            <p:cNvSpPr/>
            <p:nvPr/>
          </p:nvSpPr>
          <p:spPr>
            <a:xfrm>
              <a:off x="747715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1" name="Полилиния 490">
              <a:extLst>
                <a:ext uri="{FF2B5EF4-FFF2-40B4-BE49-F238E27FC236}">
                  <a16:creationId xmlns:a16="http://schemas.microsoft.com/office/drawing/2014/main" id="{8591389E-4252-6E01-B112-ABE2106DB9D2}"/>
                </a:ext>
              </a:extLst>
            </p:cNvPr>
            <p:cNvSpPr/>
            <p:nvPr/>
          </p:nvSpPr>
          <p:spPr>
            <a:xfrm>
              <a:off x="752188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2" name="Полилиния 491">
              <a:extLst>
                <a:ext uri="{FF2B5EF4-FFF2-40B4-BE49-F238E27FC236}">
                  <a16:creationId xmlns:a16="http://schemas.microsoft.com/office/drawing/2014/main" id="{75BCF526-4C4F-C4F6-4FDB-C762B9D9FAC7}"/>
                </a:ext>
              </a:extLst>
            </p:cNvPr>
            <p:cNvSpPr/>
            <p:nvPr/>
          </p:nvSpPr>
          <p:spPr>
            <a:xfrm>
              <a:off x="770044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3" name="Полилиния 492">
              <a:extLst>
                <a:ext uri="{FF2B5EF4-FFF2-40B4-BE49-F238E27FC236}">
                  <a16:creationId xmlns:a16="http://schemas.microsoft.com/office/drawing/2014/main" id="{4D30555B-DD67-9838-B708-593CBD6EE873}"/>
                </a:ext>
              </a:extLst>
            </p:cNvPr>
            <p:cNvSpPr/>
            <p:nvPr/>
          </p:nvSpPr>
          <p:spPr>
            <a:xfrm>
              <a:off x="774508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4" name="Полилиния 493">
              <a:extLst>
                <a:ext uri="{FF2B5EF4-FFF2-40B4-BE49-F238E27FC236}">
                  <a16:creationId xmlns:a16="http://schemas.microsoft.com/office/drawing/2014/main" id="{2E56F155-91AA-A49A-7EC1-F17193F6D2BC}"/>
                </a:ext>
              </a:extLst>
            </p:cNvPr>
            <p:cNvSpPr/>
            <p:nvPr/>
          </p:nvSpPr>
          <p:spPr>
            <a:xfrm>
              <a:off x="783436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5" name="Полилиния 494">
              <a:extLst>
                <a:ext uri="{FF2B5EF4-FFF2-40B4-BE49-F238E27FC236}">
                  <a16:creationId xmlns:a16="http://schemas.microsoft.com/office/drawing/2014/main" id="{8DF1466C-57AD-18E0-20C0-AC11DE2DB88D}"/>
                </a:ext>
              </a:extLst>
            </p:cNvPr>
            <p:cNvSpPr/>
            <p:nvPr/>
          </p:nvSpPr>
          <p:spPr>
            <a:xfrm>
              <a:off x="7878999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6" name="Полилиния 495">
              <a:extLst>
                <a:ext uri="{FF2B5EF4-FFF2-40B4-BE49-F238E27FC236}">
                  <a16:creationId xmlns:a16="http://schemas.microsoft.com/office/drawing/2014/main" id="{2DEC2EC7-4385-2241-F109-97F43E5AF3DA}"/>
                </a:ext>
              </a:extLst>
            </p:cNvPr>
            <p:cNvSpPr/>
            <p:nvPr/>
          </p:nvSpPr>
          <p:spPr>
            <a:xfrm>
              <a:off x="6941480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7" name="Полилиния 496">
              <a:extLst>
                <a:ext uri="{FF2B5EF4-FFF2-40B4-BE49-F238E27FC236}">
                  <a16:creationId xmlns:a16="http://schemas.microsoft.com/office/drawing/2014/main" id="{CA00C964-BE88-A067-1987-931BE77B47C5}"/>
                </a:ext>
              </a:extLst>
            </p:cNvPr>
            <p:cNvSpPr/>
            <p:nvPr/>
          </p:nvSpPr>
          <p:spPr>
            <a:xfrm>
              <a:off x="6986119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8" name="Полилиния 497">
              <a:extLst>
                <a:ext uri="{FF2B5EF4-FFF2-40B4-BE49-F238E27FC236}">
                  <a16:creationId xmlns:a16="http://schemas.microsoft.com/office/drawing/2014/main" id="{DF9FE23C-A3B5-7D7C-1989-0F9008AEC848}"/>
                </a:ext>
              </a:extLst>
            </p:cNvPr>
            <p:cNvSpPr/>
            <p:nvPr/>
          </p:nvSpPr>
          <p:spPr>
            <a:xfrm>
              <a:off x="7120037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9" name="Полилиния 498">
              <a:extLst>
                <a:ext uri="{FF2B5EF4-FFF2-40B4-BE49-F238E27FC236}">
                  <a16:creationId xmlns:a16="http://schemas.microsoft.com/office/drawing/2014/main" id="{8C5BDB62-BC4A-26CB-E101-704C3766CF83}"/>
                </a:ext>
              </a:extLst>
            </p:cNvPr>
            <p:cNvSpPr/>
            <p:nvPr/>
          </p:nvSpPr>
          <p:spPr>
            <a:xfrm>
              <a:off x="7253955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0" name="Полилиния 499">
              <a:extLst>
                <a:ext uri="{FF2B5EF4-FFF2-40B4-BE49-F238E27FC236}">
                  <a16:creationId xmlns:a16="http://schemas.microsoft.com/office/drawing/2014/main" id="{64F1D737-1C5C-FEB4-7FBD-E732CD902DEE}"/>
                </a:ext>
              </a:extLst>
            </p:cNvPr>
            <p:cNvSpPr/>
            <p:nvPr/>
          </p:nvSpPr>
          <p:spPr>
            <a:xfrm>
              <a:off x="729859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1" name="Полилиния 500">
              <a:extLst>
                <a:ext uri="{FF2B5EF4-FFF2-40B4-BE49-F238E27FC236}">
                  <a16:creationId xmlns:a16="http://schemas.microsoft.com/office/drawing/2014/main" id="{13167AAA-3418-2BBE-DED7-C5D78A100C44}"/>
                </a:ext>
              </a:extLst>
            </p:cNvPr>
            <p:cNvSpPr/>
            <p:nvPr/>
          </p:nvSpPr>
          <p:spPr>
            <a:xfrm>
              <a:off x="7387872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2" name="Полилиния 501">
              <a:extLst>
                <a:ext uri="{FF2B5EF4-FFF2-40B4-BE49-F238E27FC236}">
                  <a16:creationId xmlns:a16="http://schemas.microsoft.com/office/drawing/2014/main" id="{285D064A-6B35-2F12-71C1-019A0B8FFA7B}"/>
                </a:ext>
              </a:extLst>
            </p:cNvPr>
            <p:cNvSpPr/>
            <p:nvPr/>
          </p:nvSpPr>
          <p:spPr>
            <a:xfrm>
              <a:off x="747715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3" name="Полилиния 502">
              <a:extLst>
                <a:ext uri="{FF2B5EF4-FFF2-40B4-BE49-F238E27FC236}">
                  <a16:creationId xmlns:a16="http://schemas.microsoft.com/office/drawing/2014/main" id="{3AAF8AFA-4104-25E9-F3CC-C82665C180DB}"/>
                </a:ext>
              </a:extLst>
            </p:cNvPr>
            <p:cNvSpPr/>
            <p:nvPr/>
          </p:nvSpPr>
          <p:spPr>
            <a:xfrm>
              <a:off x="756652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4" name="Полилиния 503">
              <a:extLst>
                <a:ext uri="{FF2B5EF4-FFF2-40B4-BE49-F238E27FC236}">
                  <a16:creationId xmlns:a16="http://schemas.microsoft.com/office/drawing/2014/main" id="{4FF0844A-671B-CE89-CF8E-9B8B53DCC60C}"/>
                </a:ext>
              </a:extLst>
            </p:cNvPr>
            <p:cNvSpPr/>
            <p:nvPr/>
          </p:nvSpPr>
          <p:spPr>
            <a:xfrm>
              <a:off x="761116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5" name="Полилиния 504">
              <a:extLst>
                <a:ext uri="{FF2B5EF4-FFF2-40B4-BE49-F238E27FC236}">
                  <a16:creationId xmlns:a16="http://schemas.microsoft.com/office/drawing/2014/main" id="{77122892-E075-32BC-D39E-553D417EFECE}"/>
                </a:ext>
              </a:extLst>
            </p:cNvPr>
            <p:cNvSpPr/>
            <p:nvPr/>
          </p:nvSpPr>
          <p:spPr>
            <a:xfrm>
              <a:off x="774508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6" name="Полилиния 505">
              <a:extLst>
                <a:ext uri="{FF2B5EF4-FFF2-40B4-BE49-F238E27FC236}">
                  <a16:creationId xmlns:a16="http://schemas.microsoft.com/office/drawing/2014/main" id="{575BC9A0-D979-2EF9-6F41-58DC6EB6CA8A}"/>
                </a:ext>
              </a:extLst>
            </p:cNvPr>
            <p:cNvSpPr/>
            <p:nvPr/>
          </p:nvSpPr>
          <p:spPr>
            <a:xfrm>
              <a:off x="6852106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7" name="Полилиния 506">
              <a:extLst>
                <a:ext uri="{FF2B5EF4-FFF2-40B4-BE49-F238E27FC236}">
                  <a16:creationId xmlns:a16="http://schemas.microsoft.com/office/drawing/2014/main" id="{97C3DCC2-822C-66B2-5613-48168EAAB2D6}"/>
                </a:ext>
              </a:extLst>
            </p:cNvPr>
            <p:cNvSpPr/>
            <p:nvPr/>
          </p:nvSpPr>
          <p:spPr>
            <a:xfrm>
              <a:off x="6896841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8" name="Полилиния 507">
              <a:extLst>
                <a:ext uri="{FF2B5EF4-FFF2-40B4-BE49-F238E27FC236}">
                  <a16:creationId xmlns:a16="http://schemas.microsoft.com/office/drawing/2014/main" id="{11AA8A76-7014-2C95-9542-722D2F4C0298}"/>
                </a:ext>
              </a:extLst>
            </p:cNvPr>
            <p:cNvSpPr/>
            <p:nvPr/>
          </p:nvSpPr>
          <p:spPr>
            <a:xfrm>
              <a:off x="698611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9" name="Полилиния 508">
              <a:extLst>
                <a:ext uri="{FF2B5EF4-FFF2-40B4-BE49-F238E27FC236}">
                  <a16:creationId xmlns:a16="http://schemas.microsoft.com/office/drawing/2014/main" id="{BA71871B-B108-99AF-8041-95E6BC728298}"/>
                </a:ext>
              </a:extLst>
            </p:cNvPr>
            <p:cNvSpPr/>
            <p:nvPr/>
          </p:nvSpPr>
          <p:spPr>
            <a:xfrm>
              <a:off x="703075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0" name="Полилиния 509">
              <a:extLst>
                <a:ext uri="{FF2B5EF4-FFF2-40B4-BE49-F238E27FC236}">
                  <a16:creationId xmlns:a16="http://schemas.microsoft.com/office/drawing/2014/main" id="{E2D82460-7BBD-7B17-F6A2-EF597BCA96DB}"/>
                </a:ext>
              </a:extLst>
            </p:cNvPr>
            <p:cNvSpPr/>
            <p:nvPr/>
          </p:nvSpPr>
          <p:spPr>
            <a:xfrm>
              <a:off x="707539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1" name="Полилиния 510">
              <a:extLst>
                <a:ext uri="{FF2B5EF4-FFF2-40B4-BE49-F238E27FC236}">
                  <a16:creationId xmlns:a16="http://schemas.microsoft.com/office/drawing/2014/main" id="{9B00D409-924C-49A4-75AA-87A08E2E5092}"/>
                </a:ext>
              </a:extLst>
            </p:cNvPr>
            <p:cNvSpPr/>
            <p:nvPr/>
          </p:nvSpPr>
          <p:spPr>
            <a:xfrm>
              <a:off x="720931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2" name="Полилиния 511">
              <a:extLst>
                <a:ext uri="{FF2B5EF4-FFF2-40B4-BE49-F238E27FC236}">
                  <a16:creationId xmlns:a16="http://schemas.microsoft.com/office/drawing/2014/main" id="{7E088035-55AF-F91A-14DC-104BAF880600}"/>
                </a:ext>
              </a:extLst>
            </p:cNvPr>
            <p:cNvSpPr/>
            <p:nvPr/>
          </p:nvSpPr>
          <p:spPr>
            <a:xfrm>
              <a:off x="725395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3" name="Полилиния 512">
              <a:extLst>
                <a:ext uri="{FF2B5EF4-FFF2-40B4-BE49-F238E27FC236}">
                  <a16:creationId xmlns:a16="http://schemas.microsoft.com/office/drawing/2014/main" id="{A0507027-0199-4104-7FA1-F232B225A01B}"/>
                </a:ext>
              </a:extLst>
            </p:cNvPr>
            <p:cNvSpPr/>
            <p:nvPr/>
          </p:nvSpPr>
          <p:spPr>
            <a:xfrm>
              <a:off x="738787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4" name="Полилиния 513">
              <a:extLst>
                <a:ext uri="{FF2B5EF4-FFF2-40B4-BE49-F238E27FC236}">
                  <a16:creationId xmlns:a16="http://schemas.microsoft.com/office/drawing/2014/main" id="{87A68F4B-04FF-047F-C8C5-FF157F19E543}"/>
                </a:ext>
              </a:extLst>
            </p:cNvPr>
            <p:cNvSpPr/>
            <p:nvPr/>
          </p:nvSpPr>
          <p:spPr>
            <a:xfrm>
              <a:off x="752188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5" name="Полилиния 514">
              <a:extLst>
                <a:ext uri="{FF2B5EF4-FFF2-40B4-BE49-F238E27FC236}">
                  <a16:creationId xmlns:a16="http://schemas.microsoft.com/office/drawing/2014/main" id="{3557CD1C-CB21-C5FA-DC8A-BFCDED1BCDD9}"/>
                </a:ext>
              </a:extLst>
            </p:cNvPr>
            <p:cNvSpPr/>
            <p:nvPr/>
          </p:nvSpPr>
          <p:spPr>
            <a:xfrm>
              <a:off x="770044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6" name="Полилиния 515">
              <a:extLst>
                <a:ext uri="{FF2B5EF4-FFF2-40B4-BE49-F238E27FC236}">
                  <a16:creationId xmlns:a16="http://schemas.microsoft.com/office/drawing/2014/main" id="{8A2D6F85-BCA9-075E-D1EC-4FC62C9AB006}"/>
                </a:ext>
              </a:extLst>
            </p:cNvPr>
            <p:cNvSpPr/>
            <p:nvPr/>
          </p:nvSpPr>
          <p:spPr>
            <a:xfrm>
              <a:off x="787899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7" name="Полилиния 516">
              <a:extLst>
                <a:ext uri="{FF2B5EF4-FFF2-40B4-BE49-F238E27FC236}">
                  <a16:creationId xmlns:a16="http://schemas.microsoft.com/office/drawing/2014/main" id="{6E79BB0A-5B6D-7C86-4391-A8E152EB2152}"/>
                </a:ext>
              </a:extLst>
            </p:cNvPr>
            <p:cNvSpPr/>
            <p:nvPr/>
          </p:nvSpPr>
          <p:spPr>
            <a:xfrm>
              <a:off x="645339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4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8" name="Полилиния 517">
              <a:extLst>
                <a:ext uri="{FF2B5EF4-FFF2-40B4-BE49-F238E27FC236}">
                  <a16:creationId xmlns:a16="http://schemas.microsoft.com/office/drawing/2014/main" id="{979D0133-9BF5-8A5C-58C0-F40EB6B663B7}"/>
                </a:ext>
              </a:extLst>
            </p:cNvPr>
            <p:cNvSpPr/>
            <p:nvPr/>
          </p:nvSpPr>
          <p:spPr>
            <a:xfrm>
              <a:off x="761420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4" y="0"/>
                    <a:pt x="0" y="68364"/>
                    <a:pt x="0" y="152659"/>
                  </a:cubicBezTo>
                  <a:cubicBezTo>
                    <a:pt x="0" y="236953"/>
                    <a:pt x="68624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2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9" name="Полилиния 518">
              <a:extLst>
                <a:ext uri="{FF2B5EF4-FFF2-40B4-BE49-F238E27FC236}">
                  <a16:creationId xmlns:a16="http://schemas.microsoft.com/office/drawing/2014/main" id="{A055C0CB-0CAB-F054-F33E-CE72D713A0E0}"/>
                </a:ext>
              </a:extLst>
            </p:cNvPr>
            <p:cNvSpPr/>
            <p:nvPr/>
          </p:nvSpPr>
          <p:spPr>
            <a:xfrm>
              <a:off x="6453399" y="3843927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5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5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0" name="Полилиния 519">
              <a:extLst>
                <a:ext uri="{FF2B5EF4-FFF2-40B4-BE49-F238E27FC236}">
                  <a16:creationId xmlns:a16="http://schemas.microsoft.com/office/drawing/2014/main" id="{C10E9D75-E8E0-EEEF-40E1-2DFEB1E1BF4F}"/>
                </a:ext>
              </a:extLst>
            </p:cNvPr>
            <p:cNvSpPr/>
            <p:nvPr/>
          </p:nvSpPr>
          <p:spPr>
            <a:xfrm>
              <a:off x="6539631" y="2773421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1" name="Полилиния 520">
              <a:extLst>
                <a:ext uri="{FF2B5EF4-FFF2-40B4-BE49-F238E27FC236}">
                  <a16:creationId xmlns:a16="http://schemas.microsoft.com/office/drawing/2014/main" id="{5437FE94-FFAB-980F-5E9D-90418BF04D8F}"/>
                </a:ext>
              </a:extLst>
            </p:cNvPr>
            <p:cNvSpPr/>
            <p:nvPr/>
          </p:nvSpPr>
          <p:spPr>
            <a:xfrm>
              <a:off x="7700442" y="2773421"/>
              <a:ext cx="131347" cy="130850"/>
            </a:xfrm>
            <a:custGeom>
              <a:avLst/>
              <a:gdLst>
                <a:gd name="connsiteX0" fmla="*/ 131348 w 131347"/>
                <a:gd name="connsiteY0" fmla="*/ 65425 h 130850"/>
                <a:gd name="connsiteX1" fmla="*/ 65674 w 131347"/>
                <a:gd name="connsiteY1" fmla="*/ 130850 h 130850"/>
                <a:gd name="connsiteX2" fmla="*/ 0 w 131347"/>
                <a:gd name="connsiteY2" fmla="*/ 65425 h 130850"/>
                <a:gd name="connsiteX3" fmla="*/ 65674 w 131347"/>
                <a:gd name="connsiteY3" fmla="*/ 0 h 130850"/>
                <a:gd name="connsiteX4" fmla="*/ 131348 w 131347"/>
                <a:gd name="connsiteY4" fmla="*/ 65425 h 130850"/>
                <a:gd name="connsiteX5" fmla="*/ 131348 w 131347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7" h="130850">
                  <a:moveTo>
                    <a:pt x="131348" y="65425"/>
                  </a:moveTo>
                  <a:cubicBezTo>
                    <a:pt x="131348" y="101551"/>
                    <a:pt x="101937" y="130850"/>
                    <a:pt x="65674" y="130850"/>
                  </a:cubicBezTo>
                  <a:cubicBezTo>
                    <a:pt x="29410" y="130850"/>
                    <a:pt x="0" y="101551"/>
                    <a:pt x="0" y="65425"/>
                  </a:cubicBezTo>
                  <a:cubicBezTo>
                    <a:pt x="0" y="29299"/>
                    <a:pt x="29410" y="0"/>
                    <a:pt x="65674" y="0"/>
                  </a:cubicBezTo>
                  <a:cubicBezTo>
                    <a:pt x="101937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2" name="Полилиния 521">
              <a:extLst>
                <a:ext uri="{FF2B5EF4-FFF2-40B4-BE49-F238E27FC236}">
                  <a16:creationId xmlns:a16="http://schemas.microsoft.com/office/drawing/2014/main" id="{59E83F1E-22EB-67B1-4EAF-FCC9F71C4A11}"/>
                </a:ext>
              </a:extLst>
            </p:cNvPr>
            <p:cNvSpPr/>
            <p:nvPr/>
          </p:nvSpPr>
          <p:spPr>
            <a:xfrm>
              <a:off x="6539631" y="3929834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3" name="Полилиния 522">
              <a:extLst>
                <a:ext uri="{FF2B5EF4-FFF2-40B4-BE49-F238E27FC236}">
                  <a16:creationId xmlns:a16="http://schemas.microsoft.com/office/drawing/2014/main" id="{289DBC7F-B6D3-3DD0-1EC7-EE1417318E56}"/>
                </a:ext>
              </a:extLst>
            </p:cNvPr>
            <p:cNvSpPr/>
            <p:nvPr/>
          </p:nvSpPr>
          <p:spPr>
            <a:xfrm>
              <a:off x="6941480" y="3173652"/>
              <a:ext cx="491126" cy="489266"/>
            </a:xfrm>
            <a:custGeom>
              <a:avLst/>
              <a:gdLst>
                <a:gd name="connsiteX0" fmla="*/ 0 w 491126"/>
                <a:gd name="connsiteY0" fmla="*/ 244633 h 489266"/>
                <a:gd name="connsiteX1" fmla="*/ 245564 w 491126"/>
                <a:gd name="connsiteY1" fmla="*/ 0 h 489266"/>
                <a:gd name="connsiteX2" fmla="*/ 491127 w 491126"/>
                <a:gd name="connsiteY2" fmla="*/ 244633 h 489266"/>
                <a:gd name="connsiteX3" fmla="*/ 245564 w 491126"/>
                <a:gd name="connsiteY3" fmla="*/ 489266 h 489266"/>
                <a:gd name="connsiteX4" fmla="*/ 0 w 491126"/>
                <a:gd name="connsiteY4" fmla="*/ 244633 h 489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126" h="489266">
                  <a:moveTo>
                    <a:pt x="0" y="244633"/>
                  </a:moveTo>
                  <a:cubicBezTo>
                    <a:pt x="0" y="109516"/>
                    <a:pt x="109933" y="0"/>
                    <a:pt x="245564" y="0"/>
                  </a:cubicBezTo>
                  <a:cubicBezTo>
                    <a:pt x="381194" y="0"/>
                    <a:pt x="491127" y="109516"/>
                    <a:pt x="491127" y="244633"/>
                  </a:cubicBezTo>
                  <a:cubicBezTo>
                    <a:pt x="491127" y="379750"/>
                    <a:pt x="381194" y="489266"/>
                    <a:pt x="245564" y="489266"/>
                  </a:cubicBezTo>
                  <a:cubicBezTo>
                    <a:pt x="109933" y="489266"/>
                    <a:pt x="0" y="379750"/>
                    <a:pt x="0" y="244633"/>
                  </a:cubicBezTo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4" name="Полилиния 523">
              <a:extLst>
                <a:ext uri="{FF2B5EF4-FFF2-40B4-BE49-F238E27FC236}">
                  <a16:creationId xmlns:a16="http://schemas.microsoft.com/office/drawing/2014/main" id="{E8411FAD-9461-81FE-1B02-F7E74C18B7BD}"/>
                </a:ext>
              </a:extLst>
            </p:cNvPr>
            <p:cNvSpPr/>
            <p:nvPr/>
          </p:nvSpPr>
          <p:spPr>
            <a:xfrm>
              <a:off x="7002815" y="3284324"/>
              <a:ext cx="323875" cy="267920"/>
            </a:xfrm>
            <a:custGeom>
              <a:avLst/>
              <a:gdLst>
                <a:gd name="connsiteX0" fmla="*/ 323762 w 323875"/>
                <a:gd name="connsiteY0" fmla="*/ 26057 h 267920"/>
                <a:gd name="connsiteX1" fmla="*/ 315671 w 323875"/>
                <a:gd name="connsiteY1" fmla="*/ 82284 h 267920"/>
                <a:gd name="connsiteX2" fmla="*/ 292257 w 323875"/>
                <a:gd name="connsiteY2" fmla="*/ 235227 h 267920"/>
                <a:gd name="connsiteX3" fmla="*/ 286165 w 323875"/>
                <a:gd name="connsiteY3" fmla="*/ 254665 h 267920"/>
                <a:gd name="connsiteX4" fmla="*/ 258944 w 323875"/>
                <a:gd name="connsiteY4" fmla="*/ 266518 h 267920"/>
                <a:gd name="connsiteX5" fmla="*/ 236101 w 323875"/>
                <a:gd name="connsiteY5" fmla="*/ 255329 h 267920"/>
                <a:gd name="connsiteX6" fmla="*/ 151106 w 323875"/>
                <a:gd name="connsiteY6" fmla="*/ 198438 h 267920"/>
                <a:gd name="connsiteX7" fmla="*/ 147965 w 323875"/>
                <a:gd name="connsiteY7" fmla="*/ 166578 h 267920"/>
                <a:gd name="connsiteX8" fmla="*/ 197934 w 323875"/>
                <a:gd name="connsiteY8" fmla="*/ 119927 h 267920"/>
                <a:gd name="connsiteX9" fmla="*/ 236196 w 323875"/>
                <a:gd name="connsiteY9" fmla="*/ 83517 h 267920"/>
                <a:gd name="connsiteX10" fmla="*/ 241050 w 323875"/>
                <a:gd name="connsiteY10" fmla="*/ 78207 h 267920"/>
                <a:gd name="connsiteX11" fmla="*/ 242668 w 323875"/>
                <a:gd name="connsiteY11" fmla="*/ 69389 h 267920"/>
                <a:gd name="connsiteX12" fmla="*/ 233626 w 323875"/>
                <a:gd name="connsiteY12" fmla="*/ 69484 h 267920"/>
                <a:gd name="connsiteX13" fmla="*/ 190129 w 323875"/>
                <a:gd name="connsiteY13" fmla="*/ 98403 h 267920"/>
                <a:gd name="connsiteX14" fmla="*/ 115794 w 323875"/>
                <a:gd name="connsiteY14" fmla="*/ 149226 h 267920"/>
                <a:gd name="connsiteX15" fmla="*/ 98757 w 323875"/>
                <a:gd name="connsiteY15" fmla="*/ 158614 h 267920"/>
                <a:gd name="connsiteX16" fmla="*/ 66777 w 323875"/>
                <a:gd name="connsiteY16" fmla="*/ 160889 h 267920"/>
                <a:gd name="connsiteX17" fmla="*/ 15284 w 323875"/>
                <a:gd name="connsiteY17" fmla="*/ 146666 h 267920"/>
                <a:gd name="connsiteX18" fmla="*/ 4719 w 323875"/>
                <a:gd name="connsiteY18" fmla="*/ 141831 h 267920"/>
                <a:gd name="connsiteX19" fmla="*/ 3101 w 323875"/>
                <a:gd name="connsiteY19" fmla="*/ 127608 h 267920"/>
                <a:gd name="connsiteX20" fmla="*/ 16331 w 323875"/>
                <a:gd name="connsiteY20" fmla="*/ 118790 h 267920"/>
                <a:gd name="connsiteX21" fmla="*/ 281216 w 323875"/>
                <a:gd name="connsiteY21" fmla="*/ 6808 h 267920"/>
                <a:gd name="connsiteX22" fmla="*/ 299110 w 323875"/>
                <a:gd name="connsiteY22" fmla="*/ 835 h 267920"/>
                <a:gd name="connsiteX23" fmla="*/ 323857 w 323875"/>
                <a:gd name="connsiteY23" fmla="*/ 25962 h 26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23875" h="267920">
                  <a:moveTo>
                    <a:pt x="323762" y="26057"/>
                  </a:moveTo>
                  <a:cubicBezTo>
                    <a:pt x="321477" y="41986"/>
                    <a:pt x="318717" y="62183"/>
                    <a:pt x="315671" y="82284"/>
                  </a:cubicBezTo>
                  <a:cubicBezTo>
                    <a:pt x="307962" y="133297"/>
                    <a:pt x="300252" y="184215"/>
                    <a:pt x="292257" y="235227"/>
                  </a:cubicBezTo>
                  <a:cubicBezTo>
                    <a:pt x="291210" y="241865"/>
                    <a:pt x="289116" y="248597"/>
                    <a:pt x="286165" y="254665"/>
                  </a:cubicBezTo>
                  <a:cubicBezTo>
                    <a:pt x="280645" y="266138"/>
                    <a:pt x="271032" y="270405"/>
                    <a:pt x="258944" y="266518"/>
                  </a:cubicBezTo>
                  <a:cubicBezTo>
                    <a:pt x="250949" y="263863"/>
                    <a:pt x="243144" y="259880"/>
                    <a:pt x="236101" y="255329"/>
                  </a:cubicBezTo>
                  <a:cubicBezTo>
                    <a:pt x="207547" y="236650"/>
                    <a:pt x="179374" y="217496"/>
                    <a:pt x="151106" y="198438"/>
                  </a:cubicBezTo>
                  <a:cubicBezTo>
                    <a:pt x="137781" y="189525"/>
                    <a:pt x="136353" y="177767"/>
                    <a:pt x="147965" y="166578"/>
                  </a:cubicBezTo>
                  <a:cubicBezTo>
                    <a:pt x="164336" y="150744"/>
                    <a:pt x="181278" y="135478"/>
                    <a:pt x="197934" y="119927"/>
                  </a:cubicBezTo>
                  <a:cubicBezTo>
                    <a:pt x="210783" y="107885"/>
                    <a:pt x="223442" y="95748"/>
                    <a:pt x="236196" y="83517"/>
                  </a:cubicBezTo>
                  <a:cubicBezTo>
                    <a:pt x="237909" y="81810"/>
                    <a:pt x="239432" y="80009"/>
                    <a:pt x="241050" y="78207"/>
                  </a:cubicBezTo>
                  <a:cubicBezTo>
                    <a:pt x="243335" y="75552"/>
                    <a:pt x="245524" y="72613"/>
                    <a:pt x="242668" y="69389"/>
                  </a:cubicBezTo>
                  <a:cubicBezTo>
                    <a:pt x="239908" y="66165"/>
                    <a:pt x="236482" y="67587"/>
                    <a:pt x="233626" y="69484"/>
                  </a:cubicBezTo>
                  <a:cubicBezTo>
                    <a:pt x="219064" y="79060"/>
                    <a:pt x="204501" y="88637"/>
                    <a:pt x="190129" y="98403"/>
                  </a:cubicBezTo>
                  <a:cubicBezTo>
                    <a:pt x="165288" y="115281"/>
                    <a:pt x="140636" y="132443"/>
                    <a:pt x="115794" y="149226"/>
                  </a:cubicBezTo>
                  <a:cubicBezTo>
                    <a:pt x="110464" y="152830"/>
                    <a:pt x="104658" y="155864"/>
                    <a:pt x="98757" y="158614"/>
                  </a:cubicBezTo>
                  <a:cubicBezTo>
                    <a:pt x="88478" y="163449"/>
                    <a:pt x="77912" y="164208"/>
                    <a:pt x="66777" y="160889"/>
                  </a:cubicBezTo>
                  <a:cubicBezTo>
                    <a:pt x="49739" y="155769"/>
                    <a:pt x="32417" y="151502"/>
                    <a:pt x="15284" y="146666"/>
                  </a:cubicBezTo>
                  <a:cubicBezTo>
                    <a:pt x="11572" y="145623"/>
                    <a:pt x="7955" y="143917"/>
                    <a:pt x="4719" y="141831"/>
                  </a:cubicBezTo>
                  <a:cubicBezTo>
                    <a:pt x="-801" y="138133"/>
                    <a:pt x="-1658" y="132254"/>
                    <a:pt x="3101" y="127608"/>
                  </a:cubicBezTo>
                  <a:cubicBezTo>
                    <a:pt x="6909" y="124005"/>
                    <a:pt x="11477" y="120781"/>
                    <a:pt x="16331" y="118790"/>
                  </a:cubicBezTo>
                  <a:cubicBezTo>
                    <a:pt x="104563" y="81336"/>
                    <a:pt x="192890" y="44072"/>
                    <a:pt x="281216" y="6808"/>
                  </a:cubicBezTo>
                  <a:cubicBezTo>
                    <a:pt x="287022" y="4343"/>
                    <a:pt x="293018" y="2162"/>
                    <a:pt x="299110" y="835"/>
                  </a:cubicBezTo>
                  <a:cubicBezTo>
                    <a:pt x="315766" y="-2674"/>
                    <a:pt x="324333" y="4722"/>
                    <a:pt x="323857" y="25962"/>
                  </a:cubicBezTo>
                  <a:close/>
                </a:path>
              </a:pathLst>
            </a:custGeom>
            <a:solidFill>
              <a:schemeClr val="tx2"/>
            </a:solidFill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25" name="Полилиния 524">
            <a:extLst>
              <a:ext uri="{FF2B5EF4-FFF2-40B4-BE49-F238E27FC236}">
                <a16:creationId xmlns:a16="http://schemas.microsoft.com/office/drawing/2014/main" id="{E89F4E4E-82BC-A8D1-8F97-50BDC7F86DEE}"/>
              </a:ext>
            </a:extLst>
          </p:cNvPr>
          <p:cNvSpPr/>
          <p:nvPr/>
        </p:nvSpPr>
        <p:spPr>
          <a:xfrm>
            <a:off x="505250" y="2841898"/>
            <a:ext cx="1248421" cy="1243612"/>
          </a:xfrm>
          <a:custGeom>
            <a:avLst/>
            <a:gdLst>
              <a:gd name="connsiteX0" fmla="*/ 564796 w 1485658"/>
              <a:gd name="connsiteY0" fmla="*/ 0 h 1479935"/>
              <a:gd name="connsiteX1" fmla="*/ 595348 w 1485658"/>
              <a:gd name="connsiteY1" fmla="*/ 30437 h 1479935"/>
              <a:gd name="connsiteX2" fmla="*/ 564796 w 1485658"/>
              <a:gd name="connsiteY2" fmla="*/ 60874 h 1479935"/>
              <a:gd name="connsiteX3" fmla="*/ 534243 w 1485658"/>
              <a:gd name="connsiteY3" fmla="*/ 30437 h 1479935"/>
              <a:gd name="connsiteX4" fmla="*/ 564796 w 1485658"/>
              <a:gd name="connsiteY4" fmla="*/ 0 h 1479935"/>
              <a:gd name="connsiteX5" fmla="*/ 593635 w 1485658"/>
              <a:gd name="connsiteY5" fmla="*/ 30437 h 1479935"/>
              <a:gd name="connsiteX6" fmla="*/ 624188 w 1485658"/>
              <a:gd name="connsiteY6" fmla="*/ 60874 h 1479935"/>
              <a:gd name="connsiteX7" fmla="*/ 654740 w 1485658"/>
              <a:gd name="connsiteY7" fmla="*/ 30437 h 1479935"/>
              <a:gd name="connsiteX8" fmla="*/ 624188 w 1485658"/>
              <a:gd name="connsiteY8" fmla="*/ 0 h 1479935"/>
              <a:gd name="connsiteX9" fmla="*/ 593635 w 1485658"/>
              <a:gd name="connsiteY9" fmla="*/ 30437 h 1479935"/>
              <a:gd name="connsiteX10" fmla="*/ 652932 w 1485658"/>
              <a:gd name="connsiteY10" fmla="*/ 30437 h 1479935"/>
              <a:gd name="connsiteX11" fmla="*/ 683485 w 1485658"/>
              <a:gd name="connsiteY11" fmla="*/ 60874 h 1479935"/>
              <a:gd name="connsiteX12" fmla="*/ 714037 w 1485658"/>
              <a:gd name="connsiteY12" fmla="*/ 30437 h 1479935"/>
              <a:gd name="connsiteX13" fmla="*/ 683485 w 1485658"/>
              <a:gd name="connsiteY13" fmla="*/ 0 h 1479935"/>
              <a:gd name="connsiteX14" fmla="*/ 652932 w 1485658"/>
              <a:gd name="connsiteY14" fmla="*/ 30437 h 1479935"/>
              <a:gd name="connsiteX15" fmla="*/ 831013 w 1485658"/>
              <a:gd name="connsiteY15" fmla="*/ 30437 h 1479935"/>
              <a:gd name="connsiteX16" fmla="*/ 861566 w 1485658"/>
              <a:gd name="connsiteY16" fmla="*/ 60874 h 1479935"/>
              <a:gd name="connsiteX17" fmla="*/ 892118 w 1485658"/>
              <a:gd name="connsiteY17" fmla="*/ 30437 h 1479935"/>
              <a:gd name="connsiteX18" fmla="*/ 861566 w 1485658"/>
              <a:gd name="connsiteY18" fmla="*/ 0 h 1479935"/>
              <a:gd name="connsiteX19" fmla="*/ 831013 w 1485658"/>
              <a:gd name="connsiteY19" fmla="*/ 30437 h 1479935"/>
              <a:gd name="connsiteX20" fmla="*/ 949702 w 1485658"/>
              <a:gd name="connsiteY20" fmla="*/ 30437 h 1479935"/>
              <a:gd name="connsiteX21" fmla="*/ 980255 w 1485658"/>
              <a:gd name="connsiteY21" fmla="*/ 60874 h 1479935"/>
              <a:gd name="connsiteX22" fmla="*/ 1010807 w 1485658"/>
              <a:gd name="connsiteY22" fmla="*/ 30437 h 1479935"/>
              <a:gd name="connsiteX23" fmla="*/ 980255 w 1485658"/>
              <a:gd name="connsiteY23" fmla="*/ 0 h 1479935"/>
              <a:gd name="connsiteX24" fmla="*/ 949702 w 1485658"/>
              <a:gd name="connsiteY24" fmla="*/ 30437 h 1479935"/>
              <a:gd name="connsiteX25" fmla="*/ 593635 w 1485658"/>
              <a:gd name="connsiteY25" fmla="*/ 89509 h 1479935"/>
              <a:gd name="connsiteX26" fmla="*/ 624188 w 1485658"/>
              <a:gd name="connsiteY26" fmla="*/ 119946 h 1479935"/>
              <a:gd name="connsiteX27" fmla="*/ 654740 w 1485658"/>
              <a:gd name="connsiteY27" fmla="*/ 89509 h 1479935"/>
              <a:gd name="connsiteX28" fmla="*/ 624188 w 1485658"/>
              <a:gd name="connsiteY28" fmla="*/ 59072 h 1479935"/>
              <a:gd name="connsiteX29" fmla="*/ 593635 w 1485658"/>
              <a:gd name="connsiteY29" fmla="*/ 89509 h 1479935"/>
              <a:gd name="connsiteX30" fmla="*/ 771621 w 1485658"/>
              <a:gd name="connsiteY30" fmla="*/ 89509 h 1479935"/>
              <a:gd name="connsiteX31" fmla="*/ 802174 w 1485658"/>
              <a:gd name="connsiteY31" fmla="*/ 119946 h 1479935"/>
              <a:gd name="connsiteX32" fmla="*/ 832726 w 1485658"/>
              <a:gd name="connsiteY32" fmla="*/ 89509 h 1479935"/>
              <a:gd name="connsiteX33" fmla="*/ 802174 w 1485658"/>
              <a:gd name="connsiteY33" fmla="*/ 59072 h 1479935"/>
              <a:gd name="connsiteX34" fmla="*/ 771621 w 1485658"/>
              <a:gd name="connsiteY34" fmla="*/ 89509 h 1479935"/>
              <a:gd name="connsiteX35" fmla="*/ 890310 w 1485658"/>
              <a:gd name="connsiteY35" fmla="*/ 89509 h 1479935"/>
              <a:gd name="connsiteX36" fmla="*/ 920863 w 1485658"/>
              <a:gd name="connsiteY36" fmla="*/ 119946 h 1479935"/>
              <a:gd name="connsiteX37" fmla="*/ 951415 w 1485658"/>
              <a:gd name="connsiteY37" fmla="*/ 89509 h 1479935"/>
              <a:gd name="connsiteX38" fmla="*/ 920863 w 1485658"/>
              <a:gd name="connsiteY38" fmla="*/ 59072 h 1479935"/>
              <a:gd name="connsiteX39" fmla="*/ 890310 w 1485658"/>
              <a:gd name="connsiteY39" fmla="*/ 89509 h 1479935"/>
              <a:gd name="connsiteX40" fmla="*/ 474851 w 1485658"/>
              <a:gd name="connsiteY40" fmla="*/ 148676 h 1479935"/>
              <a:gd name="connsiteX41" fmla="*/ 505404 w 1485658"/>
              <a:gd name="connsiteY41" fmla="*/ 179113 h 1479935"/>
              <a:gd name="connsiteX42" fmla="*/ 535956 w 1485658"/>
              <a:gd name="connsiteY42" fmla="*/ 148676 h 1479935"/>
              <a:gd name="connsiteX43" fmla="*/ 505404 w 1485658"/>
              <a:gd name="connsiteY43" fmla="*/ 118239 h 1479935"/>
              <a:gd name="connsiteX44" fmla="*/ 474851 w 1485658"/>
              <a:gd name="connsiteY44" fmla="*/ 148676 h 1479935"/>
              <a:gd name="connsiteX45" fmla="*/ 712324 w 1485658"/>
              <a:gd name="connsiteY45" fmla="*/ 148676 h 1479935"/>
              <a:gd name="connsiteX46" fmla="*/ 742877 w 1485658"/>
              <a:gd name="connsiteY46" fmla="*/ 179113 h 1479935"/>
              <a:gd name="connsiteX47" fmla="*/ 773429 w 1485658"/>
              <a:gd name="connsiteY47" fmla="*/ 148676 h 1479935"/>
              <a:gd name="connsiteX48" fmla="*/ 742877 w 1485658"/>
              <a:gd name="connsiteY48" fmla="*/ 118239 h 1479935"/>
              <a:gd name="connsiteX49" fmla="*/ 712324 w 1485658"/>
              <a:gd name="connsiteY49" fmla="*/ 148676 h 1479935"/>
              <a:gd name="connsiteX50" fmla="*/ 949702 w 1485658"/>
              <a:gd name="connsiteY50" fmla="*/ 148676 h 1479935"/>
              <a:gd name="connsiteX51" fmla="*/ 980255 w 1485658"/>
              <a:gd name="connsiteY51" fmla="*/ 179113 h 1479935"/>
              <a:gd name="connsiteX52" fmla="*/ 1010807 w 1485658"/>
              <a:gd name="connsiteY52" fmla="*/ 148676 h 1479935"/>
              <a:gd name="connsiteX53" fmla="*/ 980255 w 1485658"/>
              <a:gd name="connsiteY53" fmla="*/ 118239 h 1479935"/>
              <a:gd name="connsiteX54" fmla="*/ 949702 w 1485658"/>
              <a:gd name="connsiteY54" fmla="*/ 148676 h 1479935"/>
              <a:gd name="connsiteX55" fmla="*/ 474851 w 1485658"/>
              <a:gd name="connsiteY55" fmla="*/ 207843 h 1479935"/>
              <a:gd name="connsiteX56" fmla="*/ 505404 w 1485658"/>
              <a:gd name="connsiteY56" fmla="*/ 238280 h 1479935"/>
              <a:gd name="connsiteX57" fmla="*/ 535956 w 1485658"/>
              <a:gd name="connsiteY57" fmla="*/ 207843 h 1479935"/>
              <a:gd name="connsiteX58" fmla="*/ 505404 w 1485658"/>
              <a:gd name="connsiteY58" fmla="*/ 177406 h 1479935"/>
              <a:gd name="connsiteX59" fmla="*/ 474851 w 1485658"/>
              <a:gd name="connsiteY59" fmla="*/ 207843 h 1479935"/>
              <a:gd name="connsiteX60" fmla="*/ 534243 w 1485658"/>
              <a:gd name="connsiteY60" fmla="*/ 207843 h 1479935"/>
              <a:gd name="connsiteX61" fmla="*/ 564796 w 1485658"/>
              <a:gd name="connsiteY61" fmla="*/ 238280 h 1479935"/>
              <a:gd name="connsiteX62" fmla="*/ 595348 w 1485658"/>
              <a:gd name="connsiteY62" fmla="*/ 207843 h 1479935"/>
              <a:gd name="connsiteX63" fmla="*/ 564796 w 1485658"/>
              <a:gd name="connsiteY63" fmla="*/ 177406 h 1479935"/>
              <a:gd name="connsiteX64" fmla="*/ 534243 w 1485658"/>
              <a:gd name="connsiteY64" fmla="*/ 207843 h 1479935"/>
              <a:gd name="connsiteX65" fmla="*/ 593635 w 1485658"/>
              <a:gd name="connsiteY65" fmla="*/ 207843 h 1479935"/>
              <a:gd name="connsiteX66" fmla="*/ 624188 w 1485658"/>
              <a:gd name="connsiteY66" fmla="*/ 238280 h 1479935"/>
              <a:gd name="connsiteX67" fmla="*/ 654740 w 1485658"/>
              <a:gd name="connsiteY67" fmla="*/ 207843 h 1479935"/>
              <a:gd name="connsiteX68" fmla="*/ 624188 w 1485658"/>
              <a:gd name="connsiteY68" fmla="*/ 177406 h 1479935"/>
              <a:gd name="connsiteX69" fmla="*/ 593635 w 1485658"/>
              <a:gd name="connsiteY69" fmla="*/ 207843 h 1479935"/>
              <a:gd name="connsiteX70" fmla="*/ 652932 w 1485658"/>
              <a:gd name="connsiteY70" fmla="*/ 207843 h 1479935"/>
              <a:gd name="connsiteX71" fmla="*/ 683485 w 1485658"/>
              <a:gd name="connsiteY71" fmla="*/ 238280 h 1479935"/>
              <a:gd name="connsiteX72" fmla="*/ 714037 w 1485658"/>
              <a:gd name="connsiteY72" fmla="*/ 207843 h 1479935"/>
              <a:gd name="connsiteX73" fmla="*/ 683485 w 1485658"/>
              <a:gd name="connsiteY73" fmla="*/ 177406 h 1479935"/>
              <a:gd name="connsiteX74" fmla="*/ 652932 w 1485658"/>
              <a:gd name="connsiteY74" fmla="*/ 207843 h 1479935"/>
              <a:gd name="connsiteX75" fmla="*/ 771621 w 1485658"/>
              <a:gd name="connsiteY75" fmla="*/ 207843 h 1479935"/>
              <a:gd name="connsiteX76" fmla="*/ 802174 w 1485658"/>
              <a:gd name="connsiteY76" fmla="*/ 238280 h 1479935"/>
              <a:gd name="connsiteX77" fmla="*/ 832726 w 1485658"/>
              <a:gd name="connsiteY77" fmla="*/ 207843 h 1479935"/>
              <a:gd name="connsiteX78" fmla="*/ 802174 w 1485658"/>
              <a:gd name="connsiteY78" fmla="*/ 177406 h 1479935"/>
              <a:gd name="connsiteX79" fmla="*/ 771621 w 1485658"/>
              <a:gd name="connsiteY79" fmla="*/ 207843 h 1479935"/>
              <a:gd name="connsiteX80" fmla="*/ 831013 w 1485658"/>
              <a:gd name="connsiteY80" fmla="*/ 207843 h 1479935"/>
              <a:gd name="connsiteX81" fmla="*/ 861566 w 1485658"/>
              <a:gd name="connsiteY81" fmla="*/ 238280 h 1479935"/>
              <a:gd name="connsiteX82" fmla="*/ 892118 w 1485658"/>
              <a:gd name="connsiteY82" fmla="*/ 207843 h 1479935"/>
              <a:gd name="connsiteX83" fmla="*/ 861566 w 1485658"/>
              <a:gd name="connsiteY83" fmla="*/ 177406 h 1479935"/>
              <a:gd name="connsiteX84" fmla="*/ 831013 w 1485658"/>
              <a:gd name="connsiteY84" fmla="*/ 207843 h 1479935"/>
              <a:gd name="connsiteX85" fmla="*/ 474851 w 1485658"/>
              <a:gd name="connsiteY85" fmla="*/ 266915 h 1479935"/>
              <a:gd name="connsiteX86" fmla="*/ 505404 w 1485658"/>
              <a:gd name="connsiteY86" fmla="*/ 297352 h 1479935"/>
              <a:gd name="connsiteX87" fmla="*/ 535956 w 1485658"/>
              <a:gd name="connsiteY87" fmla="*/ 266915 h 1479935"/>
              <a:gd name="connsiteX88" fmla="*/ 505404 w 1485658"/>
              <a:gd name="connsiteY88" fmla="*/ 236479 h 1479935"/>
              <a:gd name="connsiteX89" fmla="*/ 474851 w 1485658"/>
              <a:gd name="connsiteY89" fmla="*/ 266915 h 1479935"/>
              <a:gd name="connsiteX90" fmla="*/ 652932 w 1485658"/>
              <a:gd name="connsiteY90" fmla="*/ 266915 h 1479935"/>
              <a:gd name="connsiteX91" fmla="*/ 683485 w 1485658"/>
              <a:gd name="connsiteY91" fmla="*/ 297352 h 1479935"/>
              <a:gd name="connsiteX92" fmla="*/ 714037 w 1485658"/>
              <a:gd name="connsiteY92" fmla="*/ 266915 h 1479935"/>
              <a:gd name="connsiteX93" fmla="*/ 683485 w 1485658"/>
              <a:gd name="connsiteY93" fmla="*/ 236479 h 1479935"/>
              <a:gd name="connsiteX94" fmla="*/ 652932 w 1485658"/>
              <a:gd name="connsiteY94" fmla="*/ 266915 h 1479935"/>
              <a:gd name="connsiteX95" fmla="*/ 712324 w 1485658"/>
              <a:gd name="connsiteY95" fmla="*/ 266915 h 1479935"/>
              <a:gd name="connsiteX96" fmla="*/ 742877 w 1485658"/>
              <a:gd name="connsiteY96" fmla="*/ 297352 h 1479935"/>
              <a:gd name="connsiteX97" fmla="*/ 773429 w 1485658"/>
              <a:gd name="connsiteY97" fmla="*/ 266915 h 1479935"/>
              <a:gd name="connsiteX98" fmla="*/ 742877 w 1485658"/>
              <a:gd name="connsiteY98" fmla="*/ 236479 h 1479935"/>
              <a:gd name="connsiteX99" fmla="*/ 712324 w 1485658"/>
              <a:gd name="connsiteY99" fmla="*/ 266915 h 1479935"/>
              <a:gd name="connsiteX100" fmla="*/ 831013 w 1485658"/>
              <a:gd name="connsiteY100" fmla="*/ 266915 h 1479935"/>
              <a:gd name="connsiteX101" fmla="*/ 861566 w 1485658"/>
              <a:gd name="connsiteY101" fmla="*/ 297352 h 1479935"/>
              <a:gd name="connsiteX102" fmla="*/ 892118 w 1485658"/>
              <a:gd name="connsiteY102" fmla="*/ 266915 h 1479935"/>
              <a:gd name="connsiteX103" fmla="*/ 861566 w 1485658"/>
              <a:gd name="connsiteY103" fmla="*/ 236479 h 1479935"/>
              <a:gd name="connsiteX104" fmla="*/ 831013 w 1485658"/>
              <a:gd name="connsiteY104" fmla="*/ 266915 h 1479935"/>
              <a:gd name="connsiteX105" fmla="*/ 474851 w 1485658"/>
              <a:gd name="connsiteY105" fmla="*/ 326083 h 1479935"/>
              <a:gd name="connsiteX106" fmla="*/ 505404 w 1485658"/>
              <a:gd name="connsiteY106" fmla="*/ 356519 h 1479935"/>
              <a:gd name="connsiteX107" fmla="*/ 535956 w 1485658"/>
              <a:gd name="connsiteY107" fmla="*/ 326083 h 1479935"/>
              <a:gd name="connsiteX108" fmla="*/ 505404 w 1485658"/>
              <a:gd name="connsiteY108" fmla="*/ 295646 h 1479935"/>
              <a:gd name="connsiteX109" fmla="*/ 474851 w 1485658"/>
              <a:gd name="connsiteY109" fmla="*/ 326083 h 1479935"/>
              <a:gd name="connsiteX110" fmla="*/ 593635 w 1485658"/>
              <a:gd name="connsiteY110" fmla="*/ 326083 h 1479935"/>
              <a:gd name="connsiteX111" fmla="*/ 624188 w 1485658"/>
              <a:gd name="connsiteY111" fmla="*/ 356519 h 1479935"/>
              <a:gd name="connsiteX112" fmla="*/ 654740 w 1485658"/>
              <a:gd name="connsiteY112" fmla="*/ 326083 h 1479935"/>
              <a:gd name="connsiteX113" fmla="*/ 624188 w 1485658"/>
              <a:gd name="connsiteY113" fmla="*/ 295646 h 1479935"/>
              <a:gd name="connsiteX114" fmla="*/ 593635 w 1485658"/>
              <a:gd name="connsiteY114" fmla="*/ 326083 h 1479935"/>
              <a:gd name="connsiteX115" fmla="*/ 831013 w 1485658"/>
              <a:gd name="connsiteY115" fmla="*/ 326083 h 1479935"/>
              <a:gd name="connsiteX116" fmla="*/ 861566 w 1485658"/>
              <a:gd name="connsiteY116" fmla="*/ 356519 h 1479935"/>
              <a:gd name="connsiteX117" fmla="*/ 892118 w 1485658"/>
              <a:gd name="connsiteY117" fmla="*/ 326083 h 1479935"/>
              <a:gd name="connsiteX118" fmla="*/ 861566 w 1485658"/>
              <a:gd name="connsiteY118" fmla="*/ 295646 h 1479935"/>
              <a:gd name="connsiteX119" fmla="*/ 831013 w 1485658"/>
              <a:gd name="connsiteY119" fmla="*/ 326083 h 1479935"/>
              <a:gd name="connsiteX120" fmla="*/ 890310 w 1485658"/>
              <a:gd name="connsiteY120" fmla="*/ 326083 h 1479935"/>
              <a:gd name="connsiteX121" fmla="*/ 920863 w 1485658"/>
              <a:gd name="connsiteY121" fmla="*/ 356519 h 1479935"/>
              <a:gd name="connsiteX122" fmla="*/ 951415 w 1485658"/>
              <a:gd name="connsiteY122" fmla="*/ 326083 h 1479935"/>
              <a:gd name="connsiteX123" fmla="*/ 920863 w 1485658"/>
              <a:gd name="connsiteY123" fmla="*/ 295646 h 1479935"/>
              <a:gd name="connsiteX124" fmla="*/ 890310 w 1485658"/>
              <a:gd name="connsiteY124" fmla="*/ 326083 h 1479935"/>
              <a:gd name="connsiteX125" fmla="*/ 949702 w 1485658"/>
              <a:gd name="connsiteY125" fmla="*/ 326083 h 1479935"/>
              <a:gd name="connsiteX126" fmla="*/ 980255 w 1485658"/>
              <a:gd name="connsiteY126" fmla="*/ 356519 h 1479935"/>
              <a:gd name="connsiteX127" fmla="*/ 1010807 w 1485658"/>
              <a:gd name="connsiteY127" fmla="*/ 326083 h 1479935"/>
              <a:gd name="connsiteX128" fmla="*/ 980255 w 1485658"/>
              <a:gd name="connsiteY128" fmla="*/ 295646 h 1479935"/>
              <a:gd name="connsiteX129" fmla="*/ 949702 w 1485658"/>
              <a:gd name="connsiteY129" fmla="*/ 326083 h 1479935"/>
              <a:gd name="connsiteX130" fmla="*/ 474851 w 1485658"/>
              <a:gd name="connsiteY130" fmla="*/ 385155 h 1479935"/>
              <a:gd name="connsiteX131" fmla="*/ 505404 w 1485658"/>
              <a:gd name="connsiteY131" fmla="*/ 415592 h 1479935"/>
              <a:gd name="connsiteX132" fmla="*/ 535956 w 1485658"/>
              <a:gd name="connsiteY132" fmla="*/ 385155 h 1479935"/>
              <a:gd name="connsiteX133" fmla="*/ 505404 w 1485658"/>
              <a:gd name="connsiteY133" fmla="*/ 354718 h 1479935"/>
              <a:gd name="connsiteX134" fmla="*/ 474851 w 1485658"/>
              <a:gd name="connsiteY134" fmla="*/ 385155 h 1479935"/>
              <a:gd name="connsiteX135" fmla="*/ 593635 w 1485658"/>
              <a:gd name="connsiteY135" fmla="*/ 385155 h 1479935"/>
              <a:gd name="connsiteX136" fmla="*/ 624188 w 1485658"/>
              <a:gd name="connsiteY136" fmla="*/ 415592 h 1479935"/>
              <a:gd name="connsiteX137" fmla="*/ 654740 w 1485658"/>
              <a:gd name="connsiteY137" fmla="*/ 385155 h 1479935"/>
              <a:gd name="connsiteX138" fmla="*/ 624188 w 1485658"/>
              <a:gd name="connsiteY138" fmla="*/ 354718 h 1479935"/>
              <a:gd name="connsiteX139" fmla="*/ 593635 w 1485658"/>
              <a:gd name="connsiteY139" fmla="*/ 385155 h 1479935"/>
              <a:gd name="connsiteX140" fmla="*/ 712324 w 1485658"/>
              <a:gd name="connsiteY140" fmla="*/ 385155 h 1479935"/>
              <a:gd name="connsiteX141" fmla="*/ 742877 w 1485658"/>
              <a:gd name="connsiteY141" fmla="*/ 415592 h 1479935"/>
              <a:gd name="connsiteX142" fmla="*/ 773429 w 1485658"/>
              <a:gd name="connsiteY142" fmla="*/ 385155 h 1479935"/>
              <a:gd name="connsiteX143" fmla="*/ 742877 w 1485658"/>
              <a:gd name="connsiteY143" fmla="*/ 354718 h 1479935"/>
              <a:gd name="connsiteX144" fmla="*/ 712324 w 1485658"/>
              <a:gd name="connsiteY144" fmla="*/ 385155 h 1479935"/>
              <a:gd name="connsiteX145" fmla="*/ 831013 w 1485658"/>
              <a:gd name="connsiteY145" fmla="*/ 385155 h 1479935"/>
              <a:gd name="connsiteX146" fmla="*/ 861566 w 1485658"/>
              <a:gd name="connsiteY146" fmla="*/ 415592 h 1479935"/>
              <a:gd name="connsiteX147" fmla="*/ 892118 w 1485658"/>
              <a:gd name="connsiteY147" fmla="*/ 385155 h 1479935"/>
              <a:gd name="connsiteX148" fmla="*/ 861566 w 1485658"/>
              <a:gd name="connsiteY148" fmla="*/ 354718 h 1479935"/>
              <a:gd name="connsiteX149" fmla="*/ 831013 w 1485658"/>
              <a:gd name="connsiteY149" fmla="*/ 385155 h 1479935"/>
              <a:gd name="connsiteX150" fmla="*/ 949702 w 1485658"/>
              <a:gd name="connsiteY150" fmla="*/ 385155 h 1479935"/>
              <a:gd name="connsiteX151" fmla="*/ 980255 w 1485658"/>
              <a:gd name="connsiteY151" fmla="*/ 415592 h 1479935"/>
              <a:gd name="connsiteX152" fmla="*/ 1010807 w 1485658"/>
              <a:gd name="connsiteY152" fmla="*/ 385155 h 1479935"/>
              <a:gd name="connsiteX153" fmla="*/ 980255 w 1485658"/>
              <a:gd name="connsiteY153" fmla="*/ 354718 h 1479935"/>
              <a:gd name="connsiteX154" fmla="*/ 949702 w 1485658"/>
              <a:gd name="connsiteY154" fmla="*/ 385155 h 1479935"/>
              <a:gd name="connsiteX155" fmla="*/ 474851 w 1485658"/>
              <a:gd name="connsiteY155" fmla="*/ 444322 h 1479935"/>
              <a:gd name="connsiteX156" fmla="*/ 505404 w 1485658"/>
              <a:gd name="connsiteY156" fmla="*/ 474759 h 1479935"/>
              <a:gd name="connsiteX157" fmla="*/ 535956 w 1485658"/>
              <a:gd name="connsiteY157" fmla="*/ 444322 h 1479935"/>
              <a:gd name="connsiteX158" fmla="*/ 505404 w 1485658"/>
              <a:gd name="connsiteY158" fmla="*/ 413885 h 1479935"/>
              <a:gd name="connsiteX159" fmla="*/ 474851 w 1485658"/>
              <a:gd name="connsiteY159" fmla="*/ 444322 h 1479935"/>
              <a:gd name="connsiteX160" fmla="*/ 831013 w 1485658"/>
              <a:gd name="connsiteY160" fmla="*/ 444322 h 1479935"/>
              <a:gd name="connsiteX161" fmla="*/ 861566 w 1485658"/>
              <a:gd name="connsiteY161" fmla="*/ 474759 h 1479935"/>
              <a:gd name="connsiteX162" fmla="*/ 892118 w 1485658"/>
              <a:gd name="connsiteY162" fmla="*/ 444322 h 1479935"/>
              <a:gd name="connsiteX163" fmla="*/ 861566 w 1485658"/>
              <a:gd name="connsiteY163" fmla="*/ 413885 h 1479935"/>
              <a:gd name="connsiteX164" fmla="*/ 831013 w 1485658"/>
              <a:gd name="connsiteY164" fmla="*/ 444322 h 1479935"/>
              <a:gd name="connsiteX165" fmla="*/ 890310 w 1485658"/>
              <a:gd name="connsiteY165" fmla="*/ 444322 h 1479935"/>
              <a:gd name="connsiteX166" fmla="*/ 920863 w 1485658"/>
              <a:gd name="connsiteY166" fmla="*/ 474759 h 1479935"/>
              <a:gd name="connsiteX167" fmla="*/ 951415 w 1485658"/>
              <a:gd name="connsiteY167" fmla="*/ 444322 h 1479935"/>
              <a:gd name="connsiteX168" fmla="*/ 920863 w 1485658"/>
              <a:gd name="connsiteY168" fmla="*/ 413885 h 1479935"/>
              <a:gd name="connsiteX169" fmla="*/ 890310 w 1485658"/>
              <a:gd name="connsiteY169" fmla="*/ 444322 h 1479935"/>
              <a:gd name="connsiteX170" fmla="*/ 95 w 1485658"/>
              <a:gd name="connsiteY170" fmla="*/ 503394 h 1479935"/>
              <a:gd name="connsiteX171" fmla="*/ 30648 w 1485658"/>
              <a:gd name="connsiteY171" fmla="*/ 533831 h 1479935"/>
              <a:gd name="connsiteX172" fmla="*/ 61200 w 1485658"/>
              <a:gd name="connsiteY172" fmla="*/ 503394 h 1479935"/>
              <a:gd name="connsiteX173" fmla="*/ 30648 w 1485658"/>
              <a:gd name="connsiteY173" fmla="*/ 472957 h 1479935"/>
              <a:gd name="connsiteX174" fmla="*/ 95 w 1485658"/>
              <a:gd name="connsiteY174" fmla="*/ 503394 h 1479935"/>
              <a:gd name="connsiteX175" fmla="*/ 118784 w 1485658"/>
              <a:gd name="connsiteY175" fmla="*/ 503394 h 1479935"/>
              <a:gd name="connsiteX176" fmla="*/ 149337 w 1485658"/>
              <a:gd name="connsiteY176" fmla="*/ 533831 h 1479935"/>
              <a:gd name="connsiteX177" fmla="*/ 179889 w 1485658"/>
              <a:gd name="connsiteY177" fmla="*/ 503394 h 1479935"/>
              <a:gd name="connsiteX178" fmla="*/ 149337 w 1485658"/>
              <a:gd name="connsiteY178" fmla="*/ 472957 h 1479935"/>
              <a:gd name="connsiteX179" fmla="*/ 118784 w 1485658"/>
              <a:gd name="connsiteY179" fmla="*/ 503394 h 1479935"/>
              <a:gd name="connsiteX180" fmla="*/ 178081 w 1485658"/>
              <a:gd name="connsiteY180" fmla="*/ 503394 h 1479935"/>
              <a:gd name="connsiteX181" fmla="*/ 208634 w 1485658"/>
              <a:gd name="connsiteY181" fmla="*/ 533831 h 1479935"/>
              <a:gd name="connsiteX182" fmla="*/ 239186 w 1485658"/>
              <a:gd name="connsiteY182" fmla="*/ 503394 h 1479935"/>
              <a:gd name="connsiteX183" fmla="*/ 208634 w 1485658"/>
              <a:gd name="connsiteY183" fmla="*/ 472957 h 1479935"/>
              <a:gd name="connsiteX184" fmla="*/ 178081 w 1485658"/>
              <a:gd name="connsiteY184" fmla="*/ 503394 h 1479935"/>
              <a:gd name="connsiteX185" fmla="*/ 237473 w 1485658"/>
              <a:gd name="connsiteY185" fmla="*/ 503394 h 1479935"/>
              <a:gd name="connsiteX186" fmla="*/ 268026 w 1485658"/>
              <a:gd name="connsiteY186" fmla="*/ 533831 h 1479935"/>
              <a:gd name="connsiteX187" fmla="*/ 298578 w 1485658"/>
              <a:gd name="connsiteY187" fmla="*/ 503394 h 1479935"/>
              <a:gd name="connsiteX188" fmla="*/ 268026 w 1485658"/>
              <a:gd name="connsiteY188" fmla="*/ 472957 h 1479935"/>
              <a:gd name="connsiteX189" fmla="*/ 237473 w 1485658"/>
              <a:gd name="connsiteY189" fmla="*/ 503394 h 1479935"/>
              <a:gd name="connsiteX190" fmla="*/ 296865 w 1485658"/>
              <a:gd name="connsiteY190" fmla="*/ 503394 h 1479935"/>
              <a:gd name="connsiteX191" fmla="*/ 327418 w 1485658"/>
              <a:gd name="connsiteY191" fmla="*/ 533831 h 1479935"/>
              <a:gd name="connsiteX192" fmla="*/ 357970 w 1485658"/>
              <a:gd name="connsiteY192" fmla="*/ 503394 h 1479935"/>
              <a:gd name="connsiteX193" fmla="*/ 327418 w 1485658"/>
              <a:gd name="connsiteY193" fmla="*/ 472957 h 1479935"/>
              <a:gd name="connsiteX194" fmla="*/ 296865 w 1485658"/>
              <a:gd name="connsiteY194" fmla="*/ 503394 h 1479935"/>
              <a:gd name="connsiteX195" fmla="*/ 356162 w 1485658"/>
              <a:gd name="connsiteY195" fmla="*/ 503394 h 1479935"/>
              <a:gd name="connsiteX196" fmla="*/ 386715 w 1485658"/>
              <a:gd name="connsiteY196" fmla="*/ 533831 h 1479935"/>
              <a:gd name="connsiteX197" fmla="*/ 417267 w 1485658"/>
              <a:gd name="connsiteY197" fmla="*/ 503394 h 1479935"/>
              <a:gd name="connsiteX198" fmla="*/ 386715 w 1485658"/>
              <a:gd name="connsiteY198" fmla="*/ 472957 h 1479935"/>
              <a:gd name="connsiteX199" fmla="*/ 356162 w 1485658"/>
              <a:gd name="connsiteY199" fmla="*/ 503394 h 1479935"/>
              <a:gd name="connsiteX200" fmla="*/ 534243 w 1485658"/>
              <a:gd name="connsiteY200" fmla="*/ 503394 h 1479935"/>
              <a:gd name="connsiteX201" fmla="*/ 564796 w 1485658"/>
              <a:gd name="connsiteY201" fmla="*/ 533831 h 1479935"/>
              <a:gd name="connsiteX202" fmla="*/ 595348 w 1485658"/>
              <a:gd name="connsiteY202" fmla="*/ 503394 h 1479935"/>
              <a:gd name="connsiteX203" fmla="*/ 564796 w 1485658"/>
              <a:gd name="connsiteY203" fmla="*/ 472957 h 1479935"/>
              <a:gd name="connsiteX204" fmla="*/ 534243 w 1485658"/>
              <a:gd name="connsiteY204" fmla="*/ 503394 h 1479935"/>
              <a:gd name="connsiteX205" fmla="*/ 712324 w 1485658"/>
              <a:gd name="connsiteY205" fmla="*/ 503394 h 1479935"/>
              <a:gd name="connsiteX206" fmla="*/ 742877 w 1485658"/>
              <a:gd name="connsiteY206" fmla="*/ 533831 h 1479935"/>
              <a:gd name="connsiteX207" fmla="*/ 773429 w 1485658"/>
              <a:gd name="connsiteY207" fmla="*/ 503394 h 1479935"/>
              <a:gd name="connsiteX208" fmla="*/ 742877 w 1485658"/>
              <a:gd name="connsiteY208" fmla="*/ 472957 h 1479935"/>
              <a:gd name="connsiteX209" fmla="*/ 712324 w 1485658"/>
              <a:gd name="connsiteY209" fmla="*/ 503394 h 1479935"/>
              <a:gd name="connsiteX210" fmla="*/ 771621 w 1485658"/>
              <a:gd name="connsiteY210" fmla="*/ 503394 h 1479935"/>
              <a:gd name="connsiteX211" fmla="*/ 802174 w 1485658"/>
              <a:gd name="connsiteY211" fmla="*/ 533831 h 1479935"/>
              <a:gd name="connsiteX212" fmla="*/ 832726 w 1485658"/>
              <a:gd name="connsiteY212" fmla="*/ 503394 h 1479935"/>
              <a:gd name="connsiteX213" fmla="*/ 802174 w 1485658"/>
              <a:gd name="connsiteY213" fmla="*/ 472957 h 1479935"/>
              <a:gd name="connsiteX214" fmla="*/ 771621 w 1485658"/>
              <a:gd name="connsiteY214" fmla="*/ 503394 h 1479935"/>
              <a:gd name="connsiteX215" fmla="*/ 949702 w 1485658"/>
              <a:gd name="connsiteY215" fmla="*/ 503394 h 1479935"/>
              <a:gd name="connsiteX216" fmla="*/ 980255 w 1485658"/>
              <a:gd name="connsiteY216" fmla="*/ 533831 h 1479935"/>
              <a:gd name="connsiteX217" fmla="*/ 1010807 w 1485658"/>
              <a:gd name="connsiteY217" fmla="*/ 503394 h 1479935"/>
              <a:gd name="connsiteX218" fmla="*/ 980255 w 1485658"/>
              <a:gd name="connsiteY218" fmla="*/ 472957 h 1479935"/>
              <a:gd name="connsiteX219" fmla="*/ 949702 w 1485658"/>
              <a:gd name="connsiteY219" fmla="*/ 503394 h 1479935"/>
              <a:gd name="connsiteX220" fmla="*/ 1068391 w 1485658"/>
              <a:gd name="connsiteY220" fmla="*/ 503394 h 1479935"/>
              <a:gd name="connsiteX221" fmla="*/ 1098944 w 1485658"/>
              <a:gd name="connsiteY221" fmla="*/ 533831 h 1479935"/>
              <a:gd name="connsiteX222" fmla="*/ 1129496 w 1485658"/>
              <a:gd name="connsiteY222" fmla="*/ 503394 h 1479935"/>
              <a:gd name="connsiteX223" fmla="*/ 1098944 w 1485658"/>
              <a:gd name="connsiteY223" fmla="*/ 472957 h 1479935"/>
              <a:gd name="connsiteX224" fmla="*/ 1068391 w 1485658"/>
              <a:gd name="connsiteY224" fmla="*/ 503394 h 1479935"/>
              <a:gd name="connsiteX225" fmla="*/ 1127783 w 1485658"/>
              <a:gd name="connsiteY225" fmla="*/ 503394 h 1479935"/>
              <a:gd name="connsiteX226" fmla="*/ 1158336 w 1485658"/>
              <a:gd name="connsiteY226" fmla="*/ 533831 h 1479935"/>
              <a:gd name="connsiteX227" fmla="*/ 1188888 w 1485658"/>
              <a:gd name="connsiteY227" fmla="*/ 503394 h 1479935"/>
              <a:gd name="connsiteX228" fmla="*/ 1158336 w 1485658"/>
              <a:gd name="connsiteY228" fmla="*/ 472957 h 1479935"/>
              <a:gd name="connsiteX229" fmla="*/ 1127783 w 1485658"/>
              <a:gd name="connsiteY229" fmla="*/ 503394 h 1479935"/>
              <a:gd name="connsiteX230" fmla="*/ 1187080 w 1485658"/>
              <a:gd name="connsiteY230" fmla="*/ 503394 h 1479935"/>
              <a:gd name="connsiteX231" fmla="*/ 1217633 w 1485658"/>
              <a:gd name="connsiteY231" fmla="*/ 533831 h 1479935"/>
              <a:gd name="connsiteX232" fmla="*/ 1248185 w 1485658"/>
              <a:gd name="connsiteY232" fmla="*/ 503394 h 1479935"/>
              <a:gd name="connsiteX233" fmla="*/ 1217633 w 1485658"/>
              <a:gd name="connsiteY233" fmla="*/ 472957 h 1479935"/>
              <a:gd name="connsiteX234" fmla="*/ 1187080 w 1485658"/>
              <a:gd name="connsiteY234" fmla="*/ 503394 h 1479935"/>
              <a:gd name="connsiteX235" fmla="*/ 1246472 w 1485658"/>
              <a:gd name="connsiteY235" fmla="*/ 503394 h 1479935"/>
              <a:gd name="connsiteX236" fmla="*/ 1277025 w 1485658"/>
              <a:gd name="connsiteY236" fmla="*/ 533831 h 1479935"/>
              <a:gd name="connsiteX237" fmla="*/ 1307577 w 1485658"/>
              <a:gd name="connsiteY237" fmla="*/ 503394 h 1479935"/>
              <a:gd name="connsiteX238" fmla="*/ 1277025 w 1485658"/>
              <a:gd name="connsiteY238" fmla="*/ 472957 h 1479935"/>
              <a:gd name="connsiteX239" fmla="*/ 1246472 w 1485658"/>
              <a:gd name="connsiteY239" fmla="*/ 503394 h 1479935"/>
              <a:gd name="connsiteX240" fmla="*/ 1305769 w 1485658"/>
              <a:gd name="connsiteY240" fmla="*/ 503394 h 1479935"/>
              <a:gd name="connsiteX241" fmla="*/ 1336322 w 1485658"/>
              <a:gd name="connsiteY241" fmla="*/ 533831 h 1479935"/>
              <a:gd name="connsiteX242" fmla="*/ 1366874 w 1485658"/>
              <a:gd name="connsiteY242" fmla="*/ 503394 h 1479935"/>
              <a:gd name="connsiteX243" fmla="*/ 1336322 w 1485658"/>
              <a:gd name="connsiteY243" fmla="*/ 472957 h 1479935"/>
              <a:gd name="connsiteX244" fmla="*/ 1305769 w 1485658"/>
              <a:gd name="connsiteY244" fmla="*/ 503394 h 1479935"/>
              <a:gd name="connsiteX245" fmla="*/ 95 w 1485658"/>
              <a:gd name="connsiteY245" fmla="*/ 562561 h 1479935"/>
              <a:gd name="connsiteX246" fmla="*/ 30648 w 1485658"/>
              <a:gd name="connsiteY246" fmla="*/ 592998 h 1479935"/>
              <a:gd name="connsiteX247" fmla="*/ 61200 w 1485658"/>
              <a:gd name="connsiteY247" fmla="*/ 562561 h 1479935"/>
              <a:gd name="connsiteX248" fmla="*/ 30648 w 1485658"/>
              <a:gd name="connsiteY248" fmla="*/ 532124 h 1479935"/>
              <a:gd name="connsiteX249" fmla="*/ 95 w 1485658"/>
              <a:gd name="connsiteY249" fmla="*/ 562561 h 1479935"/>
              <a:gd name="connsiteX250" fmla="*/ 118784 w 1485658"/>
              <a:gd name="connsiteY250" fmla="*/ 562561 h 1479935"/>
              <a:gd name="connsiteX251" fmla="*/ 149337 w 1485658"/>
              <a:gd name="connsiteY251" fmla="*/ 592998 h 1479935"/>
              <a:gd name="connsiteX252" fmla="*/ 179889 w 1485658"/>
              <a:gd name="connsiteY252" fmla="*/ 562561 h 1479935"/>
              <a:gd name="connsiteX253" fmla="*/ 149337 w 1485658"/>
              <a:gd name="connsiteY253" fmla="*/ 532124 h 1479935"/>
              <a:gd name="connsiteX254" fmla="*/ 118784 w 1485658"/>
              <a:gd name="connsiteY254" fmla="*/ 562561 h 1479935"/>
              <a:gd name="connsiteX255" fmla="*/ 237473 w 1485658"/>
              <a:gd name="connsiteY255" fmla="*/ 562561 h 1479935"/>
              <a:gd name="connsiteX256" fmla="*/ 268026 w 1485658"/>
              <a:gd name="connsiteY256" fmla="*/ 592998 h 1479935"/>
              <a:gd name="connsiteX257" fmla="*/ 298578 w 1485658"/>
              <a:gd name="connsiteY257" fmla="*/ 562561 h 1479935"/>
              <a:gd name="connsiteX258" fmla="*/ 268026 w 1485658"/>
              <a:gd name="connsiteY258" fmla="*/ 532124 h 1479935"/>
              <a:gd name="connsiteX259" fmla="*/ 237473 w 1485658"/>
              <a:gd name="connsiteY259" fmla="*/ 562561 h 1479935"/>
              <a:gd name="connsiteX260" fmla="*/ 534243 w 1485658"/>
              <a:gd name="connsiteY260" fmla="*/ 562561 h 1479935"/>
              <a:gd name="connsiteX261" fmla="*/ 564796 w 1485658"/>
              <a:gd name="connsiteY261" fmla="*/ 592998 h 1479935"/>
              <a:gd name="connsiteX262" fmla="*/ 595348 w 1485658"/>
              <a:gd name="connsiteY262" fmla="*/ 562561 h 1479935"/>
              <a:gd name="connsiteX263" fmla="*/ 564796 w 1485658"/>
              <a:gd name="connsiteY263" fmla="*/ 532124 h 1479935"/>
              <a:gd name="connsiteX264" fmla="*/ 534243 w 1485658"/>
              <a:gd name="connsiteY264" fmla="*/ 562561 h 1479935"/>
              <a:gd name="connsiteX265" fmla="*/ 712324 w 1485658"/>
              <a:gd name="connsiteY265" fmla="*/ 562561 h 1479935"/>
              <a:gd name="connsiteX266" fmla="*/ 742877 w 1485658"/>
              <a:gd name="connsiteY266" fmla="*/ 592998 h 1479935"/>
              <a:gd name="connsiteX267" fmla="*/ 773429 w 1485658"/>
              <a:gd name="connsiteY267" fmla="*/ 562561 h 1479935"/>
              <a:gd name="connsiteX268" fmla="*/ 742877 w 1485658"/>
              <a:gd name="connsiteY268" fmla="*/ 532124 h 1479935"/>
              <a:gd name="connsiteX269" fmla="*/ 712324 w 1485658"/>
              <a:gd name="connsiteY269" fmla="*/ 562561 h 1479935"/>
              <a:gd name="connsiteX270" fmla="*/ 771621 w 1485658"/>
              <a:gd name="connsiteY270" fmla="*/ 562561 h 1479935"/>
              <a:gd name="connsiteX271" fmla="*/ 802174 w 1485658"/>
              <a:gd name="connsiteY271" fmla="*/ 592998 h 1479935"/>
              <a:gd name="connsiteX272" fmla="*/ 832726 w 1485658"/>
              <a:gd name="connsiteY272" fmla="*/ 562561 h 1479935"/>
              <a:gd name="connsiteX273" fmla="*/ 802174 w 1485658"/>
              <a:gd name="connsiteY273" fmla="*/ 532124 h 1479935"/>
              <a:gd name="connsiteX274" fmla="*/ 771621 w 1485658"/>
              <a:gd name="connsiteY274" fmla="*/ 562561 h 1479935"/>
              <a:gd name="connsiteX275" fmla="*/ 949702 w 1485658"/>
              <a:gd name="connsiteY275" fmla="*/ 562561 h 1479935"/>
              <a:gd name="connsiteX276" fmla="*/ 980255 w 1485658"/>
              <a:gd name="connsiteY276" fmla="*/ 592998 h 1479935"/>
              <a:gd name="connsiteX277" fmla="*/ 1010807 w 1485658"/>
              <a:gd name="connsiteY277" fmla="*/ 562561 h 1479935"/>
              <a:gd name="connsiteX278" fmla="*/ 980255 w 1485658"/>
              <a:gd name="connsiteY278" fmla="*/ 532124 h 1479935"/>
              <a:gd name="connsiteX279" fmla="*/ 949702 w 1485658"/>
              <a:gd name="connsiteY279" fmla="*/ 562561 h 1479935"/>
              <a:gd name="connsiteX280" fmla="*/ 1009094 w 1485658"/>
              <a:gd name="connsiteY280" fmla="*/ 562561 h 1479935"/>
              <a:gd name="connsiteX281" fmla="*/ 1039647 w 1485658"/>
              <a:gd name="connsiteY281" fmla="*/ 592998 h 1479935"/>
              <a:gd name="connsiteX282" fmla="*/ 1070199 w 1485658"/>
              <a:gd name="connsiteY282" fmla="*/ 562561 h 1479935"/>
              <a:gd name="connsiteX283" fmla="*/ 1039647 w 1485658"/>
              <a:gd name="connsiteY283" fmla="*/ 532124 h 1479935"/>
              <a:gd name="connsiteX284" fmla="*/ 1009094 w 1485658"/>
              <a:gd name="connsiteY284" fmla="*/ 562561 h 1479935"/>
              <a:gd name="connsiteX285" fmla="*/ 1127783 w 1485658"/>
              <a:gd name="connsiteY285" fmla="*/ 562561 h 1479935"/>
              <a:gd name="connsiteX286" fmla="*/ 1158336 w 1485658"/>
              <a:gd name="connsiteY286" fmla="*/ 592998 h 1479935"/>
              <a:gd name="connsiteX287" fmla="*/ 1188888 w 1485658"/>
              <a:gd name="connsiteY287" fmla="*/ 562561 h 1479935"/>
              <a:gd name="connsiteX288" fmla="*/ 1158336 w 1485658"/>
              <a:gd name="connsiteY288" fmla="*/ 532124 h 1479935"/>
              <a:gd name="connsiteX289" fmla="*/ 1127783 w 1485658"/>
              <a:gd name="connsiteY289" fmla="*/ 562561 h 1479935"/>
              <a:gd name="connsiteX290" fmla="*/ 1365161 w 1485658"/>
              <a:gd name="connsiteY290" fmla="*/ 562561 h 1479935"/>
              <a:gd name="connsiteX291" fmla="*/ 1395714 w 1485658"/>
              <a:gd name="connsiteY291" fmla="*/ 592998 h 1479935"/>
              <a:gd name="connsiteX292" fmla="*/ 1426266 w 1485658"/>
              <a:gd name="connsiteY292" fmla="*/ 562561 h 1479935"/>
              <a:gd name="connsiteX293" fmla="*/ 1395714 w 1485658"/>
              <a:gd name="connsiteY293" fmla="*/ 532124 h 1479935"/>
              <a:gd name="connsiteX294" fmla="*/ 1365161 w 1485658"/>
              <a:gd name="connsiteY294" fmla="*/ 562561 h 1479935"/>
              <a:gd name="connsiteX295" fmla="*/ 95 w 1485658"/>
              <a:gd name="connsiteY295" fmla="*/ 621728 h 1479935"/>
              <a:gd name="connsiteX296" fmla="*/ 30648 w 1485658"/>
              <a:gd name="connsiteY296" fmla="*/ 652165 h 1479935"/>
              <a:gd name="connsiteX297" fmla="*/ 61200 w 1485658"/>
              <a:gd name="connsiteY297" fmla="*/ 621728 h 1479935"/>
              <a:gd name="connsiteX298" fmla="*/ 30648 w 1485658"/>
              <a:gd name="connsiteY298" fmla="*/ 591291 h 1479935"/>
              <a:gd name="connsiteX299" fmla="*/ 95 w 1485658"/>
              <a:gd name="connsiteY299" fmla="*/ 621728 h 1479935"/>
              <a:gd name="connsiteX300" fmla="*/ 118784 w 1485658"/>
              <a:gd name="connsiteY300" fmla="*/ 621728 h 1479935"/>
              <a:gd name="connsiteX301" fmla="*/ 149337 w 1485658"/>
              <a:gd name="connsiteY301" fmla="*/ 652165 h 1479935"/>
              <a:gd name="connsiteX302" fmla="*/ 179889 w 1485658"/>
              <a:gd name="connsiteY302" fmla="*/ 621728 h 1479935"/>
              <a:gd name="connsiteX303" fmla="*/ 149337 w 1485658"/>
              <a:gd name="connsiteY303" fmla="*/ 591291 h 1479935"/>
              <a:gd name="connsiteX304" fmla="*/ 118784 w 1485658"/>
              <a:gd name="connsiteY304" fmla="*/ 621728 h 1479935"/>
              <a:gd name="connsiteX305" fmla="*/ 237473 w 1485658"/>
              <a:gd name="connsiteY305" fmla="*/ 621728 h 1479935"/>
              <a:gd name="connsiteX306" fmla="*/ 268026 w 1485658"/>
              <a:gd name="connsiteY306" fmla="*/ 652165 h 1479935"/>
              <a:gd name="connsiteX307" fmla="*/ 298578 w 1485658"/>
              <a:gd name="connsiteY307" fmla="*/ 621728 h 1479935"/>
              <a:gd name="connsiteX308" fmla="*/ 268026 w 1485658"/>
              <a:gd name="connsiteY308" fmla="*/ 591291 h 1479935"/>
              <a:gd name="connsiteX309" fmla="*/ 237473 w 1485658"/>
              <a:gd name="connsiteY309" fmla="*/ 621728 h 1479935"/>
              <a:gd name="connsiteX310" fmla="*/ 296865 w 1485658"/>
              <a:gd name="connsiteY310" fmla="*/ 621728 h 1479935"/>
              <a:gd name="connsiteX311" fmla="*/ 327418 w 1485658"/>
              <a:gd name="connsiteY311" fmla="*/ 652165 h 1479935"/>
              <a:gd name="connsiteX312" fmla="*/ 357970 w 1485658"/>
              <a:gd name="connsiteY312" fmla="*/ 621728 h 1479935"/>
              <a:gd name="connsiteX313" fmla="*/ 327418 w 1485658"/>
              <a:gd name="connsiteY313" fmla="*/ 591291 h 1479935"/>
              <a:gd name="connsiteX314" fmla="*/ 296865 w 1485658"/>
              <a:gd name="connsiteY314" fmla="*/ 621728 h 1479935"/>
              <a:gd name="connsiteX315" fmla="*/ 356162 w 1485658"/>
              <a:gd name="connsiteY315" fmla="*/ 621728 h 1479935"/>
              <a:gd name="connsiteX316" fmla="*/ 386715 w 1485658"/>
              <a:gd name="connsiteY316" fmla="*/ 652165 h 1479935"/>
              <a:gd name="connsiteX317" fmla="*/ 417267 w 1485658"/>
              <a:gd name="connsiteY317" fmla="*/ 621728 h 1479935"/>
              <a:gd name="connsiteX318" fmla="*/ 386715 w 1485658"/>
              <a:gd name="connsiteY318" fmla="*/ 591291 h 1479935"/>
              <a:gd name="connsiteX319" fmla="*/ 356162 w 1485658"/>
              <a:gd name="connsiteY319" fmla="*/ 621728 h 1479935"/>
              <a:gd name="connsiteX320" fmla="*/ 474851 w 1485658"/>
              <a:gd name="connsiteY320" fmla="*/ 621728 h 1479935"/>
              <a:gd name="connsiteX321" fmla="*/ 505404 w 1485658"/>
              <a:gd name="connsiteY321" fmla="*/ 652165 h 1479935"/>
              <a:gd name="connsiteX322" fmla="*/ 535956 w 1485658"/>
              <a:gd name="connsiteY322" fmla="*/ 621728 h 1479935"/>
              <a:gd name="connsiteX323" fmla="*/ 505404 w 1485658"/>
              <a:gd name="connsiteY323" fmla="*/ 591291 h 1479935"/>
              <a:gd name="connsiteX324" fmla="*/ 474851 w 1485658"/>
              <a:gd name="connsiteY324" fmla="*/ 621728 h 1479935"/>
              <a:gd name="connsiteX325" fmla="*/ 593635 w 1485658"/>
              <a:gd name="connsiteY325" fmla="*/ 621728 h 1479935"/>
              <a:gd name="connsiteX326" fmla="*/ 624188 w 1485658"/>
              <a:gd name="connsiteY326" fmla="*/ 652165 h 1479935"/>
              <a:gd name="connsiteX327" fmla="*/ 654740 w 1485658"/>
              <a:gd name="connsiteY327" fmla="*/ 621728 h 1479935"/>
              <a:gd name="connsiteX328" fmla="*/ 624188 w 1485658"/>
              <a:gd name="connsiteY328" fmla="*/ 591291 h 1479935"/>
              <a:gd name="connsiteX329" fmla="*/ 593635 w 1485658"/>
              <a:gd name="connsiteY329" fmla="*/ 621728 h 1479935"/>
              <a:gd name="connsiteX330" fmla="*/ 652932 w 1485658"/>
              <a:gd name="connsiteY330" fmla="*/ 621728 h 1479935"/>
              <a:gd name="connsiteX331" fmla="*/ 683485 w 1485658"/>
              <a:gd name="connsiteY331" fmla="*/ 652165 h 1479935"/>
              <a:gd name="connsiteX332" fmla="*/ 714037 w 1485658"/>
              <a:gd name="connsiteY332" fmla="*/ 621728 h 1479935"/>
              <a:gd name="connsiteX333" fmla="*/ 683485 w 1485658"/>
              <a:gd name="connsiteY333" fmla="*/ 591291 h 1479935"/>
              <a:gd name="connsiteX334" fmla="*/ 652932 w 1485658"/>
              <a:gd name="connsiteY334" fmla="*/ 621728 h 1479935"/>
              <a:gd name="connsiteX335" fmla="*/ 712324 w 1485658"/>
              <a:gd name="connsiteY335" fmla="*/ 621728 h 1479935"/>
              <a:gd name="connsiteX336" fmla="*/ 742877 w 1485658"/>
              <a:gd name="connsiteY336" fmla="*/ 652165 h 1479935"/>
              <a:gd name="connsiteX337" fmla="*/ 773429 w 1485658"/>
              <a:gd name="connsiteY337" fmla="*/ 621728 h 1479935"/>
              <a:gd name="connsiteX338" fmla="*/ 742877 w 1485658"/>
              <a:gd name="connsiteY338" fmla="*/ 591291 h 1479935"/>
              <a:gd name="connsiteX339" fmla="*/ 712324 w 1485658"/>
              <a:gd name="connsiteY339" fmla="*/ 621728 h 1479935"/>
              <a:gd name="connsiteX340" fmla="*/ 771621 w 1485658"/>
              <a:gd name="connsiteY340" fmla="*/ 621728 h 1479935"/>
              <a:gd name="connsiteX341" fmla="*/ 802174 w 1485658"/>
              <a:gd name="connsiteY341" fmla="*/ 652165 h 1479935"/>
              <a:gd name="connsiteX342" fmla="*/ 832726 w 1485658"/>
              <a:gd name="connsiteY342" fmla="*/ 621728 h 1479935"/>
              <a:gd name="connsiteX343" fmla="*/ 802174 w 1485658"/>
              <a:gd name="connsiteY343" fmla="*/ 591291 h 1479935"/>
              <a:gd name="connsiteX344" fmla="*/ 771621 w 1485658"/>
              <a:gd name="connsiteY344" fmla="*/ 621728 h 1479935"/>
              <a:gd name="connsiteX345" fmla="*/ 831013 w 1485658"/>
              <a:gd name="connsiteY345" fmla="*/ 621728 h 1479935"/>
              <a:gd name="connsiteX346" fmla="*/ 861566 w 1485658"/>
              <a:gd name="connsiteY346" fmla="*/ 652165 h 1479935"/>
              <a:gd name="connsiteX347" fmla="*/ 892118 w 1485658"/>
              <a:gd name="connsiteY347" fmla="*/ 621728 h 1479935"/>
              <a:gd name="connsiteX348" fmla="*/ 861566 w 1485658"/>
              <a:gd name="connsiteY348" fmla="*/ 591291 h 1479935"/>
              <a:gd name="connsiteX349" fmla="*/ 831013 w 1485658"/>
              <a:gd name="connsiteY349" fmla="*/ 621728 h 1479935"/>
              <a:gd name="connsiteX350" fmla="*/ 890310 w 1485658"/>
              <a:gd name="connsiteY350" fmla="*/ 621728 h 1479935"/>
              <a:gd name="connsiteX351" fmla="*/ 920863 w 1485658"/>
              <a:gd name="connsiteY351" fmla="*/ 652165 h 1479935"/>
              <a:gd name="connsiteX352" fmla="*/ 951415 w 1485658"/>
              <a:gd name="connsiteY352" fmla="*/ 621728 h 1479935"/>
              <a:gd name="connsiteX353" fmla="*/ 920863 w 1485658"/>
              <a:gd name="connsiteY353" fmla="*/ 591291 h 1479935"/>
              <a:gd name="connsiteX354" fmla="*/ 890310 w 1485658"/>
              <a:gd name="connsiteY354" fmla="*/ 621728 h 1479935"/>
              <a:gd name="connsiteX355" fmla="*/ 949702 w 1485658"/>
              <a:gd name="connsiteY355" fmla="*/ 621728 h 1479935"/>
              <a:gd name="connsiteX356" fmla="*/ 980255 w 1485658"/>
              <a:gd name="connsiteY356" fmla="*/ 652165 h 1479935"/>
              <a:gd name="connsiteX357" fmla="*/ 1010807 w 1485658"/>
              <a:gd name="connsiteY357" fmla="*/ 621728 h 1479935"/>
              <a:gd name="connsiteX358" fmla="*/ 980255 w 1485658"/>
              <a:gd name="connsiteY358" fmla="*/ 591291 h 1479935"/>
              <a:gd name="connsiteX359" fmla="*/ 949702 w 1485658"/>
              <a:gd name="connsiteY359" fmla="*/ 621728 h 1479935"/>
              <a:gd name="connsiteX360" fmla="*/ 1009094 w 1485658"/>
              <a:gd name="connsiteY360" fmla="*/ 621728 h 1479935"/>
              <a:gd name="connsiteX361" fmla="*/ 1039647 w 1485658"/>
              <a:gd name="connsiteY361" fmla="*/ 652165 h 1479935"/>
              <a:gd name="connsiteX362" fmla="*/ 1070199 w 1485658"/>
              <a:gd name="connsiteY362" fmla="*/ 621728 h 1479935"/>
              <a:gd name="connsiteX363" fmla="*/ 1039647 w 1485658"/>
              <a:gd name="connsiteY363" fmla="*/ 591291 h 1479935"/>
              <a:gd name="connsiteX364" fmla="*/ 1009094 w 1485658"/>
              <a:gd name="connsiteY364" fmla="*/ 621728 h 1479935"/>
              <a:gd name="connsiteX365" fmla="*/ 1068391 w 1485658"/>
              <a:gd name="connsiteY365" fmla="*/ 621728 h 1479935"/>
              <a:gd name="connsiteX366" fmla="*/ 1098944 w 1485658"/>
              <a:gd name="connsiteY366" fmla="*/ 652165 h 1479935"/>
              <a:gd name="connsiteX367" fmla="*/ 1129496 w 1485658"/>
              <a:gd name="connsiteY367" fmla="*/ 621728 h 1479935"/>
              <a:gd name="connsiteX368" fmla="*/ 1098944 w 1485658"/>
              <a:gd name="connsiteY368" fmla="*/ 591291 h 1479935"/>
              <a:gd name="connsiteX369" fmla="*/ 1068391 w 1485658"/>
              <a:gd name="connsiteY369" fmla="*/ 621728 h 1479935"/>
              <a:gd name="connsiteX370" fmla="*/ 1127783 w 1485658"/>
              <a:gd name="connsiteY370" fmla="*/ 621728 h 1479935"/>
              <a:gd name="connsiteX371" fmla="*/ 1158336 w 1485658"/>
              <a:gd name="connsiteY371" fmla="*/ 652165 h 1479935"/>
              <a:gd name="connsiteX372" fmla="*/ 1188888 w 1485658"/>
              <a:gd name="connsiteY372" fmla="*/ 621728 h 1479935"/>
              <a:gd name="connsiteX373" fmla="*/ 1158336 w 1485658"/>
              <a:gd name="connsiteY373" fmla="*/ 591291 h 1479935"/>
              <a:gd name="connsiteX374" fmla="*/ 1127783 w 1485658"/>
              <a:gd name="connsiteY374" fmla="*/ 621728 h 1479935"/>
              <a:gd name="connsiteX375" fmla="*/ 1187080 w 1485658"/>
              <a:gd name="connsiteY375" fmla="*/ 621728 h 1479935"/>
              <a:gd name="connsiteX376" fmla="*/ 1217633 w 1485658"/>
              <a:gd name="connsiteY376" fmla="*/ 652165 h 1479935"/>
              <a:gd name="connsiteX377" fmla="*/ 1248185 w 1485658"/>
              <a:gd name="connsiteY377" fmla="*/ 621728 h 1479935"/>
              <a:gd name="connsiteX378" fmla="*/ 1217633 w 1485658"/>
              <a:gd name="connsiteY378" fmla="*/ 591291 h 1479935"/>
              <a:gd name="connsiteX379" fmla="*/ 1187080 w 1485658"/>
              <a:gd name="connsiteY379" fmla="*/ 621728 h 1479935"/>
              <a:gd name="connsiteX380" fmla="*/ 1246472 w 1485658"/>
              <a:gd name="connsiteY380" fmla="*/ 621728 h 1479935"/>
              <a:gd name="connsiteX381" fmla="*/ 1277025 w 1485658"/>
              <a:gd name="connsiteY381" fmla="*/ 652165 h 1479935"/>
              <a:gd name="connsiteX382" fmla="*/ 1307577 w 1485658"/>
              <a:gd name="connsiteY382" fmla="*/ 621728 h 1479935"/>
              <a:gd name="connsiteX383" fmla="*/ 1277025 w 1485658"/>
              <a:gd name="connsiteY383" fmla="*/ 591291 h 1479935"/>
              <a:gd name="connsiteX384" fmla="*/ 1246472 w 1485658"/>
              <a:gd name="connsiteY384" fmla="*/ 621728 h 1479935"/>
              <a:gd name="connsiteX385" fmla="*/ 1365161 w 1485658"/>
              <a:gd name="connsiteY385" fmla="*/ 621728 h 1479935"/>
              <a:gd name="connsiteX386" fmla="*/ 1395714 w 1485658"/>
              <a:gd name="connsiteY386" fmla="*/ 652165 h 1479935"/>
              <a:gd name="connsiteX387" fmla="*/ 1426266 w 1485658"/>
              <a:gd name="connsiteY387" fmla="*/ 621728 h 1479935"/>
              <a:gd name="connsiteX388" fmla="*/ 1395714 w 1485658"/>
              <a:gd name="connsiteY388" fmla="*/ 591291 h 1479935"/>
              <a:gd name="connsiteX389" fmla="*/ 1365161 w 1485658"/>
              <a:gd name="connsiteY389" fmla="*/ 621728 h 1479935"/>
              <a:gd name="connsiteX390" fmla="*/ 1424553 w 1485658"/>
              <a:gd name="connsiteY390" fmla="*/ 621728 h 1479935"/>
              <a:gd name="connsiteX391" fmla="*/ 1455106 w 1485658"/>
              <a:gd name="connsiteY391" fmla="*/ 652165 h 1479935"/>
              <a:gd name="connsiteX392" fmla="*/ 1485658 w 1485658"/>
              <a:gd name="connsiteY392" fmla="*/ 621728 h 1479935"/>
              <a:gd name="connsiteX393" fmla="*/ 1455106 w 1485658"/>
              <a:gd name="connsiteY393" fmla="*/ 591291 h 1479935"/>
              <a:gd name="connsiteX394" fmla="*/ 1424553 w 1485658"/>
              <a:gd name="connsiteY394" fmla="*/ 621728 h 1479935"/>
              <a:gd name="connsiteX395" fmla="*/ 118784 w 1485658"/>
              <a:gd name="connsiteY395" fmla="*/ 680800 h 1479935"/>
              <a:gd name="connsiteX396" fmla="*/ 149337 w 1485658"/>
              <a:gd name="connsiteY396" fmla="*/ 711237 h 1479935"/>
              <a:gd name="connsiteX397" fmla="*/ 179889 w 1485658"/>
              <a:gd name="connsiteY397" fmla="*/ 680800 h 1479935"/>
              <a:gd name="connsiteX398" fmla="*/ 149337 w 1485658"/>
              <a:gd name="connsiteY398" fmla="*/ 650364 h 1479935"/>
              <a:gd name="connsiteX399" fmla="*/ 118784 w 1485658"/>
              <a:gd name="connsiteY399" fmla="*/ 680800 h 1479935"/>
              <a:gd name="connsiteX400" fmla="*/ 178081 w 1485658"/>
              <a:gd name="connsiteY400" fmla="*/ 680800 h 1479935"/>
              <a:gd name="connsiteX401" fmla="*/ 208634 w 1485658"/>
              <a:gd name="connsiteY401" fmla="*/ 711237 h 1479935"/>
              <a:gd name="connsiteX402" fmla="*/ 239186 w 1485658"/>
              <a:gd name="connsiteY402" fmla="*/ 680800 h 1479935"/>
              <a:gd name="connsiteX403" fmla="*/ 208634 w 1485658"/>
              <a:gd name="connsiteY403" fmla="*/ 650364 h 1479935"/>
              <a:gd name="connsiteX404" fmla="*/ 178081 w 1485658"/>
              <a:gd name="connsiteY404" fmla="*/ 680800 h 1479935"/>
              <a:gd name="connsiteX405" fmla="*/ 237473 w 1485658"/>
              <a:gd name="connsiteY405" fmla="*/ 680800 h 1479935"/>
              <a:gd name="connsiteX406" fmla="*/ 268026 w 1485658"/>
              <a:gd name="connsiteY406" fmla="*/ 711237 h 1479935"/>
              <a:gd name="connsiteX407" fmla="*/ 298578 w 1485658"/>
              <a:gd name="connsiteY407" fmla="*/ 680800 h 1479935"/>
              <a:gd name="connsiteX408" fmla="*/ 268026 w 1485658"/>
              <a:gd name="connsiteY408" fmla="*/ 650364 h 1479935"/>
              <a:gd name="connsiteX409" fmla="*/ 237473 w 1485658"/>
              <a:gd name="connsiteY409" fmla="*/ 680800 h 1479935"/>
              <a:gd name="connsiteX410" fmla="*/ 296865 w 1485658"/>
              <a:gd name="connsiteY410" fmla="*/ 680800 h 1479935"/>
              <a:gd name="connsiteX411" fmla="*/ 327418 w 1485658"/>
              <a:gd name="connsiteY411" fmla="*/ 711237 h 1479935"/>
              <a:gd name="connsiteX412" fmla="*/ 357970 w 1485658"/>
              <a:gd name="connsiteY412" fmla="*/ 680800 h 1479935"/>
              <a:gd name="connsiteX413" fmla="*/ 327418 w 1485658"/>
              <a:gd name="connsiteY413" fmla="*/ 650364 h 1479935"/>
              <a:gd name="connsiteX414" fmla="*/ 296865 w 1485658"/>
              <a:gd name="connsiteY414" fmla="*/ 680800 h 1479935"/>
              <a:gd name="connsiteX415" fmla="*/ 474851 w 1485658"/>
              <a:gd name="connsiteY415" fmla="*/ 680800 h 1479935"/>
              <a:gd name="connsiteX416" fmla="*/ 505404 w 1485658"/>
              <a:gd name="connsiteY416" fmla="*/ 711237 h 1479935"/>
              <a:gd name="connsiteX417" fmla="*/ 535956 w 1485658"/>
              <a:gd name="connsiteY417" fmla="*/ 680800 h 1479935"/>
              <a:gd name="connsiteX418" fmla="*/ 505404 w 1485658"/>
              <a:gd name="connsiteY418" fmla="*/ 650364 h 1479935"/>
              <a:gd name="connsiteX419" fmla="*/ 474851 w 1485658"/>
              <a:gd name="connsiteY419" fmla="*/ 680800 h 1479935"/>
              <a:gd name="connsiteX420" fmla="*/ 593635 w 1485658"/>
              <a:gd name="connsiteY420" fmla="*/ 680800 h 1479935"/>
              <a:gd name="connsiteX421" fmla="*/ 624188 w 1485658"/>
              <a:gd name="connsiteY421" fmla="*/ 711237 h 1479935"/>
              <a:gd name="connsiteX422" fmla="*/ 654740 w 1485658"/>
              <a:gd name="connsiteY422" fmla="*/ 680800 h 1479935"/>
              <a:gd name="connsiteX423" fmla="*/ 624188 w 1485658"/>
              <a:gd name="connsiteY423" fmla="*/ 650364 h 1479935"/>
              <a:gd name="connsiteX424" fmla="*/ 593635 w 1485658"/>
              <a:gd name="connsiteY424" fmla="*/ 680800 h 1479935"/>
              <a:gd name="connsiteX425" fmla="*/ 652932 w 1485658"/>
              <a:gd name="connsiteY425" fmla="*/ 680800 h 1479935"/>
              <a:gd name="connsiteX426" fmla="*/ 683485 w 1485658"/>
              <a:gd name="connsiteY426" fmla="*/ 711237 h 1479935"/>
              <a:gd name="connsiteX427" fmla="*/ 714037 w 1485658"/>
              <a:gd name="connsiteY427" fmla="*/ 680800 h 1479935"/>
              <a:gd name="connsiteX428" fmla="*/ 683485 w 1485658"/>
              <a:gd name="connsiteY428" fmla="*/ 650364 h 1479935"/>
              <a:gd name="connsiteX429" fmla="*/ 652932 w 1485658"/>
              <a:gd name="connsiteY429" fmla="*/ 680800 h 1479935"/>
              <a:gd name="connsiteX430" fmla="*/ 712324 w 1485658"/>
              <a:gd name="connsiteY430" fmla="*/ 680800 h 1479935"/>
              <a:gd name="connsiteX431" fmla="*/ 742877 w 1485658"/>
              <a:gd name="connsiteY431" fmla="*/ 711237 h 1479935"/>
              <a:gd name="connsiteX432" fmla="*/ 773429 w 1485658"/>
              <a:gd name="connsiteY432" fmla="*/ 680800 h 1479935"/>
              <a:gd name="connsiteX433" fmla="*/ 742877 w 1485658"/>
              <a:gd name="connsiteY433" fmla="*/ 650364 h 1479935"/>
              <a:gd name="connsiteX434" fmla="*/ 712324 w 1485658"/>
              <a:gd name="connsiteY434" fmla="*/ 680800 h 1479935"/>
              <a:gd name="connsiteX435" fmla="*/ 831013 w 1485658"/>
              <a:gd name="connsiteY435" fmla="*/ 680800 h 1479935"/>
              <a:gd name="connsiteX436" fmla="*/ 861566 w 1485658"/>
              <a:gd name="connsiteY436" fmla="*/ 711237 h 1479935"/>
              <a:gd name="connsiteX437" fmla="*/ 892118 w 1485658"/>
              <a:gd name="connsiteY437" fmla="*/ 680800 h 1479935"/>
              <a:gd name="connsiteX438" fmla="*/ 861566 w 1485658"/>
              <a:gd name="connsiteY438" fmla="*/ 650364 h 1479935"/>
              <a:gd name="connsiteX439" fmla="*/ 831013 w 1485658"/>
              <a:gd name="connsiteY439" fmla="*/ 680800 h 1479935"/>
              <a:gd name="connsiteX440" fmla="*/ 949702 w 1485658"/>
              <a:gd name="connsiteY440" fmla="*/ 680800 h 1479935"/>
              <a:gd name="connsiteX441" fmla="*/ 980255 w 1485658"/>
              <a:gd name="connsiteY441" fmla="*/ 711237 h 1479935"/>
              <a:gd name="connsiteX442" fmla="*/ 1010807 w 1485658"/>
              <a:gd name="connsiteY442" fmla="*/ 680800 h 1479935"/>
              <a:gd name="connsiteX443" fmla="*/ 980255 w 1485658"/>
              <a:gd name="connsiteY443" fmla="*/ 650364 h 1479935"/>
              <a:gd name="connsiteX444" fmla="*/ 949702 w 1485658"/>
              <a:gd name="connsiteY444" fmla="*/ 680800 h 1479935"/>
              <a:gd name="connsiteX445" fmla="*/ 1068391 w 1485658"/>
              <a:gd name="connsiteY445" fmla="*/ 680800 h 1479935"/>
              <a:gd name="connsiteX446" fmla="*/ 1098944 w 1485658"/>
              <a:gd name="connsiteY446" fmla="*/ 711237 h 1479935"/>
              <a:gd name="connsiteX447" fmla="*/ 1129496 w 1485658"/>
              <a:gd name="connsiteY447" fmla="*/ 680800 h 1479935"/>
              <a:gd name="connsiteX448" fmla="*/ 1098944 w 1485658"/>
              <a:gd name="connsiteY448" fmla="*/ 650364 h 1479935"/>
              <a:gd name="connsiteX449" fmla="*/ 1068391 w 1485658"/>
              <a:gd name="connsiteY449" fmla="*/ 680800 h 1479935"/>
              <a:gd name="connsiteX450" fmla="*/ 1424553 w 1485658"/>
              <a:gd name="connsiteY450" fmla="*/ 680800 h 1479935"/>
              <a:gd name="connsiteX451" fmla="*/ 1455106 w 1485658"/>
              <a:gd name="connsiteY451" fmla="*/ 711237 h 1479935"/>
              <a:gd name="connsiteX452" fmla="*/ 1485658 w 1485658"/>
              <a:gd name="connsiteY452" fmla="*/ 680800 h 1479935"/>
              <a:gd name="connsiteX453" fmla="*/ 1455106 w 1485658"/>
              <a:gd name="connsiteY453" fmla="*/ 650364 h 1479935"/>
              <a:gd name="connsiteX454" fmla="*/ 1424553 w 1485658"/>
              <a:gd name="connsiteY454" fmla="*/ 680800 h 1479935"/>
              <a:gd name="connsiteX455" fmla="*/ 59392 w 1485658"/>
              <a:gd name="connsiteY455" fmla="*/ 739968 h 1479935"/>
              <a:gd name="connsiteX456" fmla="*/ 89945 w 1485658"/>
              <a:gd name="connsiteY456" fmla="*/ 770404 h 1479935"/>
              <a:gd name="connsiteX457" fmla="*/ 120497 w 1485658"/>
              <a:gd name="connsiteY457" fmla="*/ 739968 h 1479935"/>
              <a:gd name="connsiteX458" fmla="*/ 89945 w 1485658"/>
              <a:gd name="connsiteY458" fmla="*/ 709531 h 1479935"/>
              <a:gd name="connsiteX459" fmla="*/ 59392 w 1485658"/>
              <a:gd name="connsiteY459" fmla="*/ 739968 h 1479935"/>
              <a:gd name="connsiteX460" fmla="*/ 118784 w 1485658"/>
              <a:gd name="connsiteY460" fmla="*/ 739968 h 1479935"/>
              <a:gd name="connsiteX461" fmla="*/ 149337 w 1485658"/>
              <a:gd name="connsiteY461" fmla="*/ 770404 h 1479935"/>
              <a:gd name="connsiteX462" fmla="*/ 179889 w 1485658"/>
              <a:gd name="connsiteY462" fmla="*/ 739968 h 1479935"/>
              <a:gd name="connsiteX463" fmla="*/ 149337 w 1485658"/>
              <a:gd name="connsiteY463" fmla="*/ 709531 h 1479935"/>
              <a:gd name="connsiteX464" fmla="*/ 118784 w 1485658"/>
              <a:gd name="connsiteY464" fmla="*/ 739968 h 1479935"/>
              <a:gd name="connsiteX465" fmla="*/ 237473 w 1485658"/>
              <a:gd name="connsiteY465" fmla="*/ 739968 h 1479935"/>
              <a:gd name="connsiteX466" fmla="*/ 268026 w 1485658"/>
              <a:gd name="connsiteY466" fmla="*/ 770404 h 1479935"/>
              <a:gd name="connsiteX467" fmla="*/ 298578 w 1485658"/>
              <a:gd name="connsiteY467" fmla="*/ 739968 h 1479935"/>
              <a:gd name="connsiteX468" fmla="*/ 268026 w 1485658"/>
              <a:gd name="connsiteY468" fmla="*/ 709531 h 1479935"/>
              <a:gd name="connsiteX469" fmla="*/ 237473 w 1485658"/>
              <a:gd name="connsiteY469" fmla="*/ 739968 h 1479935"/>
              <a:gd name="connsiteX470" fmla="*/ 296865 w 1485658"/>
              <a:gd name="connsiteY470" fmla="*/ 739968 h 1479935"/>
              <a:gd name="connsiteX471" fmla="*/ 327418 w 1485658"/>
              <a:gd name="connsiteY471" fmla="*/ 770404 h 1479935"/>
              <a:gd name="connsiteX472" fmla="*/ 357970 w 1485658"/>
              <a:gd name="connsiteY472" fmla="*/ 739968 h 1479935"/>
              <a:gd name="connsiteX473" fmla="*/ 327418 w 1485658"/>
              <a:gd name="connsiteY473" fmla="*/ 709531 h 1479935"/>
              <a:gd name="connsiteX474" fmla="*/ 296865 w 1485658"/>
              <a:gd name="connsiteY474" fmla="*/ 739968 h 1479935"/>
              <a:gd name="connsiteX475" fmla="*/ 356162 w 1485658"/>
              <a:gd name="connsiteY475" fmla="*/ 739968 h 1479935"/>
              <a:gd name="connsiteX476" fmla="*/ 386715 w 1485658"/>
              <a:gd name="connsiteY476" fmla="*/ 770404 h 1479935"/>
              <a:gd name="connsiteX477" fmla="*/ 417267 w 1485658"/>
              <a:gd name="connsiteY477" fmla="*/ 739968 h 1479935"/>
              <a:gd name="connsiteX478" fmla="*/ 386715 w 1485658"/>
              <a:gd name="connsiteY478" fmla="*/ 709531 h 1479935"/>
              <a:gd name="connsiteX479" fmla="*/ 356162 w 1485658"/>
              <a:gd name="connsiteY479" fmla="*/ 739968 h 1479935"/>
              <a:gd name="connsiteX480" fmla="*/ 415554 w 1485658"/>
              <a:gd name="connsiteY480" fmla="*/ 739968 h 1479935"/>
              <a:gd name="connsiteX481" fmla="*/ 446107 w 1485658"/>
              <a:gd name="connsiteY481" fmla="*/ 770404 h 1479935"/>
              <a:gd name="connsiteX482" fmla="*/ 476659 w 1485658"/>
              <a:gd name="connsiteY482" fmla="*/ 739968 h 1479935"/>
              <a:gd name="connsiteX483" fmla="*/ 446107 w 1485658"/>
              <a:gd name="connsiteY483" fmla="*/ 709531 h 1479935"/>
              <a:gd name="connsiteX484" fmla="*/ 415554 w 1485658"/>
              <a:gd name="connsiteY484" fmla="*/ 739968 h 1479935"/>
              <a:gd name="connsiteX485" fmla="*/ 474851 w 1485658"/>
              <a:gd name="connsiteY485" fmla="*/ 739968 h 1479935"/>
              <a:gd name="connsiteX486" fmla="*/ 505404 w 1485658"/>
              <a:gd name="connsiteY486" fmla="*/ 770404 h 1479935"/>
              <a:gd name="connsiteX487" fmla="*/ 535956 w 1485658"/>
              <a:gd name="connsiteY487" fmla="*/ 739968 h 1479935"/>
              <a:gd name="connsiteX488" fmla="*/ 505404 w 1485658"/>
              <a:gd name="connsiteY488" fmla="*/ 709531 h 1479935"/>
              <a:gd name="connsiteX489" fmla="*/ 474851 w 1485658"/>
              <a:gd name="connsiteY489" fmla="*/ 739968 h 1479935"/>
              <a:gd name="connsiteX490" fmla="*/ 534243 w 1485658"/>
              <a:gd name="connsiteY490" fmla="*/ 739968 h 1479935"/>
              <a:gd name="connsiteX491" fmla="*/ 564796 w 1485658"/>
              <a:gd name="connsiteY491" fmla="*/ 770404 h 1479935"/>
              <a:gd name="connsiteX492" fmla="*/ 595348 w 1485658"/>
              <a:gd name="connsiteY492" fmla="*/ 739968 h 1479935"/>
              <a:gd name="connsiteX493" fmla="*/ 564796 w 1485658"/>
              <a:gd name="connsiteY493" fmla="*/ 709531 h 1479935"/>
              <a:gd name="connsiteX494" fmla="*/ 534243 w 1485658"/>
              <a:gd name="connsiteY494" fmla="*/ 739968 h 1479935"/>
              <a:gd name="connsiteX495" fmla="*/ 652932 w 1485658"/>
              <a:gd name="connsiteY495" fmla="*/ 739968 h 1479935"/>
              <a:gd name="connsiteX496" fmla="*/ 683485 w 1485658"/>
              <a:gd name="connsiteY496" fmla="*/ 770404 h 1479935"/>
              <a:gd name="connsiteX497" fmla="*/ 714037 w 1485658"/>
              <a:gd name="connsiteY497" fmla="*/ 739968 h 1479935"/>
              <a:gd name="connsiteX498" fmla="*/ 683485 w 1485658"/>
              <a:gd name="connsiteY498" fmla="*/ 709531 h 1479935"/>
              <a:gd name="connsiteX499" fmla="*/ 652932 w 1485658"/>
              <a:gd name="connsiteY499" fmla="*/ 739968 h 1479935"/>
              <a:gd name="connsiteX500" fmla="*/ 890310 w 1485658"/>
              <a:gd name="connsiteY500" fmla="*/ 739968 h 1479935"/>
              <a:gd name="connsiteX501" fmla="*/ 920863 w 1485658"/>
              <a:gd name="connsiteY501" fmla="*/ 770404 h 1479935"/>
              <a:gd name="connsiteX502" fmla="*/ 951415 w 1485658"/>
              <a:gd name="connsiteY502" fmla="*/ 739968 h 1479935"/>
              <a:gd name="connsiteX503" fmla="*/ 920863 w 1485658"/>
              <a:gd name="connsiteY503" fmla="*/ 709531 h 1479935"/>
              <a:gd name="connsiteX504" fmla="*/ 890310 w 1485658"/>
              <a:gd name="connsiteY504" fmla="*/ 739968 h 1479935"/>
              <a:gd name="connsiteX505" fmla="*/ 1009094 w 1485658"/>
              <a:gd name="connsiteY505" fmla="*/ 739968 h 1479935"/>
              <a:gd name="connsiteX506" fmla="*/ 1039647 w 1485658"/>
              <a:gd name="connsiteY506" fmla="*/ 770404 h 1479935"/>
              <a:gd name="connsiteX507" fmla="*/ 1070199 w 1485658"/>
              <a:gd name="connsiteY507" fmla="*/ 739968 h 1479935"/>
              <a:gd name="connsiteX508" fmla="*/ 1039647 w 1485658"/>
              <a:gd name="connsiteY508" fmla="*/ 709531 h 1479935"/>
              <a:gd name="connsiteX509" fmla="*/ 1009094 w 1485658"/>
              <a:gd name="connsiteY509" fmla="*/ 739968 h 1479935"/>
              <a:gd name="connsiteX510" fmla="*/ 1068391 w 1485658"/>
              <a:gd name="connsiteY510" fmla="*/ 739968 h 1479935"/>
              <a:gd name="connsiteX511" fmla="*/ 1098944 w 1485658"/>
              <a:gd name="connsiteY511" fmla="*/ 770404 h 1479935"/>
              <a:gd name="connsiteX512" fmla="*/ 1129496 w 1485658"/>
              <a:gd name="connsiteY512" fmla="*/ 739968 h 1479935"/>
              <a:gd name="connsiteX513" fmla="*/ 1098944 w 1485658"/>
              <a:gd name="connsiteY513" fmla="*/ 709531 h 1479935"/>
              <a:gd name="connsiteX514" fmla="*/ 1068391 w 1485658"/>
              <a:gd name="connsiteY514" fmla="*/ 739968 h 1479935"/>
              <a:gd name="connsiteX515" fmla="*/ 1127783 w 1485658"/>
              <a:gd name="connsiteY515" fmla="*/ 739968 h 1479935"/>
              <a:gd name="connsiteX516" fmla="*/ 1158336 w 1485658"/>
              <a:gd name="connsiteY516" fmla="*/ 770404 h 1479935"/>
              <a:gd name="connsiteX517" fmla="*/ 1188888 w 1485658"/>
              <a:gd name="connsiteY517" fmla="*/ 739968 h 1479935"/>
              <a:gd name="connsiteX518" fmla="*/ 1158336 w 1485658"/>
              <a:gd name="connsiteY518" fmla="*/ 709531 h 1479935"/>
              <a:gd name="connsiteX519" fmla="*/ 1127783 w 1485658"/>
              <a:gd name="connsiteY519" fmla="*/ 739968 h 1479935"/>
              <a:gd name="connsiteX520" fmla="*/ 1187080 w 1485658"/>
              <a:gd name="connsiteY520" fmla="*/ 739968 h 1479935"/>
              <a:gd name="connsiteX521" fmla="*/ 1217633 w 1485658"/>
              <a:gd name="connsiteY521" fmla="*/ 770404 h 1479935"/>
              <a:gd name="connsiteX522" fmla="*/ 1248185 w 1485658"/>
              <a:gd name="connsiteY522" fmla="*/ 739968 h 1479935"/>
              <a:gd name="connsiteX523" fmla="*/ 1217633 w 1485658"/>
              <a:gd name="connsiteY523" fmla="*/ 709531 h 1479935"/>
              <a:gd name="connsiteX524" fmla="*/ 1187080 w 1485658"/>
              <a:gd name="connsiteY524" fmla="*/ 739968 h 1479935"/>
              <a:gd name="connsiteX525" fmla="*/ 1305769 w 1485658"/>
              <a:gd name="connsiteY525" fmla="*/ 739968 h 1479935"/>
              <a:gd name="connsiteX526" fmla="*/ 1336322 w 1485658"/>
              <a:gd name="connsiteY526" fmla="*/ 770404 h 1479935"/>
              <a:gd name="connsiteX527" fmla="*/ 1366874 w 1485658"/>
              <a:gd name="connsiteY527" fmla="*/ 739968 h 1479935"/>
              <a:gd name="connsiteX528" fmla="*/ 1336322 w 1485658"/>
              <a:gd name="connsiteY528" fmla="*/ 709531 h 1479935"/>
              <a:gd name="connsiteX529" fmla="*/ 1305769 w 1485658"/>
              <a:gd name="connsiteY529" fmla="*/ 739968 h 1479935"/>
              <a:gd name="connsiteX530" fmla="*/ 1365161 w 1485658"/>
              <a:gd name="connsiteY530" fmla="*/ 739968 h 1479935"/>
              <a:gd name="connsiteX531" fmla="*/ 1395714 w 1485658"/>
              <a:gd name="connsiteY531" fmla="*/ 770404 h 1479935"/>
              <a:gd name="connsiteX532" fmla="*/ 1426266 w 1485658"/>
              <a:gd name="connsiteY532" fmla="*/ 739968 h 1479935"/>
              <a:gd name="connsiteX533" fmla="*/ 1395714 w 1485658"/>
              <a:gd name="connsiteY533" fmla="*/ 709531 h 1479935"/>
              <a:gd name="connsiteX534" fmla="*/ 1365161 w 1485658"/>
              <a:gd name="connsiteY534" fmla="*/ 739968 h 1479935"/>
              <a:gd name="connsiteX535" fmla="*/ 1424553 w 1485658"/>
              <a:gd name="connsiteY535" fmla="*/ 739968 h 1479935"/>
              <a:gd name="connsiteX536" fmla="*/ 1455106 w 1485658"/>
              <a:gd name="connsiteY536" fmla="*/ 770404 h 1479935"/>
              <a:gd name="connsiteX537" fmla="*/ 1485658 w 1485658"/>
              <a:gd name="connsiteY537" fmla="*/ 739968 h 1479935"/>
              <a:gd name="connsiteX538" fmla="*/ 1455106 w 1485658"/>
              <a:gd name="connsiteY538" fmla="*/ 709531 h 1479935"/>
              <a:gd name="connsiteX539" fmla="*/ 1424553 w 1485658"/>
              <a:gd name="connsiteY539" fmla="*/ 739968 h 1479935"/>
              <a:gd name="connsiteX540" fmla="*/ 95 w 1485658"/>
              <a:gd name="connsiteY540" fmla="*/ 799040 h 1479935"/>
              <a:gd name="connsiteX541" fmla="*/ 30648 w 1485658"/>
              <a:gd name="connsiteY541" fmla="*/ 829477 h 1479935"/>
              <a:gd name="connsiteX542" fmla="*/ 61200 w 1485658"/>
              <a:gd name="connsiteY542" fmla="*/ 799040 h 1479935"/>
              <a:gd name="connsiteX543" fmla="*/ 30648 w 1485658"/>
              <a:gd name="connsiteY543" fmla="*/ 768603 h 1479935"/>
              <a:gd name="connsiteX544" fmla="*/ 95 w 1485658"/>
              <a:gd name="connsiteY544" fmla="*/ 799040 h 1479935"/>
              <a:gd name="connsiteX545" fmla="*/ 118784 w 1485658"/>
              <a:gd name="connsiteY545" fmla="*/ 799040 h 1479935"/>
              <a:gd name="connsiteX546" fmla="*/ 149337 w 1485658"/>
              <a:gd name="connsiteY546" fmla="*/ 829477 h 1479935"/>
              <a:gd name="connsiteX547" fmla="*/ 179889 w 1485658"/>
              <a:gd name="connsiteY547" fmla="*/ 799040 h 1479935"/>
              <a:gd name="connsiteX548" fmla="*/ 149337 w 1485658"/>
              <a:gd name="connsiteY548" fmla="*/ 768603 h 1479935"/>
              <a:gd name="connsiteX549" fmla="*/ 118784 w 1485658"/>
              <a:gd name="connsiteY549" fmla="*/ 799040 h 1479935"/>
              <a:gd name="connsiteX550" fmla="*/ 178081 w 1485658"/>
              <a:gd name="connsiteY550" fmla="*/ 799040 h 1479935"/>
              <a:gd name="connsiteX551" fmla="*/ 208634 w 1485658"/>
              <a:gd name="connsiteY551" fmla="*/ 829477 h 1479935"/>
              <a:gd name="connsiteX552" fmla="*/ 239186 w 1485658"/>
              <a:gd name="connsiteY552" fmla="*/ 799040 h 1479935"/>
              <a:gd name="connsiteX553" fmla="*/ 208634 w 1485658"/>
              <a:gd name="connsiteY553" fmla="*/ 768603 h 1479935"/>
              <a:gd name="connsiteX554" fmla="*/ 178081 w 1485658"/>
              <a:gd name="connsiteY554" fmla="*/ 799040 h 1479935"/>
              <a:gd name="connsiteX555" fmla="*/ 237473 w 1485658"/>
              <a:gd name="connsiteY555" fmla="*/ 799040 h 1479935"/>
              <a:gd name="connsiteX556" fmla="*/ 268026 w 1485658"/>
              <a:gd name="connsiteY556" fmla="*/ 829477 h 1479935"/>
              <a:gd name="connsiteX557" fmla="*/ 298578 w 1485658"/>
              <a:gd name="connsiteY557" fmla="*/ 799040 h 1479935"/>
              <a:gd name="connsiteX558" fmla="*/ 268026 w 1485658"/>
              <a:gd name="connsiteY558" fmla="*/ 768603 h 1479935"/>
              <a:gd name="connsiteX559" fmla="*/ 237473 w 1485658"/>
              <a:gd name="connsiteY559" fmla="*/ 799040 h 1479935"/>
              <a:gd name="connsiteX560" fmla="*/ 415554 w 1485658"/>
              <a:gd name="connsiteY560" fmla="*/ 799040 h 1479935"/>
              <a:gd name="connsiteX561" fmla="*/ 446107 w 1485658"/>
              <a:gd name="connsiteY561" fmla="*/ 829477 h 1479935"/>
              <a:gd name="connsiteX562" fmla="*/ 476659 w 1485658"/>
              <a:gd name="connsiteY562" fmla="*/ 799040 h 1479935"/>
              <a:gd name="connsiteX563" fmla="*/ 446107 w 1485658"/>
              <a:gd name="connsiteY563" fmla="*/ 768603 h 1479935"/>
              <a:gd name="connsiteX564" fmla="*/ 415554 w 1485658"/>
              <a:gd name="connsiteY564" fmla="*/ 799040 h 1479935"/>
              <a:gd name="connsiteX565" fmla="*/ 474851 w 1485658"/>
              <a:gd name="connsiteY565" fmla="*/ 799040 h 1479935"/>
              <a:gd name="connsiteX566" fmla="*/ 505404 w 1485658"/>
              <a:gd name="connsiteY566" fmla="*/ 829477 h 1479935"/>
              <a:gd name="connsiteX567" fmla="*/ 535956 w 1485658"/>
              <a:gd name="connsiteY567" fmla="*/ 799040 h 1479935"/>
              <a:gd name="connsiteX568" fmla="*/ 505404 w 1485658"/>
              <a:gd name="connsiteY568" fmla="*/ 768603 h 1479935"/>
              <a:gd name="connsiteX569" fmla="*/ 474851 w 1485658"/>
              <a:gd name="connsiteY569" fmla="*/ 799040 h 1479935"/>
              <a:gd name="connsiteX570" fmla="*/ 534243 w 1485658"/>
              <a:gd name="connsiteY570" fmla="*/ 799040 h 1479935"/>
              <a:gd name="connsiteX571" fmla="*/ 564796 w 1485658"/>
              <a:gd name="connsiteY571" fmla="*/ 829477 h 1479935"/>
              <a:gd name="connsiteX572" fmla="*/ 595348 w 1485658"/>
              <a:gd name="connsiteY572" fmla="*/ 799040 h 1479935"/>
              <a:gd name="connsiteX573" fmla="*/ 564796 w 1485658"/>
              <a:gd name="connsiteY573" fmla="*/ 768603 h 1479935"/>
              <a:gd name="connsiteX574" fmla="*/ 534243 w 1485658"/>
              <a:gd name="connsiteY574" fmla="*/ 799040 h 1479935"/>
              <a:gd name="connsiteX575" fmla="*/ 593635 w 1485658"/>
              <a:gd name="connsiteY575" fmla="*/ 799040 h 1479935"/>
              <a:gd name="connsiteX576" fmla="*/ 624188 w 1485658"/>
              <a:gd name="connsiteY576" fmla="*/ 829477 h 1479935"/>
              <a:gd name="connsiteX577" fmla="*/ 654740 w 1485658"/>
              <a:gd name="connsiteY577" fmla="*/ 799040 h 1479935"/>
              <a:gd name="connsiteX578" fmla="*/ 624188 w 1485658"/>
              <a:gd name="connsiteY578" fmla="*/ 768603 h 1479935"/>
              <a:gd name="connsiteX579" fmla="*/ 593635 w 1485658"/>
              <a:gd name="connsiteY579" fmla="*/ 799040 h 1479935"/>
              <a:gd name="connsiteX580" fmla="*/ 712324 w 1485658"/>
              <a:gd name="connsiteY580" fmla="*/ 799040 h 1479935"/>
              <a:gd name="connsiteX581" fmla="*/ 742877 w 1485658"/>
              <a:gd name="connsiteY581" fmla="*/ 829477 h 1479935"/>
              <a:gd name="connsiteX582" fmla="*/ 773429 w 1485658"/>
              <a:gd name="connsiteY582" fmla="*/ 799040 h 1479935"/>
              <a:gd name="connsiteX583" fmla="*/ 742877 w 1485658"/>
              <a:gd name="connsiteY583" fmla="*/ 768603 h 1479935"/>
              <a:gd name="connsiteX584" fmla="*/ 712324 w 1485658"/>
              <a:gd name="connsiteY584" fmla="*/ 799040 h 1479935"/>
              <a:gd name="connsiteX585" fmla="*/ 771621 w 1485658"/>
              <a:gd name="connsiteY585" fmla="*/ 799040 h 1479935"/>
              <a:gd name="connsiteX586" fmla="*/ 802174 w 1485658"/>
              <a:gd name="connsiteY586" fmla="*/ 829477 h 1479935"/>
              <a:gd name="connsiteX587" fmla="*/ 832726 w 1485658"/>
              <a:gd name="connsiteY587" fmla="*/ 799040 h 1479935"/>
              <a:gd name="connsiteX588" fmla="*/ 802174 w 1485658"/>
              <a:gd name="connsiteY588" fmla="*/ 768603 h 1479935"/>
              <a:gd name="connsiteX589" fmla="*/ 771621 w 1485658"/>
              <a:gd name="connsiteY589" fmla="*/ 799040 h 1479935"/>
              <a:gd name="connsiteX590" fmla="*/ 949702 w 1485658"/>
              <a:gd name="connsiteY590" fmla="*/ 799040 h 1479935"/>
              <a:gd name="connsiteX591" fmla="*/ 980255 w 1485658"/>
              <a:gd name="connsiteY591" fmla="*/ 829477 h 1479935"/>
              <a:gd name="connsiteX592" fmla="*/ 1010807 w 1485658"/>
              <a:gd name="connsiteY592" fmla="*/ 799040 h 1479935"/>
              <a:gd name="connsiteX593" fmla="*/ 980255 w 1485658"/>
              <a:gd name="connsiteY593" fmla="*/ 768603 h 1479935"/>
              <a:gd name="connsiteX594" fmla="*/ 949702 w 1485658"/>
              <a:gd name="connsiteY594" fmla="*/ 799040 h 1479935"/>
              <a:gd name="connsiteX595" fmla="*/ 1009094 w 1485658"/>
              <a:gd name="connsiteY595" fmla="*/ 799040 h 1479935"/>
              <a:gd name="connsiteX596" fmla="*/ 1039647 w 1485658"/>
              <a:gd name="connsiteY596" fmla="*/ 829477 h 1479935"/>
              <a:gd name="connsiteX597" fmla="*/ 1070199 w 1485658"/>
              <a:gd name="connsiteY597" fmla="*/ 799040 h 1479935"/>
              <a:gd name="connsiteX598" fmla="*/ 1039647 w 1485658"/>
              <a:gd name="connsiteY598" fmla="*/ 768603 h 1479935"/>
              <a:gd name="connsiteX599" fmla="*/ 1009094 w 1485658"/>
              <a:gd name="connsiteY599" fmla="*/ 799040 h 1479935"/>
              <a:gd name="connsiteX600" fmla="*/ 1127783 w 1485658"/>
              <a:gd name="connsiteY600" fmla="*/ 799040 h 1479935"/>
              <a:gd name="connsiteX601" fmla="*/ 1158336 w 1485658"/>
              <a:gd name="connsiteY601" fmla="*/ 829477 h 1479935"/>
              <a:gd name="connsiteX602" fmla="*/ 1188888 w 1485658"/>
              <a:gd name="connsiteY602" fmla="*/ 799040 h 1479935"/>
              <a:gd name="connsiteX603" fmla="*/ 1158336 w 1485658"/>
              <a:gd name="connsiteY603" fmla="*/ 768603 h 1479935"/>
              <a:gd name="connsiteX604" fmla="*/ 1127783 w 1485658"/>
              <a:gd name="connsiteY604" fmla="*/ 799040 h 1479935"/>
              <a:gd name="connsiteX605" fmla="*/ 1246472 w 1485658"/>
              <a:gd name="connsiteY605" fmla="*/ 799040 h 1479935"/>
              <a:gd name="connsiteX606" fmla="*/ 1277025 w 1485658"/>
              <a:gd name="connsiteY606" fmla="*/ 829477 h 1479935"/>
              <a:gd name="connsiteX607" fmla="*/ 1307577 w 1485658"/>
              <a:gd name="connsiteY607" fmla="*/ 799040 h 1479935"/>
              <a:gd name="connsiteX608" fmla="*/ 1277025 w 1485658"/>
              <a:gd name="connsiteY608" fmla="*/ 768603 h 1479935"/>
              <a:gd name="connsiteX609" fmla="*/ 1246472 w 1485658"/>
              <a:gd name="connsiteY609" fmla="*/ 799040 h 1479935"/>
              <a:gd name="connsiteX610" fmla="*/ 1365161 w 1485658"/>
              <a:gd name="connsiteY610" fmla="*/ 799040 h 1479935"/>
              <a:gd name="connsiteX611" fmla="*/ 1395714 w 1485658"/>
              <a:gd name="connsiteY611" fmla="*/ 829477 h 1479935"/>
              <a:gd name="connsiteX612" fmla="*/ 1426266 w 1485658"/>
              <a:gd name="connsiteY612" fmla="*/ 799040 h 1479935"/>
              <a:gd name="connsiteX613" fmla="*/ 1395714 w 1485658"/>
              <a:gd name="connsiteY613" fmla="*/ 768603 h 1479935"/>
              <a:gd name="connsiteX614" fmla="*/ 1365161 w 1485658"/>
              <a:gd name="connsiteY614" fmla="*/ 799040 h 1479935"/>
              <a:gd name="connsiteX615" fmla="*/ 95 w 1485658"/>
              <a:gd name="connsiteY615" fmla="*/ 858207 h 1479935"/>
              <a:gd name="connsiteX616" fmla="*/ 30648 w 1485658"/>
              <a:gd name="connsiteY616" fmla="*/ 888644 h 1479935"/>
              <a:gd name="connsiteX617" fmla="*/ 61200 w 1485658"/>
              <a:gd name="connsiteY617" fmla="*/ 858207 h 1479935"/>
              <a:gd name="connsiteX618" fmla="*/ 30648 w 1485658"/>
              <a:gd name="connsiteY618" fmla="*/ 827770 h 1479935"/>
              <a:gd name="connsiteX619" fmla="*/ 95 w 1485658"/>
              <a:gd name="connsiteY619" fmla="*/ 858207 h 1479935"/>
              <a:gd name="connsiteX620" fmla="*/ 118784 w 1485658"/>
              <a:gd name="connsiteY620" fmla="*/ 858207 h 1479935"/>
              <a:gd name="connsiteX621" fmla="*/ 149337 w 1485658"/>
              <a:gd name="connsiteY621" fmla="*/ 888644 h 1479935"/>
              <a:gd name="connsiteX622" fmla="*/ 179889 w 1485658"/>
              <a:gd name="connsiteY622" fmla="*/ 858207 h 1479935"/>
              <a:gd name="connsiteX623" fmla="*/ 149337 w 1485658"/>
              <a:gd name="connsiteY623" fmla="*/ 827770 h 1479935"/>
              <a:gd name="connsiteX624" fmla="*/ 118784 w 1485658"/>
              <a:gd name="connsiteY624" fmla="*/ 858207 h 1479935"/>
              <a:gd name="connsiteX625" fmla="*/ 178081 w 1485658"/>
              <a:gd name="connsiteY625" fmla="*/ 858207 h 1479935"/>
              <a:gd name="connsiteX626" fmla="*/ 208634 w 1485658"/>
              <a:gd name="connsiteY626" fmla="*/ 888644 h 1479935"/>
              <a:gd name="connsiteX627" fmla="*/ 239186 w 1485658"/>
              <a:gd name="connsiteY627" fmla="*/ 858207 h 1479935"/>
              <a:gd name="connsiteX628" fmla="*/ 208634 w 1485658"/>
              <a:gd name="connsiteY628" fmla="*/ 827770 h 1479935"/>
              <a:gd name="connsiteX629" fmla="*/ 178081 w 1485658"/>
              <a:gd name="connsiteY629" fmla="*/ 858207 h 1479935"/>
              <a:gd name="connsiteX630" fmla="*/ 356162 w 1485658"/>
              <a:gd name="connsiteY630" fmla="*/ 858207 h 1479935"/>
              <a:gd name="connsiteX631" fmla="*/ 386715 w 1485658"/>
              <a:gd name="connsiteY631" fmla="*/ 888644 h 1479935"/>
              <a:gd name="connsiteX632" fmla="*/ 417267 w 1485658"/>
              <a:gd name="connsiteY632" fmla="*/ 858207 h 1479935"/>
              <a:gd name="connsiteX633" fmla="*/ 386715 w 1485658"/>
              <a:gd name="connsiteY633" fmla="*/ 827770 h 1479935"/>
              <a:gd name="connsiteX634" fmla="*/ 356162 w 1485658"/>
              <a:gd name="connsiteY634" fmla="*/ 858207 h 1479935"/>
              <a:gd name="connsiteX635" fmla="*/ 474851 w 1485658"/>
              <a:gd name="connsiteY635" fmla="*/ 858207 h 1479935"/>
              <a:gd name="connsiteX636" fmla="*/ 505404 w 1485658"/>
              <a:gd name="connsiteY636" fmla="*/ 888644 h 1479935"/>
              <a:gd name="connsiteX637" fmla="*/ 535956 w 1485658"/>
              <a:gd name="connsiteY637" fmla="*/ 858207 h 1479935"/>
              <a:gd name="connsiteX638" fmla="*/ 505404 w 1485658"/>
              <a:gd name="connsiteY638" fmla="*/ 827770 h 1479935"/>
              <a:gd name="connsiteX639" fmla="*/ 474851 w 1485658"/>
              <a:gd name="connsiteY639" fmla="*/ 858207 h 1479935"/>
              <a:gd name="connsiteX640" fmla="*/ 771621 w 1485658"/>
              <a:gd name="connsiteY640" fmla="*/ 858207 h 1479935"/>
              <a:gd name="connsiteX641" fmla="*/ 802174 w 1485658"/>
              <a:gd name="connsiteY641" fmla="*/ 888644 h 1479935"/>
              <a:gd name="connsiteX642" fmla="*/ 832726 w 1485658"/>
              <a:gd name="connsiteY642" fmla="*/ 858207 h 1479935"/>
              <a:gd name="connsiteX643" fmla="*/ 802174 w 1485658"/>
              <a:gd name="connsiteY643" fmla="*/ 827770 h 1479935"/>
              <a:gd name="connsiteX644" fmla="*/ 771621 w 1485658"/>
              <a:gd name="connsiteY644" fmla="*/ 858207 h 1479935"/>
              <a:gd name="connsiteX645" fmla="*/ 831013 w 1485658"/>
              <a:gd name="connsiteY645" fmla="*/ 858207 h 1479935"/>
              <a:gd name="connsiteX646" fmla="*/ 861566 w 1485658"/>
              <a:gd name="connsiteY646" fmla="*/ 888644 h 1479935"/>
              <a:gd name="connsiteX647" fmla="*/ 892118 w 1485658"/>
              <a:gd name="connsiteY647" fmla="*/ 858207 h 1479935"/>
              <a:gd name="connsiteX648" fmla="*/ 861566 w 1485658"/>
              <a:gd name="connsiteY648" fmla="*/ 827770 h 1479935"/>
              <a:gd name="connsiteX649" fmla="*/ 831013 w 1485658"/>
              <a:gd name="connsiteY649" fmla="*/ 858207 h 1479935"/>
              <a:gd name="connsiteX650" fmla="*/ 890310 w 1485658"/>
              <a:gd name="connsiteY650" fmla="*/ 858207 h 1479935"/>
              <a:gd name="connsiteX651" fmla="*/ 920863 w 1485658"/>
              <a:gd name="connsiteY651" fmla="*/ 888644 h 1479935"/>
              <a:gd name="connsiteX652" fmla="*/ 951415 w 1485658"/>
              <a:gd name="connsiteY652" fmla="*/ 858207 h 1479935"/>
              <a:gd name="connsiteX653" fmla="*/ 920863 w 1485658"/>
              <a:gd name="connsiteY653" fmla="*/ 827770 h 1479935"/>
              <a:gd name="connsiteX654" fmla="*/ 890310 w 1485658"/>
              <a:gd name="connsiteY654" fmla="*/ 858207 h 1479935"/>
              <a:gd name="connsiteX655" fmla="*/ 949702 w 1485658"/>
              <a:gd name="connsiteY655" fmla="*/ 858207 h 1479935"/>
              <a:gd name="connsiteX656" fmla="*/ 980255 w 1485658"/>
              <a:gd name="connsiteY656" fmla="*/ 888644 h 1479935"/>
              <a:gd name="connsiteX657" fmla="*/ 1010807 w 1485658"/>
              <a:gd name="connsiteY657" fmla="*/ 858207 h 1479935"/>
              <a:gd name="connsiteX658" fmla="*/ 980255 w 1485658"/>
              <a:gd name="connsiteY658" fmla="*/ 827770 h 1479935"/>
              <a:gd name="connsiteX659" fmla="*/ 949702 w 1485658"/>
              <a:gd name="connsiteY659" fmla="*/ 858207 h 1479935"/>
              <a:gd name="connsiteX660" fmla="*/ 1068391 w 1485658"/>
              <a:gd name="connsiteY660" fmla="*/ 858207 h 1479935"/>
              <a:gd name="connsiteX661" fmla="*/ 1098944 w 1485658"/>
              <a:gd name="connsiteY661" fmla="*/ 888644 h 1479935"/>
              <a:gd name="connsiteX662" fmla="*/ 1129496 w 1485658"/>
              <a:gd name="connsiteY662" fmla="*/ 858207 h 1479935"/>
              <a:gd name="connsiteX663" fmla="*/ 1098944 w 1485658"/>
              <a:gd name="connsiteY663" fmla="*/ 827770 h 1479935"/>
              <a:gd name="connsiteX664" fmla="*/ 1068391 w 1485658"/>
              <a:gd name="connsiteY664" fmla="*/ 858207 h 1479935"/>
              <a:gd name="connsiteX665" fmla="*/ 1127783 w 1485658"/>
              <a:gd name="connsiteY665" fmla="*/ 858207 h 1479935"/>
              <a:gd name="connsiteX666" fmla="*/ 1158336 w 1485658"/>
              <a:gd name="connsiteY666" fmla="*/ 888644 h 1479935"/>
              <a:gd name="connsiteX667" fmla="*/ 1188888 w 1485658"/>
              <a:gd name="connsiteY667" fmla="*/ 858207 h 1479935"/>
              <a:gd name="connsiteX668" fmla="*/ 1158336 w 1485658"/>
              <a:gd name="connsiteY668" fmla="*/ 827770 h 1479935"/>
              <a:gd name="connsiteX669" fmla="*/ 1127783 w 1485658"/>
              <a:gd name="connsiteY669" fmla="*/ 858207 h 1479935"/>
              <a:gd name="connsiteX670" fmla="*/ 1187080 w 1485658"/>
              <a:gd name="connsiteY670" fmla="*/ 858207 h 1479935"/>
              <a:gd name="connsiteX671" fmla="*/ 1217633 w 1485658"/>
              <a:gd name="connsiteY671" fmla="*/ 888644 h 1479935"/>
              <a:gd name="connsiteX672" fmla="*/ 1248185 w 1485658"/>
              <a:gd name="connsiteY672" fmla="*/ 858207 h 1479935"/>
              <a:gd name="connsiteX673" fmla="*/ 1217633 w 1485658"/>
              <a:gd name="connsiteY673" fmla="*/ 827770 h 1479935"/>
              <a:gd name="connsiteX674" fmla="*/ 1187080 w 1485658"/>
              <a:gd name="connsiteY674" fmla="*/ 858207 h 1479935"/>
              <a:gd name="connsiteX675" fmla="*/ 1246472 w 1485658"/>
              <a:gd name="connsiteY675" fmla="*/ 858207 h 1479935"/>
              <a:gd name="connsiteX676" fmla="*/ 1277025 w 1485658"/>
              <a:gd name="connsiteY676" fmla="*/ 888644 h 1479935"/>
              <a:gd name="connsiteX677" fmla="*/ 1307577 w 1485658"/>
              <a:gd name="connsiteY677" fmla="*/ 858207 h 1479935"/>
              <a:gd name="connsiteX678" fmla="*/ 1277025 w 1485658"/>
              <a:gd name="connsiteY678" fmla="*/ 827770 h 1479935"/>
              <a:gd name="connsiteX679" fmla="*/ 1246472 w 1485658"/>
              <a:gd name="connsiteY679" fmla="*/ 858207 h 1479935"/>
              <a:gd name="connsiteX680" fmla="*/ 1365161 w 1485658"/>
              <a:gd name="connsiteY680" fmla="*/ 858207 h 1479935"/>
              <a:gd name="connsiteX681" fmla="*/ 1395714 w 1485658"/>
              <a:gd name="connsiteY681" fmla="*/ 888644 h 1479935"/>
              <a:gd name="connsiteX682" fmla="*/ 1426266 w 1485658"/>
              <a:gd name="connsiteY682" fmla="*/ 858207 h 1479935"/>
              <a:gd name="connsiteX683" fmla="*/ 1395714 w 1485658"/>
              <a:gd name="connsiteY683" fmla="*/ 827770 h 1479935"/>
              <a:gd name="connsiteX684" fmla="*/ 1365161 w 1485658"/>
              <a:gd name="connsiteY684" fmla="*/ 858207 h 1479935"/>
              <a:gd name="connsiteX685" fmla="*/ 1424553 w 1485658"/>
              <a:gd name="connsiteY685" fmla="*/ 858207 h 1479935"/>
              <a:gd name="connsiteX686" fmla="*/ 1455106 w 1485658"/>
              <a:gd name="connsiteY686" fmla="*/ 888644 h 1479935"/>
              <a:gd name="connsiteX687" fmla="*/ 1485658 w 1485658"/>
              <a:gd name="connsiteY687" fmla="*/ 858207 h 1479935"/>
              <a:gd name="connsiteX688" fmla="*/ 1455106 w 1485658"/>
              <a:gd name="connsiteY688" fmla="*/ 827770 h 1479935"/>
              <a:gd name="connsiteX689" fmla="*/ 1424553 w 1485658"/>
              <a:gd name="connsiteY689" fmla="*/ 858207 h 1479935"/>
              <a:gd name="connsiteX690" fmla="*/ 95 w 1485658"/>
              <a:gd name="connsiteY690" fmla="*/ 917374 h 1479935"/>
              <a:gd name="connsiteX691" fmla="*/ 30648 w 1485658"/>
              <a:gd name="connsiteY691" fmla="*/ 947811 h 1479935"/>
              <a:gd name="connsiteX692" fmla="*/ 61200 w 1485658"/>
              <a:gd name="connsiteY692" fmla="*/ 917374 h 1479935"/>
              <a:gd name="connsiteX693" fmla="*/ 30648 w 1485658"/>
              <a:gd name="connsiteY693" fmla="*/ 886937 h 1479935"/>
              <a:gd name="connsiteX694" fmla="*/ 95 w 1485658"/>
              <a:gd name="connsiteY694" fmla="*/ 917374 h 1479935"/>
              <a:gd name="connsiteX695" fmla="*/ 593635 w 1485658"/>
              <a:gd name="connsiteY695" fmla="*/ 917374 h 1479935"/>
              <a:gd name="connsiteX696" fmla="*/ 624188 w 1485658"/>
              <a:gd name="connsiteY696" fmla="*/ 947811 h 1479935"/>
              <a:gd name="connsiteX697" fmla="*/ 654740 w 1485658"/>
              <a:gd name="connsiteY697" fmla="*/ 917374 h 1479935"/>
              <a:gd name="connsiteX698" fmla="*/ 624188 w 1485658"/>
              <a:gd name="connsiteY698" fmla="*/ 886937 h 1479935"/>
              <a:gd name="connsiteX699" fmla="*/ 593635 w 1485658"/>
              <a:gd name="connsiteY699" fmla="*/ 917374 h 1479935"/>
              <a:gd name="connsiteX700" fmla="*/ 712324 w 1485658"/>
              <a:gd name="connsiteY700" fmla="*/ 917374 h 1479935"/>
              <a:gd name="connsiteX701" fmla="*/ 742877 w 1485658"/>
              <a:gd name="connsiteY701" fmla="*/ 947811 h 1479935"/>
              <a:gd name="connsiteX702" fmla="*/ 773429 w 1485658"/>
              <a:gd name="connsiteY702" fmla="*/ 917374 h 1479935"/>
              <a:gd name="connsiteX703" fmla="*/ 742877 w 1485658"/>
              <a:gd name="connsiteY703" fmla="*/ 886937 h 1479935"/>
              <a:gd name="connsiteX704" fmla="*/ 712324 w 1485658"/>
              <a:gd name="connsiteY704" fmla="*/ 917374 h 1479935"/>
              <a:gd name="connsiteX705" fmla="*/ 771621 w 1485658"/>
              <a:gd name="connsiteY705" fmla="*/ 917374 h 1479935"/>
              <a:gd name="connsiteX706" fmla="*/ 802174 w 1485658"/>
              <a:gd name="connsiteY706" fmla="*/ 947811 h 1479935"/>
              <a:gd name="connsiteX707" fmla="*/ 832726 w 1485658"/>
              <a:gd name="connsiteY707" fmla="*/ 917374 h 1479935"/>
              <a:gd name="connsiteX708" fmla="*/ 802174 w 1485658"/>
              <a:gd name="connsiteY708" fmla="*/ 886937 h 1479935"/>
              <a:gd name="connsiteX709" fmla="*/ 771621 w 1485658"/>
              <a:gd name="connsiteY709" fmla="*/ 917374 h 1479935"/>
              <a:gd name="connsiteX710" fmla="*/ 890310 w 1485658"/>
              <a:gd name="connsiteY710" fmla="*/ 917374 h 1479935"/>
              <a:gd name="connsiteX711" fmla="*/ 920863 w 1485658"/>
              <a:gd name="connsiteY711" fmla="*/ 947811 h 1479935"/>
              <a:gd name="connsiteX712" fmla="*/ 951415 w 1485658"/>
              <a:gd name="connsiteY712" fmla="*/ 917374 h 1479935"/>
              <a:gd name="connsiteX713" fmla="*/ 920863 w 1485658"/>
              <a:gd name="connsiteY713" fmla="*/ 886937 h 1479935"/>
              <a:gd name="connsiteX714" fmla="*/ 890310 w 1485658"/>
              <a:gd name="connsiteY714" fmla="*/ 917374 h 1479935"/>
              <a:gd name="connsiteX715" fmla="*/ 949702 w 1485658"/>
              <a:gd name="connsiteY715" fmla="*/ 917374 h 1479935"/>
              <a:gd name="connsiteX716" fmla="*/ 980255 w 1485658"/>
              <a:gd name="connsiteY716" fmla="*/ 947811 h 1479935"/>
              <a:gd name="connsiteX717" fmla="*/ 1010807 w 1485658"/>
              <a:gd name="connsiteY717" fmla="*/ 917374 h 1479935"/>
              <a:gd name="connsiteX718" fmla="*/ 980255 w 1485658"/>
              <a:gd name="connsiteY718" fmla="*/ 886937 h 1479935"/>
              <a:gd name="connsiteX719" fmla="*/ 949702 w 1485658"/>
              <a:gd name="connsiteY719" fmla="*/ 917374 h 1479935"/>
              <a:gd name="connsiteX720" fmla="*/ 1127783 w 1485658"/>
              <a:gd name="connsiteY720" fmla="*/ 917374 h 1479935"/>
              <a:gd name="connsiteX721" fmla="*/ 1158336 w 1485658"/>
              <a:gd name="connsiteY721" fmla="*/ 947811 h 1479935"/>
              <a:gd name="connsiteX722" fmla="*/ 1188888 w 1485658"/>
              <a:gd name="connsiteY722" fmla="*/ 917374 h 1479935"/>
              <a:gd name="connsiteX723" fmla="*/ 1158336 w 1485658"/>
              <a:gd name="connsiteY723" fmla="*/ 886937 h 1479935"/>
              <a:gd name="connsiteX724" fmla="*/ 1127783 w 1485658"/>
              <a:gd name="connsiteY724" fmla="*/ 917374 h 1479935"/>
              <a:gd name="connsiteX725" fmla="*/ 1187080 w 1485658"/>
              <a:gd name="connsiteY725" fmla="*/ 917374 h 1479935"/>
              <a:gd name="connsiteX726" fmla="*/ 1217633 w 1485658"/>
              <a:gd name="connsiteY726" fmla="*/ 947811 h 1479935"/>
              <a:gd name="connsiteX727" fmla="*/ 1248185 w 1485658"/>
              <a:gd name="connsiteY727" fmla="*/ 917374 h 1479935"/>
              <a:gd name="connsiteX728" fmla="*/ 1217633 w 1485658"/>
              <a:gd name="connsiteY728" fmla="*/ 886937 h 1479935"/>
              <a:gd name="connsiteX729" fmla="*/ 1187080 w 1485658"/>
              <a:gd name="connsiteY729" fmla="*/ 917374 h 1479935"/>
              <a:gd name="connsiteX730" fmla="*/ 1424553 w 1485658"/>
              <a:gd name="connsiteY730" fmla="*/ 917374 h 1479935"/>
              <a:gd name="connsiteX731" fmla="*/ 1455106 w 1485658"/>
              <a:gd name="connsiteY731" fmla="*/ 947811 h 1479935"/>
              <a:gd name="connsiteX732" fmla="*/ 1485658 w 1485658"/>
              <a:gd name="connsiteY732" fmla="*/ 917374 h 1479935"/>
              <a:gd name="connsiteX733" fmla="*/ 1455106 w 1485658"/>
              <a:gd name="connsiteY733" fmla="*/ 886937 h 1479935"/>
              <a:gd name="connsiteX734" fmla="*/ 1424553 w 1485658"/>
              <a:gd name="connsiteY734" fmla="*/ 917374 h 1479935"/>
              <a:gd name="connsiteX735" fmla="*/ 95 w 1485658"/>
              <a:gd name="connsiteY735" fmla="*/ 976446 h 1479935"/>
              <a:gd name="connsiteX736" fmla="*/ 30648 w 1485658"/>
              <a:gd name="connsiteY736" fmla="*/ 1006883 h 1479935"/>
              <a:gd name="connsiteX737" fmla="*/ 61200 w 1485658"/>
              <a:gd name="connsiteY737" fmla="*/ 976446 h 1479935"/>
              <a:gd name="connsiteX738" fmla="*/ 30648 w 1485658"/>
              <a:gd name="connsiteY738" fmla="*/ 946009 h 1479935"/>
              <a:gd name="connsiteX739" fmla="*/ 95 w 1485658"/>
              <a:gd name="connsiteY739" fmla="*/ 976446 h 1479935"/>
              <a:gd name="connsiteX740" fmla="*/ 178081 w 1485658"/>
              <a:gd name="connsiteY740" fmla="*/ 976446 h 1479935"/>
              <a:gd name="connsiteX741" fmla="*/ 208634 w 1485658"/>
              <a:gd name="connsiteY741" fmla="*/ 1006883 h 1479935"/>
              <a:gd name="connsiteX742" fmla="*/ 239186 w 1485658"/>
              <a:gd name="connsiteY742" fmla="*/ 976446 h 1479935"/>
              <a:gd name="connsiteX743" fmla="*/ 208634 w 1485658"/>
              <a:gd name="connsiteY743" fmla="*/ 946009 h 1479935"/>
              <a:gd name="connsiteX744" fmla="*/ 178081 w 1485658"/>
              <a:gd name="connsiteY744" fmla="*/ 976446 h 1479935"/>
              <a:gd name="connsiteX745" fmla="*/ 356162 w 1485658"/>
              <a:gd name="connsiteY745" fmla="*/ 976446 h 1479935"/>
              <a:gd name="connsiteX746" fmla="*/ 386715 w 1485658"/>
              <a:gd name="connsiteY746" fmla="*/ 1006883 h 1479935"/>
              <a:gd name="connsiteX747" fmla="*/ 417267 w 1485658"/>
              <a:gd name="connsiteY747" fmla="*/ 976446 h 1479935"/>
              <a:gd name="connsiteX748" fmla="*/ 386715 w 1485658"/>
              <a:gd name="connsiteY748" fmla="*/ 946009 h 1479935"/>
              <a:gd name="connsiteX749" fmla="*/ 356162 w 1485658"/>
              <a:gd name="connsiteY749" fmla="*/ 976446 h 1479935"/>
              <a:gd name="connsiteX750" fmla="*/ 415554 w 1485658"/>
              <a:gd name="connsiteY750" fmla="*/ 976446 h 1479935"/>
              <a:gd name="connsiteX751" fmla="*/ 446107 w 1485658"/>
              <a:gd name="connsiteY751" fmla="*/ 1006883 h 1479935"/>
              <a:gd name="connsiteX752" fmla="*/ 476659 w 1485658"/>
              <a:gd name="connsiteY752" fmla="*/ 976446 h 1479935"/>
              <a:gd name="connsiteX753" fmla="*/ 446107 w 1485658"/>
              <a:gd name="connsiteY753" fmla="*/ 946009 h 1479935"/>
              <a:gd name="connsiteX754" fmla="*/ 415554 w 1485658"/>
              <a:gd name="connsiteY754" fmla="*/ 976446 h 1479935"/>
              <a:gd name="connsiteX755" fmla="*/ 534243 w 1485658"/>
              <a:gd name="connsiteY755" fmla="*/ 976446 h 1479935"/>
              <a:gd name="connsiteX756" fmla="*/ 564796 w 1485658"/>
              <a:gd name="connsiteY756" fmla="*/ 1006883 h 1479935"/>
              <a:gd name="connsiteX757" fmla="*/ 595348 w 1485658"/>
              <a:gd name="connsiteY757" fmla="*/ 976446 h 1479935"/>
              <a:gd name="connsiteX758" fmla="*/ 564796 w 1485658"/>
              <a:gd name="connsiteY758" fmla="*/ 946009 h 1479935"/>
              <a:gd name="connsiteX759" fmla="*/ 534243 w 1485658"/>
              <a:gd name="connsiteY759" fmla="*/ 976446 h 1479935"/>
              <a:gd name="connsiteX760" fmla="*/ 593635 w 1485658"/>
              <a:gd name="connsiteY760" fmla="*/ 976446 h 1479935"/>
              <a:gd name="connsiteX761" fmla="*/ 624188 w 1485658"/>
              <a:gd name="connsiteY761" fmla="*/ 1006883 h 1479935"/>
              <a:gd name="connsiteX762" fmla="*/ 654740 w 1485658"/>
              <a:gd name="connsiteY762" fmla="*/ 976446 h 1479935"/>
              <a:gd name="connsiteX763" fmla="*/ 624188 w 1485658"/>
              <a:gd name="connsiteY763" fmla="*/ 946009 h 1479935"/>
              <a:gd name="connsiteX764" fmla="*/ 593635 w 1485658"/>
              <a:gd name="connsiteY764" fmla="*/ 976446 h 1479935"/>
              <a:gd name="connsiteX765" fmla="*/ 712324 w 1485658"/>
              <a:gd name="connsiteY765" fmla="*/ 976446 h 1479935"/>
              <a:gd name="connsiteX766" fmla="*/ 742877 w 1485658"/>
              <a:gd name="connsiteY766" fmla="*/ 1006883 h 1479935"/>
              <a:gd name="connsiteX767" fmla="*/ 773429 w 1485658"/>
              <a:gd name="connsiteY767" fmla="*/ 976446 h 1479935"/>
              <a:gd name="connsiteX768" fmla="*/ 742877 w 1485658"/>
              <a:gd name="connsiteY768" fmla="*/ 946009 h 1479935"/>
              <a:gd name="connsiteX769" fmla="*/ 712324 w 1485658"/>
              <a:gd name="connsiteY769" fmla="*/ 976446 h 1479935"/>
              <a:gd name="connsiteX770" fmla="*/ 831013 w 1485658"/>
              <a:gd name="connsiteY770" fmla="*/ 976446 h 1479935"/>
              <a:gd name="connsiteX771" fmla="*/ 861566 w 1485658"/>
              <a:gd name="connsiteY771" fmla="*/ 1006883 h 1479935"/>
              <a:gd name="connsiteX772" fmla="*/ 892118 w 1485658"/>
              <a:gd name="connsiteY772" fmla="*/ 976446 h 1479935"/>
              <a:gd name="connsiteX773" fmla="*/ 861566 w 1485658"/>
              <a:gd name="connsiteY773" fmla="*/ 946009 h 1479935"/>
              <a:gd name="connsiteX774" fmla="*/ 831013 w 1485658"/>
              <a:gd name="connsiteY774" fmla="*/ 976446 h 1479935"/>
              <a:gd name="connsiteX775" fmla="*/ 890310 w 1485658"/>
              <a:gd name="connsiteY775" fmla="*/ 976446 h 1479935"/>
              <a:gd name="connsiteX776" fmla="*/ 920863 w 1485658"/>
              <a:gd name="connsiteY776" fmla="*/ 1006883 h 1479935"/>
              <a:gd name="connsiteX777" fmla="*/ 951415 w 1485658"/>
              <a:gd name="connsiteY777" fmla="*/ 976446 h 1479935"/>
              <a:gd name="connsiteX778" fmla="*/ 920863 w 1485658"/>
              <a:gd name="connsiteY778" fmla="*/ 946009 h 1479935"/>
              <a:gd name="connsiteX779" fmla="*/ 890310 w 1485658"/>
              <a:gd name="connsiteY779" fmla="*/ 976446 h 1479935"/>
              <a:gd name="connsiteX780" fmla="*/ 949702 w 1485658"/>
              <a:gd name="connsiteY780" fmla="*/ 976446 h 1479935"/>
              <a:gd name="connsiteX781" fmla="*/ 980255 w 1485658"/>
              <a:gd name="connsiteY781" fmla="*/ 1006883 h 1479935"/>
              <a:gd name="connsiteX782" fmla="*/ 1010807 w 1485658"/>
              <a:gd name="connsiteY782" fmla="*/ 976446 h 1479935"/>
              <a:gd name="connsiteX783" fmla="*/ 980255 w 1485658"/>
              <a:gd name="connsiteY783" fmla="*/ 946009 h 1479935"/>
              <a:gd name="connsiteX784" fmla="*/ 949702 w 1485658"/>
              <a:gd name="connsiteY784" fmla="*/ 976446 h 1479935"/>
              <a:gd name="connsiteX785" fmla="*/ 1009094 w 1485658"/>
              <a:gd name="connsiteY785" fmla="*/ 976446 h 1479935"/>
              <a:gd name="connsiteX786" fmla="*/ 1039647 w 1485658"/>
              <a:gd name="connsiteY786" fmla="*/ 1006883 h 1479935"/>
              <a:gd name="connsiteX787" fmla="*/ 1070199 w 1485658"/>
              <a:gd name="connsiteY787" fmla="*/ 976446 h 1479935"/>
              <a:gd name="connsiteX788" fmla="*/ 1039647 w 1485658"/>
              <a:gd name="connsiteY788" fmla="*/ 946009 h 1479935"/>
              <a:gd name="connsiteX789" fmla="*/ 1009094 w 1485658"/>
              <a:gd name="connsiteY789" fmla="*/ 976446 h 1479935"/>
              <a:gd name="connsiteX790" fmla="*/ 1068391 w 1485658"/>
              <a:gd name="connsiteY790" fmla="*/ 976446 h 1479935"/>
              <a:gd name="connsiteX791" fmla="*/ 1098944 w 1485658"/>
              <a:gd name="connsiteY791" fmla="*/ 1006883 h 1479935"/>
              <a:gd name="connsiteX792" fmla="*/ 1129496 w 1485658"/>
              <a:gd name="connsiteY792" fmla="*/ 976446 h 1479935"/>
              <a:gd name="connsiteX793" fmla="*/ 1098944 w 1485658"/>
              <a:gd name="connsiteY793" fmla="*/ 946009 h 1479935"/>
              <a:gd name="connsiteX794" fmla="*/ 1068391 w 1485658"/>
              <a:gd name="connsiteY794" fmla="*/ 976446 h 1479935"/>
              <a:gd name="connsiteX795" fmla="*/ 1127783 w 1485658"/>
              <a:gd name="connsiteY795" fmla="*/ 976446 h 1479935"/>
              <a:gd name="connsiteX796" fmla="*/ 1158336 w 1485658"/>
              <a:gd name="connsiteY796" fmla="*/ 1006883 h 1479935"/>
              <a:gd name="connsiteX797" fmla="*/ 1188888 w 1485658"/>
              <a:gd name="connsiteY797" fmla="*/ 976446 h 1479935"/>
              <a:gd name="connsiteX798" fmla="*/ 1158336 w 1485658"/>
              <a:gd name="connsiteY798" fmla="*/ 946009 h 1479935"/>
              <a:gd name="connsiteX799" fmla="*/ 1127783 w 1485658"/>
              <a:gd name="connsiteY799" fmla="*/ 976446 h 1479935"/>
              <a:gd name="connsiteX800" fmla="*/ 1187080 w 1485658"/>
              <a:gd name="connsiteY800" fmla="*/ 976446 h 1479935"/>
              <a:gd name="connsiteX801" fmla="*/ 1217633 w 1485658"/>
              <a:gd name="connsiteY801" fmla="*/ 1006883 h 1479935"/>
              <a:gd name="connsiteX802" fmla="*/ 1248185 w 1485658"/>
              <a:gd name="connsiteY802" fmla="*/ 976446 h 1479935"/>
              <a:gd name="connsiteX803" fmla="*/ 1217633 w 1485658"/>
              <a:gd name="connsiteY803" fmla="*/ 946009 h 1479935"/>
              <a:gd name="connsiteX804" fmla="*/ 1187080 w 1485658"/>
              <a:gd name="connsiteY804" fmla="*/ 976446 h 1479935"/>
              <a:gd name="connsiteX805" fmla="*/ 1305769 w 1485658"/>
              <a:gd name="connsiteY805" fmla="*/ 976446 h 1479935"/>
              <a:gd name="connsiteX806" fmla="*/ 1336322 w 1485658"/>
              <a:gd name="connsiteY806" fmla="*/ 1006883 h 1479935"/>
              <a:gd name="connsiteX807" fmla="*/ 1366874 w 1485658"/>
              <a:gd name="connsiteY807" fmla="*/ 976446 h 1479935"/>
              <a:gd name="connsiteX808" fmla="*/ 1336322 w 1485658"/>
              <a:gd name="connsiteY808" fmla="*/ 946009 h 1479935"/>
              <a:gd name="connsiteX809" fmla="*/ 1305769 w 1485658"/>
              <a:gd name="connsiteY809" fmla="*/ 976446 h 1479935"/>
              <a:gd name="connsiteX810" fmla="*/ 474851 w 1485658"/>
              <a:gd name="connsiteY810" fmla="*/ 1035613 h 1479935"/>
              <a:gd name="connsiteX811" fmla="*/ 505404 w 1485658"/>
              <a:gd name="connsiteY811" fmla="*/ 1066050 h 1479935"/>
              <a:gd name="connsiteX812" fmla="*/ 535956 w 1485658"/>
              <a:gd name="connsiteY812" fmla="*/ 1035613 h 1479935"/>
              <a:gd name="connsiteX813" fmla="*/ 505404 w 1485658"/>
              <a:gd name="connsiteY813" fmla="*/ 1005176 h 1479935"/>
              <a:gd name="connsiteX814" fmla="*/ 474851 w 1485658"/>
              <a:gd name="connsiteY814" fmla="*/ 1035613 h 1479935"/>
              <a:gd name="connsiteX815" fmla="*/ 534243 w 1485658"/>
              <a:gd name="connsiteY815" fmla="*/ 1035613 h 1479935"/>
              <a:gd name="connsiteX816" fmla="*/ 564796 w 1485658"/>
              <a:gd name="connsiteY816" fmla="*/ 1066050 h 1479935"/>
              <a:gd name="connsiteX817" fmla="*/ 595348 w 1485658"/>
              <a:gd name="connsiteY817" fmla="*/ 1035613 h 1479935"/>
              <a:gd name="connsiteX818" fmla="*/ 564796 w 1485658"/>
              <a:gd name="connsiteY818" fmla="*/ 1005176 h 1479935"/>
              <a:gd name="connsiteX819" fmla="*/ 534243 w 1485658"/>
              <a:gd name="connsiteY819" fmla="*/ 1035613 h 1479935"/>
              <a:gd name="connsiteX820" fmla="*/ 593635 w 1485658"/>
              <a:gd name="connsiteY820" fmla="*/ 1035613 h 1479935"/>
              <a:gd name="connsiteX821" fmla="*/ 624188 w 1485658"/>
              <a:gd name="connsiteY821" fmla="*/ 1066050 h 1479935"/>
              <a:gd name="connsiteX822" fmla="*/ 654740 w 1485658"/>
              <a:gd name="connsiteY822" fmla="*/ 1035613 h 1479935"/>
              <a:gd name="connsiteX823" fmla="*/ 624188 w 1485658"/>
              <a:gd name="connsiteY823" fmla="*/ 1005176 h 1479935"/>
              <a:gd name="connsiteX824" fmla="*/ 593635 w 1485658"/>
              <a:gd name="connsiteY824" fmla="*/ 1035613 h 1479935"/>
              <a:gd name="connsiteX825" fmla="*/ 890310 w 1485658"/>
              <a:gd name="connsiteY825" fmla="*/ 1035613 h 1479935"/>
              <a:gd name="connsiteX826" fmla="*/ 920863 w 1485658"/>
              <a:gd name="connsiteY826" fmla="*/ 1066050 h 1479935"/>
              <a:gd name="connsiteX827" fmla="*/ 951415 w 1485658"/>
              <a:gd name="connsiteY827" fmla="*/ 1035613 h 1479935"/>
              <a:gd name="connsiteX828" fmla="*/ 920863 w 1485658"/>
              <a:gd name="connsiteY828" fmla="*/ 1005176 h 1479935"/>
              <a:gd name="connsiteX829" fmla="*/ 890310 w 1485658"/>
              <a:gd name="connsiteY829" fmla="*/ 1035613 h 1479935"/>
              <a:gd name="connsiteX830" fmla="*/ 949702 w 1485658"/>
              <a:gd name="connsiteY830" fmla="*/ 1035613 h 1479935"/>
              <a:gd name="connsiteX831" fmla="*/ 980255 w 1485658"/>
              <a:gd name="connsiteY831" fmla="*/ 1066050 h 1479935"/>
              <a:gd name="connsiteX832" fmla="*/ 1010807 w 1485658"/>
              <a:gd name="connsiteY832" fmla="*/ 1035613 h 1479935"/>
              <a:gd name="connsiteX833" fmla="*/ 980255 w 1485658"/>
              <a:gd name="connsiteY833" fmla="*/ 1005176 h 1479935"/>
              <a:gd name="connsiteX834" fmla="*/ 949702 w 1485658"/>
              <a:gd name="connsiteY834" fmla="*/ 1035613 h 1479935"/>
              <a:gd name="connsiteX835" fmla="*/ 1187080 w 1485658"/>
              <a:gd name="connsiteY835" fmla="*/ 1035613 h 1479935"/>
              <a:gd name="connsiteX836" fmla="*/ 1217633 w 1485658"/>
              <a:gd name="connsiteY836" fmla="*/ 1066050 h 1479935"/>
              <a:gd name="connsiteX837" fmla="*/ 1248185 w 1485658"/>
              <a:gd name="connsiteY837" fmla="*/ 1035613 h 1479935"/>
              <a:gd name="connsiteX838" fmla="*/ 1217633 w 1485658"/>
              <a:gd name="connsiteY838" fmla="*/ 1005176 h 1479935"/>
              <a:gd name="connsiteX839" fmla="*/ 1187080 w 1485658"/>
              <a:gd name="connsiteY839" fmla="*/ 1035613 h 1479935"/>
              <a:gd name="connsiteX840" fmla="*/ 1246472 w 1485658"/>
              <a:gd name="connsiteY840" fmla="*/ 1035613 h 1479935"/>
              <a:gd name="connsiteX841" fmla="*/ 1277025 w 1485658"/>
              <a:gd name="connsiteY841" fmla="*/ 1066050 h 1479935"/>
              <a:gd name="connsiteX842" fmla="*/ 1307577 w 1485658"/>
              <a:gd name="connsiteY842" fmla="*/ 1035613 h 1479935"/>
              <a:gd name="connsiteX843" fmla="*/ 1277025 w 1485658"/>
              <a:gd name="connsiteY843" fmla="*/ 1005176 h 1479935"/>
              <a:gd name="connsiteX844" fmla="*/ 1246472 w 1485658"/>
              <a:gd name="connsiteY844" fmla="*/ 1035613 h 1479935"/>
              <a:gd name="connsiteX845" fmla="*/ 652932 w 1485658"/>
              <a:gd name="connsiteY845" fmla="*/ 1094685 h 1479935"/>
              <a:gd name="connsiteX846" fmla="*/ 683485 w 1485658"/>
              <a:gd name="connsiteY846" fmla="*/ 1125122 h 1479935"/>
              <a:gd name="connsiteX847" fmla="*/ 714037 w 1485658"/>
              <a:gd name="connsiteY847" fmla="*/ 1094685 h 1479935"/>
              <a:gd name="connsiteX848" fmla="*/ 683485 w 1485658"/>
              <a:gd name="connsiteY848" fmla="*/ 1064249 h 1479935"/>
              <a:gd name="connsiteX849" fmla="*/ 652932 w 1485658"/>
              <a:gd name="connsiteY849" fmla="*/ 1094685 h 1479935"/>
              <a:gd name="connsiteX850" fmla="*/ 712324 w 1485658"/>
              <a:gd name="connsiteY850" fmla="*/ 1094685 h 1479935"/>
              <a:gd name="connsiteX851" fmla="*/ 742877 w 1485658"/>
              <a:gd name="connsiteY851" fmla="*/ 1125122 h 1479935"/>
              <a:gd name="connsiteX852" fmla="*/ 773429 w 1485658"/>
              <a:gd name="connsiteY852" fmla="*/ 1094685 h 1479935"/>
              <a:gd name="connsiteX853" fmla="*/ 742877 w 1485658"/>
              <a:gd name="connsiteY853" fmla="*/ 1064249 h 1479935"/>
              <a:gd name="connsiteX854" fmla="*/ 712324 w 1485658"/>
              <a:gd name="connsiteY854" fmla="*/ 1094685 h 1479935"/>
              <a:gd name="connsiteX855" fmla="*/ 949702 w 1485658"/>
              <a:gd name="connsiteY855" fmla="*/ 1094685 h 1479935"/>
              <a:gd name="connsiteX856" fmla="*/ 980255 w 1485658"/>
              <a:gd name="connsiteY856" fmla="*/ 1125122 h 1479935"/>
              <a:gd name="connsiteX857" fmla="*/ 1010807 w 1485658"/>
              <a:gd name="connsiteY857" fmla="*/ 1094685 h 1479935"/>
              <a:gd name="connsiteX858" fmla="*/ 980255 w 1485658"/>
              <a:gd name="connsiteY858" fmla="*/ 1064249 h 1479935"/>
              <a:gd name="connsiteX859" fmla="*/ 949702 w 1485658"/>
              <a:gd name="connsiteY859" fmla="*/ 1094685 h 1479935"/>
              <a:gd name="connsiteX860" fmla="*/ 1068391 w 1485658"/>
              <a:gd name="connsiteY860" fmla="*/ 1094685 h 1479935"/>
              <a:gd name="connsiteX861" fmla="*/ 1098944 w 1485658"/>
              <a:gd name="connsiteY861" fmla="*/ 1125122 h 1479935"/>
              <a:gd name="connsiteX862" fmla="*/ 1129496 w 1485658"/>
              <a:gd name="connsiteY862" fmla="*/ 1094685 h 1479935"/>
              <a:gd name="connsiteX863" fmla="*/ 1098944 w 1485658"/>
              <a:gd name="connsiteY863" fmla="*/ 1064249 h 1479935"/>
              <a:gd name="connsiteX864" fmla="*/ 1068391 w 1485658"/>
              <a:gd name="connsiteY864" fmla="*/ 1094685 h 1479935"/>
              <a:gd name="connsiteX865" fmla="*/ 1187080 w 1485658"/>
              <a:gd name="connsiteY865" fmla="*/ 1094685 h 1479935"/>
              <a:gd name="connsiteX866" fmla="*/ 1217633 w 1485658"/>
              <a:gd name="connsiteY866" fmla="*/ 1125122 h 1479935"/>
              <a:gd name="connsiteX867" fmla="*/ 1248185 w 1485658"/>
              <a:gd name="connsiteY867" fmla="*/ 1094685 h 1479935"/>
              <a:gd name="connsiteX868" fmla="*/ 1217633 w 1485658"/>
              <a:gd name="connsiteY868" fmla="*/ 1064249 h 1479935"/>
              <a:gd name="connsiteX869" fmla="*/ 1187080 w 1485658"/>
              <a:gd name="connsiteY869" fmla="*/ 1094685 h 1479935"/>
              <a:gd name="connsiteX870" fmla="*/ 1305769 w 1485658"/>
              <a:gd name="connsiteY870" fmla="*/ 1094685 h 1479935"/>
              <a:gd name="connsiteX871" fmla="*/ 1336322 w 1485658"/>
              <a:gd name="connsiteY871" fmla="*/ 1125122 h 1479935"/>
              <a:gd name="connsiteX872" fmla="*/ 1366874 w 1485658"/>
              <a:gd name="connsiteY872" fmla="*/ 1094685 h 1479935"/>
              <a:gd name="connsiteX873" fmla="*/ 1336322 w 1485658"/>
              <a:gd name="connsiteY873" fmla="*/ 1064249 h 1479935"/>
              <a:gd name="connsiteX874" fmla="*/ 1305769 w 1485658"/>
              <a:gd name="connsiteY874" fmla="*/ 1094685 h 1479935"/>
              <a:gd name="connsiteX875" fmla="*/ 1365161 w 1485658"/>
              <a:gd name="connsiteY875" fmla="*/ 1094685 h 1479935"/>
              <a:gd name="connsiteX876" fmla="*/ 1395714 w 1485658"/>
              <a:gd name="connsiteY876" fmla="*/ 1125122 h 1479935"/>
              <a:gd name="connsiteX877" fmla="*/ 1426266 w 1485658"/>
              <a:gd name="connsiteY877" fmla="*/ 1094685 h 1479935"/>
              <a:gd name="connsiteX878" fmla="*/ 1395714 w 1485658"/>
              <a:gd name="connsiteY878" fmla="*/ 1064249 h 1479935"/>
              <a:gd name="connsiteX879" fmla="*/ 1365161 w 1485658"/>
              <a:gd name="connsiteY879" fmla="*/ 1094685 h 1479935"/>
              <a:gd name="connsiteX880" fmla="*/ 1424553 w 1485658"/>
              <a:gd name="connsiteY880" fmla="*/ 1094685 h 1479935"/>
              <a:gd name="connsiteX881" fmla="*/ 1455106 w 1485658"/>
              <a:gd name="connsiteY881" fmla="*/ 1125122 h 1479935"/>
              <a:gd name="connsiteX882" fmla="*/ 1485658 w 1485658"/>
              <a:gd name="connsiteY882" fmla="*/ 1094685 h 1479935"/>
              <a:gd name="connsiteX883" fmla="*/ 1455106 w 1485658"/>
              <a:gd name="connsiteY883" fmla="*/ 1064249 h 1479935"/>
              <a:gd name="connsiteX884" fmla="*/ 1424553 w 1485658"/>
              <a:gd name="connsiteY884" fmla="*/ 1094685 h 1479935"/>
              <a:gd name="connsiteX885" fmla="*/ 474851 w 1485658"/>
              <a:gd name="connsiteY885" fmla="*/ 1153853 h 1479935"/>
              <a:gd name="connsiteX886" fmla="*/ 505404 w 1485658"/>
              <a:gd name="connsiteY886" fmla="*/ 1184289 h 1479935"/>
              <a:gd name="connsiteX887" fmla="*/ 535956 w 1485658"/>
              <a:gd name="connsiteY887" fmla="*/ 1153853 h 1479935"/>
              <a:gd name="connsiteX888" fmla="*/ 505404 w 1485658"/>
              <a:gd name="connsiteY888" fmla="*/ 1123416 h 1479935"/>
              <a:gd name="connsiteX889" fmla="*/ 474851 w 1485658"/>
              <a:gd name="connsiteY889" fmla="*/ 1153853 h 1479935"/>
              <a:gd name="connsiteX890" fmla="*/ 593635 w 1485658"/>
              <a:gd name="connsiteY890" fmla="*/ 1153853 h 1479935"/>
              <a:gd name="connsiteX891" fmla="*/ 624188 w 1485658"/>
              <a:gd name="connsiteY891" fmla="*/ 1184289 h 1479935"/>
              <a:gd name="connsiteX892" fmla="*/ 654740 w 1485658"/>
              <a:gd name="connsiteY892" fmla="*/ 1153853 h 1479935"/>
              <a:gd name="connsiteX893" fmla="*/ 624188 w 1485658"/>
              <a:gd name="connsiteY893" fmla="*/ 1123416 h 1479935"/>
              <a:gd name="connsiteX894" fmla="*/ 593635 w 1485658"/>
              <a:gd name="connsiteY894" fmla="*/ 1153853 h 1479935"/>
              <a:gd name="connsiteX895" fmla="*/ 652932 w 1485658"/>
              <a:gd name="connsiteY895" fmla="*/ 1153853 h 1479935"/>
              <a:gd name="connsiteX896" fmla="*/ 683485 w 1485658"/>
              <a:gd name="connsiteY896" fmla="*/ 1184289 h 1479935"/>
              <a:gd name="connsiteX897" fmla="*/ 714037 w 1485658"/>
              <a:gd name="connsiteY897" fmla="*/ 1153853 h 1479935"/>
              <a:gd name="connsiteX898" fmla="*/ 683485 w 1485658"/>
              <a:gd name="connsiteY898" fmla="*/ 1123416 h 1479935"/>
              <a:gd name="connsiteX899" fmla="*/ 652932 w 1485658"/>
              <a:gd name="connsiteY899" fmla="*/ 1153853 h 1479935"/>
              <a:gd name="connsiteX900" fmla="*/ 831013 w 1485658"/>
              <a:gd name="connsiteY900" fmla="*/ 1153853 h 1479935"/>
              <a:gd name="connsiteX901" fmla="*/ 861566 w 1485658"/>
              <a:gd name="connsiteY901" fmla="*/ 1184289 h 1479935"/>
              <a:gd name="connsiteX902" fmla="*/ 892118 w 1485658"/>
              <a:gd name="connsiteY902" fmla="*/ 1153853 h 1479935"/>
              <a:gd name="connsiteX903" fmla="*/ 861566 w 1485658"/>
              <a:gd name="connsiteY903" fmla="*/ 1123416 h 1479935"/>
              <a:gd name="connsiteX904" fmla="*/ 831013 w 1485658"/>
              <a:gd name="connsiteY904" fmla="*/ 1153853 h 1479935"/>
              <a:gd name="connsiteX905" fmla="*/ 949702 w 1485658"/>
              <a:gd name="connsiteY905" fmla="*/ 1153853 h 1479935"/>
              <a:gd name="connsiteX906" fmla="*/ 980255 w 1485658"/>
              <a:gd name="connsiteY906" fmla="*/ 1184289 h 1479935"/>
              <a:gd name="connsiteX907" fmla="*/ 1010807 w 1485658"/>
              <a:gd name="connsiteY907" fmla="*/ 1153853 h 1479935"/>
              <a:gd name="connsiteX908" fmla="*/ 980255 w 1485658"/>
              <a:gd name="connsiteY908" fmla="*/ 1123416 h 1479935"/>
              <a:gd name="connsiteX909" fmla="*/ 949702 w 1485658"/>
              <a:gd name="connsiteY909" fmla="*/ 1153853 h 1479935"/>
              <a:gd name="connsiteX910" fmla="*/ 1187080 w 1485658"/>
              <a:gd name="connsiteY910" fmla="*/ 1153853 h 1479935"/>
              <a:gd name="connsiteX911" fmla="*/ 1217633 w 1485658"/>
              <a:gd name="connsiteY911" fmla="*/ 1184289 h 1479935"/>
              <a:gd name="connsiteX912" fmla="*/ 1248185 w 1485658"/>
              <a:gd name="connsiteY912" fmla="*/ 1153853 h 1479935"/>
              <a:gd name="connsiteX913" fmla="*/ 1217633 w 1485658"/>
              <a:gd name="connsiteY913" fmla="*/ 1123416 h 1479935"/>
              <a:gd name="connsiteX914" fmla="*/ 1187080 w 1485658"/>
              <a:gd name="connsiteY914" fmla="*/ 1153853 h 1479935"/>
              <a:gd name="connsiteX915" fmla="*/ 1246472 w 1485658"/>
              <a:gd name="connsiteY915" fmla="*/ 1153853 h 1479935"/>
              <a:gd name="connsiteX916" fmla="*/ 1277025 w 1485658"/>
              <a:gd name="connsiteY916" fmla="*/ 1184289 h 1479935"/>
              <a:gd name="connsiteX917" fmla="*/ 1307577 w 1485658"/>
              <a:gd name="connsiteY917" fmla="*/ 1153853 h 1479935"/>
              <a:gd name="connsiteX918" fmla="*/ 1277025 w 1485658"/>
              <a:gd name="connsiteY918" fmla="*/ 1123416 h 1479935"/>
              <a:gd name="connsiteX919" fmla="*/ 1246472 w 1485658"/>
              <a:gd name="connsiteY919" fmla="*/ 1153853 h 1479935"/>
              <a:gd name="connsiteX920" fmla="*/ 1424553 w 1485658"/>
              <a:gd name="connsiteY920" fmla="*/ 1153853 h 1479935"/>
              <a:gd name="connsiteX921" fmla="*/ 1455106 w 1485658"/>
              <a:gd name="connsiteY921" fmla="*/ 1184289 h 1479935"/>
              <a:gd name="connsiteX922" fmla="*/ 1485658 w 1485658"/>
              <a:gd name="connsiteY922" fmla="*/ 1153853 h 1479935"/>
              <a:gd name="connsiteX923" fmla="*/ 1455106 w 1485658"/>
              <a:gd name="connsiteY923" fmla="*/ 1123416 h 1479935"/>
              <a:gd name="connsiteX924" fmla="*/ 1424553 w 1485658"/>
              <a:gd name="connsiteY924" fmla="*/ 1153853 h 1479935"/>
              <a:gd name="connsiteX925" fmla="*/ 474851 w 1485658"/>
              <a:gd name="connsiteY925" fmla="*/ 1212925 h 1479935"/>
              <a:gd name="connsiteX926" fmla="*/ 505404 w 1485658"/>
              <a:gd name="connsiteY926" fmla="*/ 1243362 h 1479935"/>
              <a:gd name="connsiteX927" fmla="*/ 535956 w 1485658"/>
              <a:gd name="connsiteY927" fmla="*/ 1212925 h 1479935"/>
              <a:gd name="connsiteX928" fmla="*/ 505404 w 1485658"/>
              <a:gd name="connsiteY928" fmla="*/ 1182488 h 1479935"/>
              <a:gd name="connsiteX929" fmla="*/ 474851 w 1485658"/>
              <a:gd name="connsiteY929" fmla="*/ 1212925 h 1479935"/>
              <a:gd name="connsiteX930" fmla="*/ 534243 w 1485658"/>
              <a:gd name="connsiteY930" fmla="*/ 1212925 h 1479935"/>
              <a:gd name="connsiteX931" fmla="*/ 564796 w 1485658"/>
              <a:gd name="connsiteY931" fmla="*/ 1243362 h 1479935"/>
              <a:gd name="connsiteX932" fmla="*/ 595348 w 1485658"/>
              <a:gd name="connsiteY932" fmla="*/ 1212925 h 1479935"/>
              <a:gd name="connsiteX933" fmla="*/ 564796 w 1485658"/>
              <a:gd name="connsiteY933" fmla="*/ 1182488 h 1479935"/>
              <a:gd name="connsiteX934" fmla="*/ 534243 w 1485658"/>
              <a:gd name="connsiteY934" fmla="*/ 1212925 h 1479935"/>
              <a:gd name="connsiteX935" fmla="*/ 652932 w 1485658"/>
              <a:gd name="connsiteY935" fmla="*/ 1212925 h 1479935"/>
              <a:gd name="connsiteX936" fmla="*/ 683485 w 1485658"/>
              <a:gd name="connsiteY936" fmla="*/ 1243362 h 1479935"/>
              <a:gd name="connsiteX937" fmla="*/ 714037 w 1485658"/>
              <a:gd name="connsiteY937" fmla="*/ 1212925 h 1479935"/>
              <a:gd name="connsiteX938" fmla="*/ 683485 w 1485658"/>
              <a:gd name="connsiteY938" fmla="*/ 1182488 h 1479935"/>
              <a:gd name="connsiteX939" fmla="*/ 652932 w 1485658"/>
              <a:gd name="connsiteY939" fmla="*/ 1212925 h 1479935"/>
              <a:gd name="connsiteX940" fmla="*/ 890310 w 1485658"/>
              <a:gd name="connsiteY940" fmla="*/ 1212925 h 1479935"/>
              <a:gd name="connsiteX941" fmla="*/ 920863 w 1485658"/>
              <a:gd name="connsiteY941" fmla="*/ 1243362 h 1479935"/>
              <a:gd name="connsiteX942" fmla="*/ 951415 w 1485658"/>
              <a:gd name="connsiteY942" fmla="*/ 1212925 h 1479935"/>
              <a:gd name="connsiteX943" fmla="*/ 920863 w 1485658"/>
              <a:gd name="connsiteY943" fmla="*/ 1182488 h 1479935"/>
              <a:gd name="connsiteX944" fmla="*/ 890310 w 1485658"/>
              <a:gd name="connsiteY944" fmla="*/ 1212925 h 1479935"/>
              <a:gd name="connsiteX945" fmla="*/ 949702 w 1485658"/>
              <a:gd name="connsiteY945" fmla="*/ 1212925 h 1479935"/>
              <a:gd name="connsiteX946" fmla="*/ 980255 w 1485658"/>
              <a:gd name="connsiteY946" fmla="*/ 1243362 h 1479935"/>
              <a:gd name="connsiteX947" fmla="*/ 1010807 w 1485658"/>
              <a:gd name="connsiteY947" fmla="*/ 1212925 h 1479935"/>
              <a:gd name="connsiteX948" fmla="*/ 980255 w 1485658"/>
              <a:gd name="connsiteY948" fmla="*/ 1182488 h 1479935"/>
              <a:gd name="connsiteX949" fmla="*/ 949702 w 1485658"/>
              <a:gd name="connsiteY949" fmla="*/ 1212925 h 1479935"/>
              <a:gd name="connsiteX950" fmla="*/ 1009094 w 1485658"/>
              <a:gd name="connsiteY950" fmla="*/ 1212925 h 1479935"/>
              <a:gd name="connsiteX951" fmla="*/ 1039647 w 1485658"/>
              <a:gd name="connsiteY951" fmla="*/ 1243362 h 1479935"/>
              <a:gd name="connsiteX952" fmla="*/ 1070199 w 1485658"/>
              <a:gd name="connsiteY952" fmla="*/ 1212925 h 1479935"/>
              <a:gd name="connsiteX953" fmla="*/ 1039647 w 1485658"/>
              <a:gd name="connsiteY953" fmla="*/ 1182488 h 1479935"/>
              <a:gd name="connsiteX954" fmla="*/ 1009094 w 1485658"/>
              <a:gd name="connsiteY954" fmla="*/ 1212925 h 1479935"/>
              <a:gd name="connsiteX955" fmla="*/ 1068391 w 1485658"/>
              <a:gd name="connsiteY955" fmla="*/ 1212925 h 1479935"/>
              <a:gd name="connsiteX956" fmla="*/ 1098944 w 1485658"/>
              <a:gd name="connsiteY956" fmla="*/ 1243362 h 1479935"/>
              <a:gd name="connsiteX957" fmla="*/ 1129496 w 1485658"/>
              <a:gd name="connsiteY957" fmla="*/ 1212925 h 1479935"/>
              <a:gd name="connsiteX958" fmla="*/ 1098944 w 1485658"/>
              <a:gd name="connsiteY958" fmla="*/ 1182488 h 1479935"/>
              <a:gd name="connsiteX959" fmla="*/ 1068391 w 1485658"/>
              <a:gd name="connsiteY959" fmla="*/ 1212925 h 1479935"/>
              <a:gd name="connsiteX960" fmla="*/ 1127783 w 1485658"/>
              <a:gd name="connsiteY960" fmla="*/ 1212925 h 1479935"/>
              <a:gd name="connsiteX961" fmla="*/ 1158336 w 1485658"/>
              <a:gd name="connsiteY961" fmla="*/ 1243362 h 1479935"/>
              <a:gd name="connsiteX962" fmla="*/ 1188888 w 1485658"/>
              <a:gd name="connsiteY962" fmla="*/ 1212925 h 1479935"/>
              <a:gd name="connsiteX963" fmla="*/ 1158336 w 1485658"/>
              <a:gd name="connsiteY963" fmla="*/ 1182488 h 1479935"/>
              <a:gd name="connsiteX964" fmla="*/ 1127783 w 1485658"/>
              <a:gd name="connsiteY964" fmla="*/ 1212925 h 1479935"/>
              <a:gd name="connsiteX965" fmla="*/ 1187080 w 1485658"/>
              <a:gd name="connsiteY965" fmla="*/ 1212925 h 1479935"/>
              <a:gd name="connsiteX966" fmla="*/ 1217633 w 1485658"/>
              <a:gd name="connsiteY966" fmla="*/ 1243362 h 1479935"/>
              <a:gd name="connsiteX967" fmla="*/ 1248185 w 1485658"/>
              <a:gd name="connsiteY967" fmla="*/ 1212925 h 1479935"/>
              <a:gd name="connsiteX968" fmla="*/ 1217633 w 1485658"/>
              <a:gd name="connsiteY968" fmla="*/ 1182488 h 1479935"/>
              <a:gd name="connsiteX969" fmla="*/ 1187080 w 1485658"/>
              <a:gd name="connsiteY969" fmla="*/ 1212925 h 1479935"/>
              <a:gd name="connsiteX970" fmla="*/ 1305769 w 1485658"/>
              <a:gd name="connsiteY970" fmla="*/ 1212925 h 1479935"/>
              <a:gd name="connsiteX971" fmla="*/ 1336322 w 1485658"/>
              <a:gd name="connsiteY971" fmla="*/ 1243362 h 1479935"/>
              <a:gd name="connsiteX972" fmla="*/ 1366874 w 1485658"/>
              <a:gd name="connsiteY972" fmla="*/ 1212925 h 1479935"/>
              <a:gd name="connsiteX973" fmla="*/ 1336322 w 1485658"/>
              <a:gd name="connsiteY973" fmla="*/ 1182488 h 1479935"/>
              <a:gd name="connsiteX974" fmla="*/ 1305769 w 1485658"/>
              <a:gd name="connsiteY974" fmla="*/ 1212925 h 1479935"/>
              <a:gd name="connsiteX975" fmla="*/ 1365161 w 1485658"/>
              <a:gd name="connsiteY975" fmla="*/ 1212925 h 1479935"/>
              <a:gd name="connsiteX976" fmla="*/ 1395714 w 1485658"/>
              <a:gd name="connsiteY976" fmla="*/ 1243362 h 1479935"/>
              <a:gd name="connsiteX977" fmla="*/ 1426266 w 1485658"/>
              <a:gd name="connsiteY977" fmla="*/ 1212925 h 1479935"/>
              <a:gd name="connsiteX978" fmla="*/ 1395714 w 1485658"/>
              <a:gd name="connsiteY978" fmla="*/ 1182488 h 1479935"/>
              <a:gd name="connsiteX979" fmla="*/ 1365161 w 1485658"/>
              <a:gd name="connsiteY979" fmla="*/ 1212925 h 1479935"/>
              <a:gd name="connsiteX980" fmla="*/ 1424553 w 1485658"/>
              <a:gd name="connsiteY980" fmla="*/ 1212925 h 1479935"/>
              <a:gd name="connsiteX981" fmla="*/ 1455106 w 1485658"/>
              <a:gd name="connsiteY981" fmla="*/ 1243362 h 1479935"/>
              <a:gd name="connsiteX982" fmla="*/ 1485658 w 1485658"/>
              <a:gd name="connsiteY982" fmla="*/ 1212925 h 1479935"/>
              <a:gd name="connsiteX983" fmla="*/ 1455106 w 1485658"/>
              <a:gd name="connsiteY983" fmla="*/ 1182488 h 1479935"/>
              <a:gd name="connsiteX984" fmla="*/ 1424553 w 1485658"/>
              <a:gd name="connsiteY984" fmla="*/ 1212925 h 1479935"/>
              <a:gd name="connsiteX985" fmla="*/ 474851 w 1485658"/>
              <a:gd name="connsiteY985" fmla="*/ 1272092 h 1479935"/>
              <a:gd name="connsiteX986" fmla="*/ 505404 w 1485658"/>
              <a:gd name="connsiteY986" fmla="*/ 1302529 h 1479935"/>
              <a:gd name="connsiteX987" fmla="*/ 535956 w 1485658"/>
              <a:gd name="connsiteY987" fmla="*/ 1272092 h 1479935"/>
              <a:gd name="connsiteX988" fmla="*/ 505404 w 1485658"/>
              <a:gd name="connsiteY988" fmla="*/ 1241655 h 1479935"/>
              <a:gd name="connsiteX989" fmla="*/ 474851 w 1485658"/>
              <a:gd name="connsiteY989" fmla="*/ 1272092 h 1479935"/>
              <a:gd name="connsiteX990" fmla="*/ 534243 w 1485658"/>
              <a:gd name="connsiteY990" fmla="*/ 1272092 h 1479935"/>
              <a:gd name="connsiteX991" fmla="*/ 564796 w 1485658"/>
              <a:gd name="connsiteY991" fmla="*/ 1302529 h 1479935"/>
              <a:gd name="connsiteX992" fmla="*/ 595348 w 1485658"/>
              <a:gd name="connsiteY992" fmla="*/ 1272092 h 1479935"/>
              <a:gd name="connsiteX993" fmla="*/ 564796 w 1485658"/>
              <a:gd name="connsiteY993" fmla="*/ 1241655 h 1479935"/>
              <a:gd name="connsiteX994" fmla="*/ 534243 w 1485658"/>
              <a:gd name="connsiteY994" fmla="*/ 1272092 h 1479935"/>
              <a:gd name="connsiteX995" fmla="*/ 712324 w 1485658"/>
              <a:gd name="connsiteY995" fmla="*/ 1272092 h 1479935"/>
              <a:gd name="connsiteX996" fmla="*/ 742877 w 1485658"/>
              <a:gd name="connsiteY996" fmla="*/ 1302529 h 1479935"/>
              <a:gd name="connsiteX997" fmla="*/ 773429 w 1485658"/>
              <a:gd name="connsiteY997" fmla="*/ 1272092 h 1479935"/>
              <a:gd name="connsiteX998" fmla="*/ 742877 w 1485658"/>
              <a:gd name="connsiteY998" fmla="*/ 1241655 h 1479935"/>
              <a:gd name="connsiteX999" fmla="*/ 712324 w 1485658"/>
              <a:gd name="connsiteY999" fmla="*/ 1272092 h 1479935"/>
              <a:gd name="connsiteX1000" fmla="*/ 771621 w 1485658"/>
              <a:gd name="connsiteY1000" fmla="*/ 1272092 h 1479935"/>
              <a:gd name="connsiteX1001" fmla="*/ 802174 w 1485658"/>
              <a:gd name="connsiteY1001" fmla="*/ 1302529 h 1479935"/>
              <a:gd name="connsiteX1002" fmla="*/ 832726 w 1485658"/>
              <a:gd name="connsiteY1002" fmla="*/ 1272092 h 1479935"/>
              <a:gd name="connsiteX1003" fmla="*/ 802174 w 1485658"/>
              <a:gd name="connsiteY1003" fmla="*/ 1241655 h 1479935"/>
              <a:gd name="connsiteX1004" fmla="*/ 771621 w 1485658"/>
              <a:gd name="connsiteY1004" fmla="*/ 1272092 h 1479935"/>
              <a:gd name="connsiteX1005" fmla="*/ 831013 w 1485658"/>
              <a:gd name="connsiteY1005" fmla="*/ 1272092 h 1479935"/>
              <a:gd name="connsiteX1006" fmla="*/ 861566 w 1485658"/>
              <a:gd name="connsiteY1006" fmla="*/ 1302529 h 1479935"/>
              <a:gd name="connsiteX1007" fmla="*/ 892118 w 1485658"/>
              <a:gd name="connsiteY1007" fmla="*/ 1272092 h 1479935"/>
              <a:gd name="connsiteX1008" fmla="*/ 861566 w 1485658"/>
              <a:gd name="connsiteY1008" fmla="*/ 1241655 h 1479935"/>
              <a:gd name="connsiteX1009" fmla="*/ 831013 w 1485658"/>
              <a:gd name="connsiteY1009" fmla="*/ 1272092 h 1479935"/>
              <a:gd name="connsiteX1010" fmla="*/ 890310 w 1485658"/>
              <a:gd name="connsiteY1010" fmla="*/ 1272092 h 1479935"/>
              <a:gd name="connsiteX1011" fmla="*/ 920863 w 1485658"/>
              <a:gd name="connsiteY1011" fmla="*/ 1302529 h 1479935"/>
              <a:gd name="connsiteX1012" fmla="*/ 951415 w 1485658"/>
              <a:gd name="connsiteY1012" fmla="*/ 1272092 h 1479935"/>
              <a:gd name="connsiteX1013" fmla="*/ 920863 w 1485658"/>
              <a:gd name="connsiteY1013" fmla="*/ 1241655 h 1479935"/>
              <a:gd name="connsiteX1014" fmla="*/ 890310 w 1485658"/>
              <a:gd name="connsiteY1014" fmla="*/ 1272092 h 1479935"/>
              <a:gd name="connsiteX1015" fmla="*/ 1009094 w 1485658"/>
              <a:gd name="connsiteY1015" fmla="*/ 1272092 h 1479935"/>
              <a:gd name="connsiteX1016" fmla="*/ 1039647 w 1485658"/>
              <a:gd name="connsiteY1016" fmla="*/ 1302529 h 1479935"/>
              <a:gd name="connsiteX1017" fmla="*/ 1070199 w 1485658"/>
              <a:gd name="connsiteY1017" fmla="*/ 1272092 h 1479935"/>
              <a:gd name="connsiteX1018" fmla="*/ 1039647 w 1485658"/>
              <a:gd name="connsiteY1018" fmla="*/ 1241655 h 1479935"/>
              <a:gd name="connsiteX1019" fmla="*/ 1009094 w 1485658"/>
              <a:gd name="connsiteY1019" fmla="*/ 1272092 h 1479935"/>
              <a:gd name="connsiteX1020" fmla="*/ 1068391 w 1485658"/>
              <a:gd name="connsiteY1020" fmla="*/ 1272092 h 1479935"/>
              <a:gd name="connsiteX1021" fmla="*/ 1098944 w 1485658"/>
              <a:gd name="connsiteY1021" fmla="*/ 1302529 h 1479935"/>
              <a:gd name="connsiteX1022" fmla="*/ 1129496 w 1485658"/>
              <a:gd name="connsiteY1022" fmla="*/ 1272092 h 1479935"/>
              <a:gd name="connsiteX1023" fmla="*/ 1098944 w 1485658"/>
              <a:gd name="connsiteY1023" fmla="*/ 1241655 h 1479935"/>
              <a:gd name="connsiteX1024" fmla="*/ 1068391 w 1485658"/>
              <a:gd name="connsiteY1024" fmla="*/ 1272092 h 1479935"/>
              <a:gd name="connsiteX1025" fmla="*/ 1187080 w 1485658"/>
              <a:gd name="connsiteY1025" fmla="*/ 1272092 h 1479935"/>
              <a:gd name="connsiteX1026" fmla="*/ 1217633 w 1485658"/>
              <a:gd name="connsiteY1026" fmla="*/ 1302529 h 1479935"/>
              <a:gd name="connsiteX1027" fmla="*/ 1248185 w 1485658"/>
              <a:gd name="connsiteY1027" fmla="*/ 1272092 h 1479935"/>
              <a:gd name="connsiteX1028" fmla="*/ 1217633 w 1485658"/>
              <a:gd name="connsiteY1028" fmla="*/ 1241655 h 1479935"/>
              <a:gd name="connsiteX1029" fmla="*/ 1187080 w 1485658"/>
              <a:gd name="connsiteY1029" fmla="*/ 1272092 h 1479935"/>
              <a:gd name="connsiteX1030" fmla="*/ 1246472 w 1485658"/>
              <a:gd name="connsiteY1030" fmla="*/ 1272092 h 1479935"/>
              <a:gd name="connsiteX1031" fmla="*/ 1277025 w 1485658"/>
              <a:gd name="connsiteY1031" fmla="*/ 1302529 h 1479935"/>
              <a:gd name="connsiteX1032" fmla="*/ 1307577 w 1485658"/>
              <a:gd name="connsiteY1032" fmla="*/ 1272092 h 1479935"/>
              <a:gd name="connsiteX1033" fmla="*/ 1277025 w 1485658"/>
              <a:gd name="connsiteY1033" fmla="*/ 1241655 h 1479935"/>
              <a:gd name="connsiteX1034" fmla="*/ 1246472 w 1485658"/>
              <a:gd name="connsiteY1034" fmla="*/ 1272092 h 1479935"/>
              <a:gd name="connsiteX1035" fmla="*/ 1305769 w 1485658"/>
              <a:gd name="connsiteY1035" fmla="*/ 1272092 h 1479935"/>
              <a:gd name="connsiteX1036" fmla="*/ 1336322 w 1485658"/>
              <a:gd name="connsiteY1036" fmla="*/ 1302529 h 1479935"/>
              <a:gd name="connsiteX1037" fmla="*/ 1366874 w 1485658"/>
              <a:gd name="connsiteY1037" fmla="*/ 1272092 h 1479935"/>
              <a:gd name="connsiteX1038" fmla="*/ 1336322 w 1485658"/>
              <a:gd name="connsiteY1038" fmla="*/ 1241655 h 1479935"/>
              <a:gd name="connsiteX1039" fmla="*/ 1305769 w 1485658"/>
              <a:gd name="connsiteY1039" fmla="*/ 1272092 h 1479935"/>
              <a:gd name="connsiteX1040" fmla="*/ 1365161 w 1485658"/>
              <a:gd name="connsiteY1040" fmla="*/ 1272092 h 1479935"/>
              <a:gd name="connsiteX1041" fmla="*/ 1395714 w 1485658"/>
              <a:gd name="connsiteY1041" fmla="*/ 1302529 h 1479935"/>
              <a:gd name="connsiteX1042" fmla="*/ 1426266 w 1485658"/>
              <a:gd name="connsiteY1042" fmla="*/ 1272092 h 1479935"/>
              <a:gd name="connsiteX1043" fmla="*/ 1395714 w 1485658"/>
              <a:gd name="connsiteY1043" fmla="*/ 1241655 h 1479935"/>
              <a:gd name="connsiteX1044" fmla="*/ 1365161 w 1485658"/>
              <a:gd name="connsiteY1044" fmla="*/ 1272092 h 1479935"/>
              <a:gd name="connsiteX1045" fmla="*/ 1424553 w 1485658"/>
              <a:gd name="connsiteY1045" fmla="*/ 1272092 h 1479935"/>
              <a:gd name="connsiteX1046" fmla="*/ 1455106 w 1485658"/>
              <a:gd name="connsiteY1046" fmla="*/ 1302529 h 1479935"/>
              <a:gd name="connsiteX1047" fmla="*/ 1485658 w 1485658"/>
              <a:gd name="connsiteY1047" fmla="*/ 1272092 h 1479935"/>
              <a:gd name="connsiteX1048" fmla="*/ 1455106 w 1485658"/>
              <a:gd name="connsiteY1048" fmla="*/ 1241655 h 1479935"/>
              <a:gd name="connsiteX1049" fmla="*/ 1424553 w 1485658"/>
              <a:gd name="connsiteY1049" fmla="*/ 1272092 h 1479935"/>
              <a:gd name="connsiteX1050" fmla="*/ 474851 w 1485658"/>
              <a:gd name="connsiteY1050" fmla="*/ 1331259 h 1479935"/>
              <a:gd name="connsiteX1051" fmla="*/ 505404 w 1485658"/>
              <a:gd name="connsiteY1051" fmla="*/ 1361696 h 1479935"/>
              <a:gd name="connsiteX1052" fmla="*/ 535956 w 1485658"/>
              <a:gd name="connsiteY1052" fmla="*/ 1331259 h 1479935"/>
              <a:gd name="connsiteX1053" fmla="*/ 505404 w 1485658"/>
              <a:gd name="connsiteY1053" fmla="*/ 1300822 h 1479935"/>
              <a:gd name="connsiteX1054" fmla="*/ 474851 w 1485658"/>
              <a:gd name="connsiteY1054" fmla="*/ 1331259 h 1479935"/>
              <a:gd name="connsiteX1055" fmla="*/ 593635 w 1485658"/>
              <a:gd name="connsiteY1055" fmla="*/ 1331259 h 1479935"/>
              <a:gd name="connsiteX1056" fmla="*/ 624188 w 1485658"/>
              <a:gd name="connsiteY1056" fmla="*/ 1361696 h 1479935"/>
              <a:gd name="connsiteX1057" fmla="*/ 654740 w 1485658"/>
              <a:gd name="connsiteY1057" fmla="*/ 1331259 h 1479935"/>
              <a:gd name="connsiteX1058" fmla="*/ 624188 w 1485658"/>
              <a:gd name="connsiteY1058" fmla="*/ 1300822 h 1479935"/>
              <a:gd name="connsiteX1059" fmla="*/ 593635 w 1485658"/>
              <a:gd name="connsiteY1059" fmla="*/ 1331259 h 1479935"/>
              <a:gd name="connsiteX1060" fmla="*/ 771621 w 1485658"/>
              <a:gd name="connsiteY1060" fmla="*/ 1331259 h 1479935"/>
              <a:gd name="connsiteX1061" fmla="*/ 802174 w 1485658"/>
              <a:gd name="connsiteY1061" fmla="*/ 1361696 h 1479935"/>
              <a:gd name="connsiteX1062" fmla="*/ 832726 w 1485658"/>
              <a:gd name="connsiteY1062" fmla="*/ 1331259 h 1479935"/>
              <a:gd name="connsiteX1063" fmla="*/ 802174 w 1485658"/>
              <a:gd name="connsiteY1063" fmla="*/ 1300822 h 1479935"/>
              <a:gd name="connsiteX1064" fmla="*/ 771621 w 1485658"/>
              <a:gd name="connsiteY1064" fmla="*/ 1331259 h 1479935"/>
              <a:gd name="connsiteX1065" fmla="*/ 831013 w 1485658"/>
              <a:gd name="connsiteY1065" fmla="*/ 1331259 h 1479935"/>
              <a:gd name="connsiteX1066" fmla="*/ 861566 w 1485658"/>
              <a:gd name="connsiteY1066" fmla="*/ 1361696 h 1479935"/>
              <a:gd name="connsiteX1067" fmla="*/ 892118 w 1485658"/>
              <a:gd name="connsiteY1067" fmla="*/ 1331259 h 1479935"/>
              <a:gd name="connsiteX1068" fmla="*/ 861566 w 1485658"/>
              <a:gd name="connsiteY1068" fmla="*/ 1300822 h 1479935"/>
              <a:gd name="connsiteX1069" fmla="*/ 831013 w 1485658"/>
              <a:gd name="connsiteY1069" fmla="*/ 1331259 h 1479935"/>
              <a:gd name="connsiteX1070" fmla="*/ 1246472 w 1485658"/>
              <a:gd name="connsiteY1070" fmla="*/ 1331259 h 1479935"/>
              <a:gd name="connsiteX1071" fmla="*/ 1277025 w 1485658"/>
              <a:gd name="connsiteY1071" fmla="*/ 1361696 h 1479935"/>
              <a:gd name="connsiteX1072" fmla="*/ 1307577 w 1485658"/>
              <a:gd name="connsiteY1072" fmla="*/ 1331259 h 1479935"/>
              <a:gd name="connsiteX1073" fmla="*/ 1277025 w 1485658"/>
              <a:gd name="connsiteY1073" fmla="*/ 1300822 h 1479935"/>
              <a:gd name="connsiteX1074" fmla="*/ 1246472 w 1485658"/>
              <a:gd name="connsiteY1074" fmla="*/ 1331259 h 1479935"/>
              <a:gd name="connsiteX1075" fmla="*/ 1305769 w 1485658"/>
              <a:gd name="connsiteY1075" fmla="*/ 1331259 h 1479935"/>
              <a:gd name="connsiteX1076" fmla="*/ 1336322 w 1485658"/>
              <a:gd name="connsiteY1076" fmla="*/ 1361696 h 1479935"/>
              <a:gd name="connsiteX1077" fmla="*/ 1366874 w 1485658"/>
              <a:gd name="connsiteY1077" fmla="*/ 1331259 h 1479935"/>
              <a:gd name="connsiteX1078" fmla="*/ 1336322 w 1485658"/>
              <a:gd name="connsiteY1078" fmla="*/ 1300822 h 1479935"/>
              <a:gd name="connsiteX1079" fmla="*/ 1305769 w 1485658"/>
              <a:gd name="connsiteY1079" fmla="*/ 1331259 h 1479935"/>
              <a:gd name="connsiteX1080" fmla="*/ 1424553 w 1485658"/>
              <a:gd name="connsiteY1080" fmla="*/ 1331259 h 1479935"/>
              <a:gd name="connsiteX1081" fmla="*/ 1455106 w 1485658"/>
              <a:gd name="connsiteY1081" fmla="*/ 1361696 h 1479935"/>
              <a:gd name="connsiteX1082" fmla="*/ 1485658 w 1485658"/>
              <a:gd name="connsiteY1082" fmla="*/ 1331259 h 1479935"/>
              <a:gd name="connsiteX1083" fmla="*/ 1455106 w 1485658"/>
              <a:gd name="connsiteY1083" fmla="*/ 1300822 h 1479935"/>
              <a:gd name="connsiteX1084" fmla="*/ 1424553 w 1485658"/>
              <a:gd name="connsiteY1084" fmla="*/ 1331259 h 1479935"/>
              <a:gd name="connsiteX1085" fmla="*/ 712324 w 1485658"/>
              <a:gd name="connsiteY1085" fmla="*/ 1390331 h 1479935"/>
              <a:gd name="connsiteX1086" fmla="*/ 742877 w 1485658"/>
              <a:gd name="connsiteY1086" fmla="*/ 1420768 h 1479935"/>
              <a:gd name="connsiteX1087" fmla="*/ 773429 w 1485658"/>
              <a:gd name="connsiteY1087" fmla="*/ 1390331 h 1479935"/>
              <a:gd name="connsiteX1088" fmla="*/ 742877 w 1485658"/>
              <a:gd name="connsiteY1088" fmla="*/ 1359894 h 1479935"/>
              <a:gd name="connsiteX1089" fmla="*/ 712324 w 1485658"/>
              <a:gd name="connsiteY1089" fmla="*/ 1390331 h 1479935"/>
              <a:gd name="connsiteX1090" fmla="*/ 771621 w 1485658"/>
              <a:gd name="connsiteY1090" fmla="*/ 1390331 h 1479935"/>
              <a:gd name="connsiteX1091" fmla="*/ 802174 w 1485658"/>
              <a:gd name="connsiteY1091" fmla="*/ 1420768 h 1479935"/>
              <a:gd name="connsiteX1092" fmla="*/ 832726 w 1485658"/>
              <a:gd name="connsiteY1092" fmla="*/ 1390331 h 1479935"/>
              <a:gd name="connsiteX1093" fmla="*/ 802174 w 1485658"/>
              <a:gd name="connsiteY1093" fmla="*/ 1359894 h 1479935"/>
              <a:gd name="connsiteX1094" fmla="*/ 771621 w 1485658"/>
              <a:gd name="connsiteY1094" fmla="*/ 1390331 h 1479935"/>
              <a:gd name="connsiteX1095" fmla="*/ 949702 w 1485658"/>
              <a:gd name="connsiteY1095" fmla="*/ 1390331 h 1479935"/>
              <a:gd name="connsiteX1096" fmla="*/ 980255 w 1485658"/>
              <a:gd name="connsiteY1096" fmla="*/ 1420768 h 1479935"/>
              <a:gd name="connsiteX1097" fmla="*/ 1010807 w 1485658"/>
              <a:gd name="connsiteY1097" fmla="*/ 1390331 h 1479935"/>
              <a:gd name="connsiteX1098" fmla="*/ 980255 w 1485658"/>
              <a:gd name="connsiteY1098" fmla="*/ 1359894 h 1479935"/>
              <a:gd name="connsiteX1099" fmla="*/ 949702 w 1485658"/>
              <a:gd name="connsiteY1099" fmla="*/ 1390331 h 1479935"/>
              <a:gd name="connsiteX1100" fmla="*/ 1068391 w 1485658"/>
              <a:gd name="connsiteY1100" fmla="*/ 1390331 h 1479935"/>
              <a:gd name="connsiteX1101" fmla="*/ 1098944 w 1485658"/>
              <a:gd name="connsiteY1101" fmla="*/ 1420768 h 1479935"/>
              <a:gd name="connsiteX1102" fmla="*/ 1129496 w 1485658"/>
              <a:gd name="connsiteY1102" fmla="*/ 1390331 h 1479935"/>
              <a:gd name="connsiteX1103" fmla="*/ 1098944 w 1485658"/>
              <a:gd name="connsiteY1103" fmla="*/ 1359894 h 1479935"/>
              <a:gd name="connsiteX1104" fmla="*/ 1068391 w 1485658"/>
              <a:gd name="connsiteY1104" fmla="*/ 1390331 h 1479935"/>
              <a:gd name="connsiteX1105" fmla="*/ 1127783 w 1485658"/>
              <a:gd name="connsiteY1105" fmla="*/ 1390331 h 1479935"/>
              <a:gd name="connsiteX1106" fmla="*/ 1158336 w 1485658"/>
              <a:gd name="connsiteY1106" fmla="*/ 1420768 h 1479935"/>
              <a:gd name="connsiteX1107" fmla="*/ 1188888 w 1485658"/>
              <a:gd name="connsiteY1107" fmla="*/ 1390331 h 1479935"/>
              <a:gd name="connsiteX1108" fmla="*/ 1158336 w 1485658"/>
              <a:gd name="connsiteY1108" fmla="*/ 1359894 h 1479935"/>
              <a:gd name="connsiteX1109" fmla="*/ 1127783 w 1485658"/>
              <a:gd name="connsiteY1109" fmla="*/ 1390331 h 1479935"/>
              <a:gd name="connsiteX1110" fmla="*/ 1187080 w 1485658"/>
              <a:gd name="connsiteY1110" fmla="*/ 1390331 h 1479935"/>
              <a:gd name="connsiteX1111" fmla="*/ 1217633 w 1485658"/>
              <a:gd name="connsiteY1111" fmla="*/ 1420768 h 1479935"/>
              <a:gd name="connsiteX1112" fmla="*/ 1248185 w 1485658"/>
              <a:gd name="connsiteY1112" fmla="*/ 1390331 h 1479935"/>
              <a:gd name="connsiteX1113" fmla="*/ 1217633 w 1485658"/>
              <a:gd name="connsiteY1113" fmla="*/ 1359894 h 1479935"/>
              <a:gd name="connsiteX1114" fmla="*/ 1187080 w 1485658"/>
              <a:gd name="connsiteY1114" fmla="*/ 1390331 h 1479935"/>
              <a:gd name="connsiteX1115" fmla="*/ 1246472 w 1485658"/>
              <a:gd name="connsiteY1115" fmla="*/ 1390331 h 1479935"/>
              <a:gd name="connsiteX1116" fmla="*/ 1277025 w 1485658"/>
              <a:gd name="connsiteY1116" fmla="*/ 1420768 h 1479935"/>
              <a:gd name="connsiteX1117" fmla="*/ 1307577 w 1485658"/>
              <a:gd name="connsiteY1117" fmla="*/ 1390331 h 1479935"/>
              <a:gd name="connsiteX1118" fmla="*/ 1277025 w 1485658"/>
              <a:gd name="connsiteY1118" fmla="*/ 1359894 h 1479935"/>
              <a:gd name="connsiteX1119" fmla="*/ 1246472 w 1485658"/>
              <a:gd name="connsiteY1119" fmla="*/ 1390331 h 1479935"/>
              <a:gd name="connsiteX1120" fmla="*/ 1424553 w 1485658"/>
              <a:gd name="connsiteY1120" fmla="*/ 1390331 h 1479935"/>
              <a:gd name="connsiteX1121" fmla="*/ 1455106 w 1485658"/>
              <a:gd name="connsiteY1121" fmla="*/ 1420768 h 1479935"/>
              <a:gd name="connsiteX1122" fmla="*/ 1485658 w 1485658"/>
              <a:gd name="connsiteY1122" fmla="*/ 1390331 h 1479935"/>
              <a:gd name="connsiteX1123" fmla="*/ 1455106 w 1485658"/>
              <a:gd name="connsiteY1123" fmla="*/ 1359894 h 1479935"/>
              <a:gd name="connsiteX1124" fmla="*/ 1424553 w 1485658"/>
              <a:gd name="connsiteY1124" fmla="*/ 1390331 h 1479935"/>
              <a:gd name="connsiteX1125" fmla="*/ 474851 w 1485658"/>
              <a:gd name="connsiteY1125" fmla="*/ 1449498 h 1479935"/>
              <a:gd name="connsiteX1126" fmla="*/ 505404 w 1485658"/>
              <a:gd name="connsiteY1126" fmla="*/ 1479935 h 1479935"/>
              <a:gd name="connsiteX1127" fmla="*/ 535956 w 1485658"/>
              <a:gd name="connsiteY1127" fmla="*/ 1449498 h 1479935"/>
              <a:gd name="connsiteX1128" fmla="*/ 505404 w 1485658"/>
              <a:gd name="connsiteY1128" fmla="*/ 1419061 h 1479935"/>
              <a:gd name="connsiteX1129" fmla="*/ 474851 w 1485658"/>
              <a:gd name="connsiteY1129" fmla="*/ 1449498 h 1479935"/>
              <a:gd name="connsiteX1130" fmla="*/ 593635 w 1485658"/>
              <a:gd name="connsiteY1130" fmla="*/ 1449498 h 1479935"/>
              <a:gd name="connsiteX1131" fmla="*/ 624188 w 1485658"/>
              <a:gd name="connsiteY1131" fmla="*/ 1479935 h 1479935"/>
              <a:gd name="connsiteX1132" fmla="*/ 654740 w 1485658"/>
              <a:gd name="connsiteY1132" fmla="*/ 1449498 h 1479935"/>
              <a:gd name="connsiteX1133" fmla="*/ 624188 w 1485658"/>
              <a:gd name="connsiteY1133" fmla="*/ 1419061 h 1479935"/>
              <a:gd name="connsiteX1134" fmla="*/ 593635 w 1485658"/>
              <a:gd name="connsiteY1134" fmla="*/ 1449498 h 1479935"/>
              <a:gd name="connsiteX1135" fmla="*/ 712324 w 1485658"/>
              <a:gd name="connsiteY1135" fmla="*/ 1449498 h 1479935"/>
              <a:gd name="connsiteX1136" fmla="*/ 742877 w 1485658"/>
              <a:gd name="connsiteY1136" fmla="*/ 1479935 h 1479935"/>
              <a:gd name="connsiteX1137" fmla="*/ 773429 w 1485658"/>
              <a:gd name="connsiteY1137" fmla="*/ 1449498 h 1479935"/>
              <a:gd name="connsiteX1138" fmla="*/ 742877 w 1485658"/>
              <a:gd name="connsiteY1138" fmla="*/ 1419061 h 1479935"/>
              <a:gd name="connsiteX1139" fmla="*/ 712324 w 1485658"/>
              <a:gd name="connsiteY1139" fmla="*/ 1449498 h 1479935"/>
              <a:gd name="connsiteX1140" fmla="*/ 831013 w 1485658"/>
              <a:gd name="connsiteY1140" fmla="*/ 1449498 h 1479935"/>
              <a:gd name="connsiteX1141" fmla="*/ 861566 w 1485658"/>
              <a:gd name="connsiteY1141" fmla="*/ 1479935 h 1479935"/>
              <a:gd name="connsiteX1142" fmla="*/ 892118 w 1485658"/>
              <a:gd name="connsiteY1142" fmla="*/ 1449498 h 1479935"/>
              <a:gd name="connsiteX1143" fmla="*/ 861566 w 1485658"/>
              <a:gd name="connsiteY1143" fmla="*/ 1419061 h 1479935"/>
              <a:gd name="connsiteX1144" fmla="*/ 831013 w 1485658"/>
              <a:gd name="connsiteY1144" fmla="*/ 1449498 h 1479935"/>
              <a:gd name="connsiteX1145" fmla="*/ 1009094 w 1485658"/>
              <a:gd name="connsiteY1145" fmla="*/ 1449498 h 1479935"/>
              <a:gd name="connsiteX1146" fmla="*/ 1039647 w 1485658"/>
              <a:gd name="connsiteY1146" fmla="*/ 1479935 h 1479935"/>
              <a:gd name="connsiteX1147" fmla="*/ 1070199 w 1485658"/>
              <a:gd name="connsiteY1147" fmla="*/ 1449498 h 1479935"/>
              <a:gd name="connsiteX1148" fmla="*/ 1039647 w 1485658"/>
              <a:gd name="connsiteY1148" fmla="*/ 1419061 h 1479935"/>
              <a:gd name="connsiteX1149" fmla="*/ 1009094 w 1485658"/>
              <a:gd name="connsiteY1149" fmla="*/ 1449498 h 1479935"/>
              <a:gd name="connsiteX1150" fmla="*/ 1068391 w 1485658"/>
              <a:gd name="connsiteY1150" fmla="*/ 1449498 h 1479935"/>
              <a:gd name="connsiteX1151" fmla="*/ 1098944 w 1485658"/>
              <a:gd name="connsiteY1151" fmla="*/ 1479935 h 1479935"/>
              <a:gd name="connsiteX1152" fmla="*/ 1129496 w 1485658"/>
              <a:gd name="connsiteY1152" fmla="*/ 1449498 h 1479935"/>
              <a:gd name="connsiteX1153" fmla="*/ 1098944 w 1485658"/>
              <a:gd name="connsiteY1153" fmla="*/ 1419061 h 1479935"/>
              <a:gd name="connsiteX1154" fmla="*/ 1068391 w 1485658"/>
              <a:gd name="connsiteY1154" fmla="*/ 1449498 h 1479935"/>
              <a:gd name="connsiteX1155" fmla="*/ 1127783 w 1485658"/>
              <a:gd name="connsiteY1155" fmla="*/ 1449498 h 1479935"/>
              <a:gd name="connsiteX1156" fmla="*/ 1158336 w 1485658"/>
              <a:gd name="connsiteY1156" fmla="*/ 1479935 h 1479935"/>
              <a:gd name="connsiteX1157" fmla="*/ 1188888 w 1485658"/>
              <a:gd name="connsiteY1157" fmla="*/ 1449498 h 1479935"/>
              <a:gd name="connsiteX1158" fmla="*/ 1158336 w 1485658"/>
              <a:gd name="connsiteY1158" fmla="*/ 1419061 h 1479935"/>
              <a:gd name="connsiteX1159" fmla="*/ 1127783 w 1485658"/>
              <a:gd name="connsiteY1159" fmla="*/ 1449498 h 1479935"/>
              <a:gd name="connsiteX1160" fmla="*/ 1187080 w 1485658"/>
              <a:gd name="connsiteY1160" fmla="*/ 1449498 h 1479935"/>
              <a:gd name="connsiteX1161" fmla="*/ 1217633 w 1485658"/>
              <a:gd name="connsiteY1161" fmla="*/ 1479935 h 1479935"/>
              <a:gd name="connsiteX1162" fmla="*/ 1248185 w 1485658"/>
              <a:gd name="connsiteY1162" fmla="*/ 1449498 h 1479935"/>
              <a:gd name="connsiteX1163" fmla="*/ 1217633 w 1485658"/>
              <a:gd name="connsiteY1163" fmla="*/ 1419061 h 1479935"/>
              <a:gd name="connsiteX1164" fmla="*/ 1187080 w 1485658"/>
              <a:gd name="connsiteY1164" fmla="*/ 1449498 h 1479935"/>
              <a:gd name="connsiteX1165" fmla="*/ 1246472 w 1485658"/>
              <a:gd name="connsiteY1165" fmla="*/ 1449498 h 1479935"/>
              <a:gd name="connsiteX1166" fmla="*/ 1277025 w 1485658"/>
              <a:gd name="connsiteY1166" fmla="*/ 1479935 h 1479935"/>
              <a:gd name="connsiteX1167" fmla="*/ 1307577 w 1485658"/>
              <a:gd name="connsiteY1167" fmla="*/ 1449498 h 1479935"/>
              <a:gd name="connsiteX1168" fmla="*/ 1277025 w 1485658"/>
              <a:gd name="connsiteY1168" fmla="*/ 1419061 h 1479935"/>
              <a:gd name="connsiteX1169" fmla="*/ 1246472 w 1485658"/>
              <a:gd name="connsiteY1169" fmla="*/ 1449498 h 1479935"/>
              <a:gd name="connsiteX1170" fmla="*/ 1305769 w 1485658"/>
              <a:gd name="connsiteY1170" fmla="*/ 1449498 h 1479935"/>
              <a:gd name="connsiteX1171" fmla="*/ 1336322 w 1485658"/>
              <a:gd name="connsiteY1171" fmla="*/ 1479935 h 1479935"/>
              <a:gd name="connsiteX1172" fmla="*/ 1366874 w 1485658"/>
              <a:gd name="connsiteY1172" fmla="*/ 1449498 h 1479935"/>
              <a:gd name="connsiteX1173" fmla="*/ 1336322 w 1485658"/>
              <a:gd name="connsiteY1173" fmla="*/ 1419061 h 1479935"/>
              <a:gd name="connsiteX1174" fmla="*/ 1305769 w 1485658"/>
              <a:gd name="connsiteY1174" fmla="*/ 1449498 h 1479935"/>
              <a:gd name="connsiteX1175" fmla="*/ 1365161 w 1485658"/>
              <a:gd name="connsiteY1175" fmla="*/ 1449498 h 1479935"/>
              <a:gd name="connsiteX1176" fmla="*/ 1395714 w 1485658"/>
              <a:gd name="connsiteY1176" fmla="*/ 1479935 h 1479935"/>
              <a:gd name="connsiteX1177" fmla="*/ 1426266 w 1485658"/>
              <a:gd name="connsiteY1177" fmla="*/ 1449498 h 1479935"/>
              <a:gd name="connsiteX1178" fmla="*/ 1395714 w 1485658"/>
              <a:gd name="connsiteY1178" fmla="*/ 1419061 h 1479935"/>
              <a:gd name="connsiteX1179" fmla="*/ 1365161 w 1485658"/>
              <a:gd name="connsiteY1179" fmla="*/ 1449498 h 1479935"/>
              <a:gd name="connsiteX1180" fmla="*/ 1424553 w 1485658"/>
              <a:gd name="connsiteY1180" fmla="*/ 1449498 h 1479935"/>
              <a:gd name="connsiteX1181" fmla="*/ 1455106 w 1485658"/>
              <a:gd name="connsiteY1181" fmla="*/ 1479935 h 1479935"/>
              <a:gd name="connsiteX1182" fmla="*/ 1485658 w 1485658"/>
              <a:gd name="connsiteY1182" fmla="*/ 1449498 h 1479935"/>
              <a:gd name="connsiteX1183" fmla="*/ 1455106 w 1485658"/>
              <a:gd name="connsiteY1183" fmla="*/ 1419061 h 1479935"/>
              <a:gd name="connsiteX1184" fmla="*/ 1424553 w 1485658"/>
              <a:gd name="connsiteY1184" fmla="*/ 1449498 h 1479935"/>
              <a:gd name="connsiteX1185" fmla="*/ 207777 w 1485658"/>
              <a:gd name="connsiteY1185" fmla="*/ 0 h 1479935"/>
              <a:gd name="connsiteX1186" fmla="*/ 207777 w 1485658"/>
              <a:gd name="connsiteY1186" fmla="*/ 0 h 1479935"/>
              <a:gd name="connsiteX1187" fmla="*/ 415554 w 1485658"/>
              <a:gd name="connsiteY1187" fmla="*/ 206990 h 1479935"/>
              <a:gd name="connsiteX1188" fmla="*/ 415554 w 1485658"/>
              <a:gd name="connsiteY1188" fmla="*/ 206990 h 1479935"/>
              <a:gd name="connsiteX1189" fmla="*/ 207777 w 1485658"/>
              <a:gd name="connsiteY1189" fmla="*/ 413980 h 1479935"/>
              <a:gd name="connsiteX1190" fmla="*/ 207777 w 1485658"/>
              <a:gd name="connsiteY1190" fmla="*/ 413980 h 1479935"/>
              <a:gd name="connsiteX1191" fmla="*/ 0 w 1485658"/>
              <a:gd name="connsiteY1191" fmla="*/ 206990 h 1479935"/>
              <a:gd name="connsiteX1192" fmla="*/ 0 w 1485658"/>
              <a:gd name="connsiteY1192" fmla="*/ 206990 h 1479935"/>
              <a:gd name="connsiteX1193" fmla="*/ 207777 w 1485658"/>
              <a:gd name="connsiteY1193" fmla="*/ 0 h 1479935"/>
              <a:gd name="connsiteX1194" fmla="*/ 356162 w 1485658"/>
              <a:gd name="connsiteY1194" fmla="*/ 206895 h 1479935"/>
              <a:gd name="connsiteX1195" fmla="*/ 356162 w 1485658"/>
              <a:gd name="connsiteY1195" fmla="*/ 206895 h 1479935"/>
              <a:gd name="connsiteX1196" fmla="*/ 207777 w 1485658"/>
              <a:gd name="connsiteY1196" fmla="*/ 59072 h 1479935"/>
              <a:gd name="connsiteX1197" fmla="*/ 207777 w 1485658"/>
              <a:gd name="connsiteY1197" fmla="*/ 59072 h 1479935"/>
              <a:gd name="connsiteX1198" fmla="*/ 59392 w 1485658"/>
              <a:gd name="connsiteY1198" fmla="*/ 206895 h 1479935"/>
              <a:gd name="connsiteX1199" fmla="*/ 59392 w 1485658"/>
              <a:gd name="connsiteY1199" fmla="*/ 206895 h 1479935"/>
              <a:gd name="connsiteX1200" fmla="*/ 207777 w 1485658"/>
              <a:gd name="connsiteY1200" fmla="*/ 354718 h 1479935"/>
              <a:gd name="connsiteX1201" fmla="*/ 207777 w 1485658"/>
              <a:gd name="connsiteY1201" fmla="*/ 354718 h 1479935"/>
              <a:gd name="connsiteX1202" fmla="*/ 356162 w 1485658"/>
              <a:gd name="connsiteY1202" fmla="*/ 206895 h 1479935"/>
              <a:gd name="connsiteX1203" fmla="*/ 1276168 w 1485658"/>
              <a:gd name="connsiteY1203" fmla="*/ 0 h 1479935"/>
              <a:gd name="connsiteX1204" fmla="*/ 1276168 w 1485658"/>
              <a:gd name="connsiteY1204" fmla="*/ 0 h 1479935"/>
              <a:gd name="connsiteX1205" fmla="*/ 1483945 w 1485658"/>
              <a:gd name="connsiteY1205" fmla="*/ 206990 h 1479935"/>
              <a:gd name="connsiteX1206" fmla="*/ 1483945 w 1485658"/>
              <a:gd name="connsiteY1206" fmla="*/ 206990 h 1479935"/>
              <a:gd name="connsiteX1207" fmla="*/ 1276168 w 1485658"/>
              <a:gd name="connsiteY1207" fmla="*/ 413980 h 1479935"/>
              <a:gd name="connsiteX1208" fmla="*/ 1276168 w 1485658"/>
              <a:gd name="connsiteY1208" fmla="*/ 413980 h 1479935"/>
              <a:gd name="connsiteX1209" fmla="*/ 1068391 w 1485658"/>
              <a:gd name="connsiteY1209" fmla="*/ 206990 h 1479935"/>
              <a:gd name="connsiteX1210" fmla="*/ 1068391 w 1485658"/>
              <a:gd name="connsiteY1210" fmla="*/ 206990 h 1479935"/>
              <a:gd name="connsiteX1211" fmla="*/ 1276168 w 1485658"/>
              <a:gd name="connsiteY1211" fmla="*/ 0 h 1479935"/>
              <a:gd name="connsiteX1212" fmla="*/ 1424553 w 1485658"/>
              <a:gd name="connsiteY1212" fmla="*/ 206895 h 1479935"/>
              <a:gd name="connsiteX1213" fmla="*/ 1424553 w 1485658"/>
              <a:gd name="connsiteY1213" fmla="*/ 206895 h 1479935"/>
              <a:gd name="connsiteX1214" fmla="*/ 1276168 w 1485658"/>
              <a:gd name="connsiteY1214" fmla="*/ 59072 h 1479935"/>
              <a:gd name="connsiteX1215" fmla="*/ 1276168 w 1485658"/>
              <a:gd name="connsiteY1215" fmla="*/ 59072 h 1479935"/>
              <a:gd name="connsiteX1216" fmla="*/ 1127783 w 1485658"/>
              <a:gd name="connsiteY1216" fmla="*/ 206895 h 1479935"/>
              <a:gd name="connsiteX1217" fmla="*/ 1127783 w 1485658"/>
              <a:gd name="connsiteY1217" fmla="*/ 206895 h 1479935"/>
              <a:gd name="connsiteX1218" fmla="*/ 1276168 w 1485658"/>
              <a:gd name="connsiteY1218" fmla="*/ 354718 h 1479935"/>
              <a:gd name="connsiteX1219" fmla="*/ 1276168 w 1485658"/>
              <a:gd name="connsiteY1219" fmla="*/ 354718 h 1479935"/>
              <a:gd name="connsiteX1220" fmla="*/ 1424553 w 1485658"/>
              <a:gd name="connsiteY1220" fmla="*/ 206895 h 1479935"/>
              <a:gd name="connsiteX1221" fmla="*/ 207777 w 1485658"/>
              <a:gd name="connsiteY1221" fmla="*/ 1064249 h 1479935"/>
              <a:gd name="connsiteX1222" fmla="*/ 207777 w 1485658"/>
              <a:gd name="connsiteY1222" fmla="*/ 1064249 h 1479935"/>
              <a:gd name="connsiteX1223" fmla="*/ 415554 w 1485658"/>
              <a:gd name="connsiteY1223" fmla="*/ 1271238 h 1479935"/>
              <a:gd name="connsiteX1224" fmla="*/ 415554 w 1485658"/>
              <a:gd name="connsiteY1224" fmla="*/ 1271238 h 1479935"/>
              <a:gd name="connsiteX1225" fmla="*/ 207777 w 1485658"/>
              <a:gd name="connsiteY1225" fmla="*/ 1478228 h 1479935"/>
              <a:gd name="connsiteX1226" fmla="*/ 207777 w 1485658"/>
              <a:gd name="connsiteY1226" fmla="*/ 1478228 h 1479935"/>
              <a:gd name="connsiteX1227" fmla="*/ 0 w 1485658"/>
              <a:gd name="connsiteY1227" fmla="*/ 1271238 h 1479935"/>
              <a:gd name="connsiteX1228" fmla="*/ 0 w 1485658"/>
              <a:gd name="connsiteY1228" fmla="*/ 1271238 h 1479935"/>
              <a:gd name="connsiteX1229" fmla="*/ 207777 w 1485658"/>
              <a:gd name="connsiteY1229" fmla="*/ 1064249 h 1479935"/>
              <a:gd name="connsiteX1230" fmla="*/ 356162 w 1485658"/>
              <a:gd name="connsiteY1230" fmla="*/ 1271238 h 1479935"/>
              <a:gd name="connsiteX1231" fmla="*/ 356162 w 1485658"/>
              <a:gd name="connsiteY1231" fmla="*/ 1271238 h 1479935"/>
              <a:gd name="connsiteX1232" fmla="*/ 207777 w 1485658"/>
              <a:gd name="connsiteY1232" fmla="*/ 1123416 h 1479935"/>
              <a:gd name="connsiteX1233" fmla="*/ 207777 w 1485658"/>
              <a:gd name="connsiteY1233" fmla="*/ 1123416 h 1479935"/>
              <a:gd name="connsiteX1234" fmla="*/ 59392 w 1485658"/>
              <a:gd name="connsiteY1234" fmla="*/ 1271238 h 1479935"/>
              <a:gd name="connsiteX1235" fmla="*/ 59392 w 1485658"/>
              <a:gd name="connsiteY1235" fmla="*/ 1271238 h 1479935"/>
              <a:gd name="connsiteX1236" fmla="*/ 207777 w 1485658"/>
              <a:gd name="connsiteY1236" fmla="*/ 1419061 h 1479935"/>
              <a:gd name="connsiteX1237" fmla="*/ 207777 w 1485658"/>
              <a:gd name="connsiteY1237" fmla="*/ 1419061 h 1479935"/>
              <a:gd name="connsiteX1238" fmla="*/ 356162 w 1485658"/>
              <a:gd name="connsiteY1238" fmla="*/ 1271238 h 1479935"/>
              <a:gd name="connsiteX1239" fmla="*/ 118784 w 1485658"/>
              <a:gd name="connsiteY1239" fmla="*/ 206895 h 1479935"/>
              <a:gd name="connsiteX1240" fmla="*/ 207777 w 1485658"/>
              <a:gd name="connsiteY1240" fmla="*/ 295551 h 1479935"/>
              <a:gd name="connsiteX1241" fmla="*/ 296770 w 1485658"/>
              <a:gd name="connsiteY1241" fmla="*/ 206895 h 1479935"/>
              <a:gd name="connsiteX1242" fmla="*/ 207777 w 1485658"/>
              <a:gd name="connsiteY1242" fmla="*/ 118239 h 1479935"/>
              <a:gd name="connsiteX1243" fmla="*/ 118784 w 1485658"/>
              <a:gd name="connsiteY1243" fmla="*/ 206895 h 1479935"/>
              <a:gd name="connsiteX1244" fmla="*/ 1187080 w 1485658"/>
              <a:gd name="connsiteY1244" fmla="*/ 206895 h 1479935"/>
              <a:gd name="connsiteX1245" fmla="*/ 1276073 w 1485658"/>
              <a:gd name="connsiteY1245" fmla="*/ 295551 h 1479935"/>
              <a:gd name="connsiteX1246" fmla="*/ 1365066 w 1485658"/>
              <a:gd name="connsiteY1246" fmla="*/ 206895 h 1479935"/>
              <a:gd name="connsiteX1247" fmla="*/ 1276073 w 1485658"/>
              <a:gd name="connsiteY1247" fmla="*/ 118239 h 1479935"/>
              <a:gd name="connsiteX1248" fmla="*/ 1187080 w 1485658"/>
              <a:gd name="connsiteY1248" fmla="*/ 206895 h 1479935"/>
              <a:gd name="connsiteX1249" fmla="*/ 118784 w 1485658"/>
              <a:gd name="connsiteY1249" fmla="*/ 1271238 h 1479935"/>
              <a:gd name="connsiteX1250" fmla="*/ 207777 w 1485658"/>
              <a:gd name="connsiteY1250" fmla="*/ 1359894 h 1479935"/>
              <a:gd name="connsiteX1251" fmla="*/ 296770 w 1485658"/>
              <a:gd name="connsiteY1251" fmla="*/ 1271238 h 1479935"/>
              <a:gd name="connsiteX1252" fmla="*/ 207777 w 1485658"/>
              <a:gd name="connsiteY1252" fmla="*/ 1182583 h 1479935"/>
              <a:gd name="connsiteX1253" fmla="*/ 118784 w 1485658"/>
              <a:gd name="connsiteY1253" fmla="*/ 1271238 h 1479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</a:cxnLst>
            <a:rect l="l" t="t" r="r" b="b"/>
            <a:pathLst>
              <a:path w="1485658" h="1479935">
                <a:moveTo>
                  <a:pt x="564796" y="0"/>
                </a:moveTo>
                <a:cubicBezTo>
                  <a:pt x="581643" y="0"/>
                  <a:pt x="595348" y="13654"/>
                  <a:pt x="595348" y="30437"/>
                </a:cubicBezTo>
                <a:cubicBezTo>
                  <a:pt x="595348" y="47220"/>
                  <a:pt x="581643" y="60874"/>
                  <a:pt x="564796" y="60874"/>
                </a:cubicBezTo>
                <a:cubicBezTo>
                  <a:pt x="547949" y="60874"/>
                  <a:pt x="534243" y="47220"/>
                  <a:pt x="534243" y="30437"/>
                </a:cubicBezTo>
                <a:cubicBezTo>
                  <a:pt x="534243" y="13654"/>
                  <a:pt x="547949" y="0"/>
                  <a:pt x="564796" y="0"/>
                </a:cubicBezTo>
                <a:close/>
                <a:moveTo>
                  <a:pt x="593635" y="30437"/>
                </a:moveTo>
                <a:cubicBezTo>
                  <a:pt x="593635" y="47220"/>
                  <a:pt x="607341" y="60874"/>
                  <a:pt x="624188" y="60874"/>
                </a:cubicBezTo>
                <a:cubicBezTo>
                  <a:pt x="641035" y="60874"/>
                  <a:pt x="654740" y="47220"/>
                  <a:pt x="654740" y="30437"/>
                </a:cubicBezTo>
                <a:cubicBezTo>
                  <a:pt x="654740" y="13654"/>
                  <a:pt x="641035" y="0"/>
                  <a:pt x="624188" y="0"/>
                </a:cubicBezTo>
                <a:cubicBezTo>
                  <a:pt x="607341" y="0"/>
                  <a:pt x="593635" y="13654"/>
                  <a:pt x="593635" y="30437"/>
                </a:cubicBezTo>
                <a:close/>
                <a:moveTo>
                  <a:pt x="652932" y="30437"/>
                </a:moveTo>
                <a:cubicBezTo>
                  <a:pt x="652932" y="47220"/>
                  <a:pt x="666638" y="60874"/>
                  <a:pt x="683485" y="60874"/>
                </a:cubicBezTo>
                <a:cubicBezTo>
                  <a:pt x="700332" y="60874"/>
                  <a:pt x="714037" y="47220"/>
                  <a:pt x="714037" y="30437"/>
                </a:cubicBezTo>
                <a:cubicBezTo>
                  <a:pt x="714037" y="13654"/>
                  <a:pt x="700332" y="0"/>
                  <a:pt x="683485" y="0"/>
                </a:cubicBezTo>
                <a:cubicBezTo>
                  <a:pt x="666638" y="0"/>
                  <a:pt x="652932" y="13654"/>
                  <a:pt x="652932" y="30437"/>
                </a:cubicBezTo>
                <a:close/>
                <a:moveTo>
                  <a:pt x="831013" y="30437"/>
                </a:moveTo>
                <a:cubicBezTo>
                  <a:pt x="831013" y="47220"/>
                  <a:pt x="844719" y="60874"/>
                  <a:pt x="861566" y="60874"/>
                </a:cubicBezTo>
                <a:cubicBezTo>
                  <a:pt x="878413" y="60874"/>
                  <a:pt x="892118" y="47220"/>
                  <a:pt x="892118" y="30437"/>
                </a:cubicBezTo>
                <a:cubicBezTo>
                  <a:pt x="892118" y="13654"/>
                  <a:pt x="878413" y="0"/>
                  <a:pt x="861566" y="0"/>
                </a:cubicBezTo>
                <a:cubicBezTo>
                  <a:pt x="844719" y="0"/>
                  <a:pt x="831013" y="13654"/>
                  <a:pt x="831013" y="30437"/>
                </a:cubicBezTo>
                <a:close/>
                <a:moveTo>
                  <a:pt x="949702" y="30437"/>
                </a:moveTo>
                <a:cubicBezTo>
                  <a:pt x="949702" y="47220"/>
                  <a:pt x="963408" y="60874"/>
                  <a:pt x="980255" y="60874"/>
                </a:cubicBezTo>
                <a:cubicBezTo>
                  <a:pt x="997101" y="60874"/>
                  <a:pt x="1010807" y="47220"/>
                  <a:pt x="1010807" y="30437"/>
                </a:cubicBezTo>
                <a:cubicBezTo>
                  <a:pt x="1010807" y="13654"/>
                  <a:pt x="997101" y="0"/>
                  <a:pt x="980255" y="0"/>
                </a:cubicBezTo>
                <a:cubicBezTo>
                  <a:pt x="963408" y="0"/>
                  <a:pt x="949702" y="13654"/>
                  <a:pt x="949702" y="30437"/>
                </a:cubicBezTo>
                <a:close/>
                <a:moveTo>
                  <a:pt x="593635" y="89509"/>
                </a:moveTo>
                <a:cubicBezTo>
                  <a:pt x="593635" y="106292"/>
                  <a:pt x="607341" y="119946"/>
                  <a:pt x="624188" y="119946"/>
                </a:cubicBezTo>
                <a:cubicBezTo>
                  <a:pt x="641035" y="119946"/>
                  <a:pt x="654740" y="106292"/>
                  <a:pt x="654740" y="89509"/>
                </a:cubicBezTo>
                <a:cubicBezTo>
                  <a:pt x="654740" y="72726"/>
                  <a:pt x="641035" y="59072"/>
                  <a:pt x="624188" y="59072"/>
                </a:cubicBezTo>
                <a:cubicBezTo>
                  <a:pt x="607341" y="59072"/>
                  <a:pt x="593635" y="72726"/>
                  <a:pt x="593635" y="89509"/>
                </a:cubicBezTo>
                <a:close/>
                <a:moveTo>
                  <a:pt x="771621" y="89509"/>
                </a:moveTo>
                <a:cubicBezTo>
                  <a:pt x="771621" y="106292"/>
                  <a:pt x="785327" y="119946"/>
                  <a:pt x="802174" y="119946"/>
                </a:cubicBezTo>
                <a:cubicBezTo>
                  <a:pt x="819021" y="119946"/>
                  <a:pt x="832726" y="106292"/>
                  <a:pt x="832726" y="89509"/>
                </a:cubicBezTo>
                <a:cubicBezTo>
                  <a:pt x="832726" y="72726"/>
                  <a:pt x="819021" y="59072"/>
                  <a:pt x="802174" y="59072"/>
                </a:cubicBezTo>
                <a:cubicBezTo>
                  <a:pt x="785327" y="59072"/>
                  <a:pt x="771621" y="72726"/>
                  <a:pt x="771621" y="89509"/>
                </a:cubicBezTo>
                <a:close/>
                <a:moveTo>
                  <a:pt x="890310" y="89509"/>
                </a:moveTo>
                <a:cubicBezTo>
                  <a:pt x="890310" y="106292"/>
                  <a:pt x="904016" y="119946"/>
                  <a:pt x="920863" y="119946"/>
                </a:cubicBezTo>
                <a:cubicBezTo>
                  <a:pt x="937709" y="119946"/>
                  <a:pt x="951415" y="106292"/>
                  <a:pt x="951415" y="89509"/>
                </a:cubicBezTo>
                <a:cubicBezTo>
                  <a:pt x="951415" y="72726"/>
                  <a:pt x="937709" y="59072"/>
                  <a:pt x="920863" y="59072"/>
                </a:cubicBezTo>
                <a:cubicBezTo>
                  <a:pt x="904016" y="59072"/>
                  <a:pt x="890310" y="72726"/>
                  <a:pt x="890310" y="89509"/>
                </a:cubicBezTo>
                <a:close/>
                <a:moveTo>
                  <a:pt x="474851" y="148676"/>
                </a:moveTo>
                <a:cubicBezTo>
                  <a:pt x="474851" y="165459"/>
                  <a:pt x="488557" y="179113"/>
                  <a:pt x="505404" y="179113"/>
                </a:cubicBezTo>
                <a:cubicBezTo>
                  <a:pt x="522250" y="179113"/>
                  <a:pt x="535956" y="165459"/>
                  <a:pt x="535956" y="148676"/>
                </a:cubicBezTo>
                <a:cubicBezTo>
                  <a:pt x="535956" y="131893"/>
                  <a:pt x="522250" y="118239"/>
                  <a:pt x="505404" y="118239"/>
                </a:cubicBezTo>
                <a:cubicBezTo>
                  <a:pt x="488557" y="118239"/>
                  <a:pt x="474851" y="131893"/>
                  <a:pt x="474851" y="148676"/>
                </a:cubicBezTo>
                <a:close/>
                <a:moveTo>
                  <a:pt x="712324" y="148676"/>
                </a:moveTo>
                <a:cubicBezTo>
                  <a:pt x="712324" y="165459"/>
                  <a:pt x="726030" y="179113"/>
                  <a:pt x="742877" y="179113"/>
                </a:cubicBezTo>
                <a:cubicBezTo>
                  <a:pt x="759724" y="179113"/>
                  <a:pt x="773429" y="165459"/>
                  <a:pt x="773429" y="148676"/>
                </a:cubicBezTo>
                <a:cubicBezTo>
                  <a:pt x="773429" y="131893"/>
                  <a:pt x="759724" y="118239"/>
                  <a:pt x="742877" y="118239"/>
                </a:cubicBezTo>
                <a:cubicBezTo>
                  <a:pt x="726030" y="118239"/>
                  <a:pt x="712324" y="131893"/>
                  <a:pt x="712324" y="148676"/>
                </a:cubicBezTo>
                <a:close/>
                <a:moveTo>
                  <a:pt x="949702" y="148676"/>
                </a:moveTo>
                <a:cubicBezTo>
                  <a:pt x="949702" y="165459"/>
                  <a:pt x="963408" y="179113"/>
                  <a:pt x="980255" y="179113"/>
                </a:cubicBezTo>
                <a:cubicBezTo>
                  <a:pt x="997101" y="179113"/>
                  <a:pt x="1010807" y="165459"/>
                  <a:pt x="1010807" y="148676"/>
                </a:cubicBezTo>
                <a:cubicBezTo>
                  <a:pt x="1010807" y="131893"/>
                  <a:pt x="997101" y="118239"/>
                  <a:pt x="980255" y="118239"/>
                </a:cubicBezTo>
                <a:cubicBezTo>
                  <a:pt x="963408" y="118239"/>
                  <a:pt x="949702" y="131893"/>
                  <a:pt x="949702" y="148676"/>
                </a:cubicBezTo>
                <a:close/>
                <a:moveTo>
                  <a:pt x="474851" y="207843"/>
                </a:moveTo>
                <a:cubicBezTo>
                  <a:pt x="474851" y="224626"/>
                  <a:pt x="488557" y="238280"/>
                  <a:pt x="505404" y="238280"/>
                </a:cubicBezTo>
                <a:cubicBezTo>
                  <a:pt x="522250" y="238280"/>
                  <a:pt x="535956" y="224626"/>
                  <a:pt x="535956" y="207843"/>
                </a:cubicBezTo>
                <a:cubicBezTo>
                  <a:pt x="535956" y="191060"/>
                  <a:pt x="522250" y="177406"/>
                  <a:pt x="505404" y="177406"/>
                </a:cubicBezTo>
                <a:cubicBezTo>
                  <a:pt x="488557" y="177406"/>
                  <a:pt x="474851" y="191060"/>
                  <a:pt x="474851" y="207843"/>
                </a:cubicBezTo>
                <a:close/>
                <a:moveTo>
                  <a:pt x="534243" y="207843"/>
                </a:moveTo>
                <a:cubicBezTo>
                  <a:pt x="534243" y="224626"/>
                  <a:pt x="547949" y="238280"/>
                  <a:pt x="564796" y="238280"/>
                </a:cubicBezTo>
                <a:cubicBezTo>
                  <a:pt x="581643" y="238280"/>
                  <a:pt x="595348" y="224626"/>
                  <a:pt x="595348" y="207843"/>
                </a:cubicBezTo>
                <a:cubicBezTo>
                  <a:pt x="595348" y="191060"/>
                  <a:pt x="581643" y="177406"/>
                  <a:pt x="564796" y="177406"/>
                </a:cubicBezTo>
                <a:cubicBezTo>
                  <a:pt x="547949" y="177406"/>
                  <a:pt x="534243" y="191060"/>
                  <a:pt x="534243" y="207843"/>
                </a:cubicBezTo>
                <a:close/>
                <a:moveTo>
                  <a:pt x="593635" y="207843"/>
                </a:moveTo>
                <a:cubicBezTo>
                  <a:pt x="593635" y="224626"/>
                  <a:pt x="607341" y="238280"/>
                  <a:pt x="624188" y="238280"/>
                </a:cubicBezTo>
                <a:cubicBezTo>
                  <a:pt x="641035" y="238280"/>
                  <a:pt x="654740" y="224626"/>
                  <a:pt x="654740" y="207843"/>
                </a:cubicBezTo>
                <a:cubicBezTo>
                  <a:pt x="654740" y="191060"/>
                  <a:pt x="641035" y="177406"/>
                  <a:pt x="624188" y="177406"/>
                </a:cubicBezTo>
                <a:cubicBezTo>
                  <a:pt x="607341" y="177406"/>
                  <a:pt x="593635" y="191060"/>
                  <a:pt x="593635" y="207843"/>
                </a:cubicBezTo>
                <a:close/>
                <a:moveTo>
                  <a:pt x="652932" y="207843"/>
                </a:moveTo>
                <a:cubicBezTo>
                  <a:pt x="652932" y="224626"/>
                  <a:pt x="666638" y="238280"/>
                  <a:pt x="683485" y="238280"/>
                </a:cubicBezTo>
                <a:cubicBezTo>
                  <a:pt x="700332" y="238280"/>
                  <a:pt x="714037" y="224626"/>
                  <a:pt x="714037" y="207843"/>
                </a:cubicBezTo>
                <a:cubicBezTo>
                  <a:pt x="714037" y="191060"/>
                  <a:pt x="700332" y="177406"/>
                  <a:pt x="683485" y="177406"/>
                </a:cubicBezTo>
                <a:cubicBezTo>
                  <a:pt x="666638" y="177406"/>
                  <a:pt x="652932" y="191060"/>
                  <a:pt x="652932" y="207843"/>
                </a:cubicBezTo>
                <a:close/>
                <a:moveTo>
                  <a:pt x="771621" y="207843"/>
                </a:moveTo>
                <a:cubicBezTo>
                  <a:pt x="771621" y="224626"/>
                  <a:pt x="785327" y="238280"/>
                  <a:pt x="802174" y="238280"/>
                </a:cubicBezTo>
                <a:cubicBezTo>
                  <a:pt x="819021" y="238280"/>
                  <a:pt x="832726" y="224626"/>
                  <a:pt x="832726" y="207843"/>
                </a:cubicBezTo>
                <a:cubicBezTo>
                  <a:pt x="832726" y="191060"/>
                  <a:pt x="819021" y="177406"/>
                  <a:pt x="802174" y="177406"/>
                </a:cubicBezTo>
                <a:cubicBezTo>
                  <a:pt x="785327" y="177406"/>
                  <a:pt x="771621" y="191060"/>
                  <a:pt x="771621" y="207843"/>
                </a:cubicBezTo>
                <a:close/>
                <a:moveTo>
                  <a:pt x="831013" y="207843"/>
                </a:moveTo>
                <a:cubicBezTo>
                  <a:pt x="831013" y="224626"/>
                  <a:pt x="844719" y="238280"/>
                  <a:pt x="861566" y="238280"/>
                </a:cubicBezTo>
                <a:cubicBezTo>
                  <a:pt x="878413" y="238280"/>
                  <a:pt x="892118" y="224626"/>
                  <a:pt x="892118" y="207843"/>
                </a:cubicBezTo>
                <a:cubicBezTo>
                  <a:pt x="892118" y="191060"/>
                  <a:pt x="878413" y="177406"/>
                  <a:pt x="861566" y="177406"/>
                </a:cubicBezTo>
                <a:cubicBezTo>
                  <a:pt x="844719" y="177406"/>
                  <a:pt x="831013" y="191060"/>
                  <a:pt x="831013" y="207843"/>
                </a:cubicBezTo>
                <a:close/>
                <a:moveTo>
                  <a:pt x="474851" y="266915"/>
                </a:moveTo>
                <a:cubicBezTo>
                  <a:pt x="474851" y="283698"/>
                  <a:pt x="488557" y="297352"/>
                  <a:pt x="505404" y="297352"/>
                </a:cubicBezTo>
                <a:cubicBezTo>
                  <a:pt x="522250" y="297352"/>
                  <a:pt x="535956" y="283698"/>
                  <a:pt x="535956" y="266915"/>
                </a:cubicBezTo>
                <a:cubicBezTo>
                  <a:pt x="535956" y="250133"/>
                  <a:pt x="522250" y="236479"/>
                  <a:pt x="505404" y="236479"/>
                </a:cubicBezTo>
                <a:cubicBezTo>
                  <a:pt x="488557" y="236479"/>
                  <a:pt x="474851" y="250133"/>
                  <a:pt x="474851" y="266915"/>
                </a:cubicBezTo>
                <a:close/>
                <a:moveTo>
                  <a:pt x="652932" y="266915"/>
                </a:moveTo>
                <a:cubicBezTo>
                  <a:pt x="652932" y="283698"/>
                  <a:pt x="666638" y="297352"/>
                  <a:pt x="683485" y="297352"/>
                </a:cubicBezTo>
                <a:cubicBezTo>
                  <a:pt x="700332" y="297352"/>
                  <a:pt x="714037" y="283698"/>
                  <a:pt x="714037" y="266915"/>
                </a:cubicBezTo>
                <a:cubicBezTo>
                  <a:pt x="714037" y="250133"/>
                  <a:pt x="700332" y="236479"/>
                  <a:pt x="683485" y="236479"/>
                </a:cubicBezTo>
                <a:cubicBezTo>
                  <a:pt x="666638" y="236479"/>
                  <a:pt x="652932" y="250133"/>
                  <a:pt x="652932" y="266915"/>
                </a:cubicBezTo>
                <a:close/>
                <a:moveTo>
                  <a:pt x="712324" y="266915"/>
                </a:moveTo>
                <a:cubicBezTo>
                  <a:pt x="712324" y="283698"/>
                  <a:pt x="726030" y="297352"/>
                  <a:pt x="742877" y="297352"/>
                </a:cubicBezTo>
                <a:cubicBezTo>
                  <a:pt x="759724" y="297352"/>
                  <a:pt x="773429" y="283698"/>
                  <a:pt x="773429" y="266915"/>
                </a:cubicBezTo>
                <a:cubicBezTo>
                  <a:pt x="773429" y="250133"/>
                  <a:pt x="759724" y="236479"/>
                  <a:pt x="742877" y="236479"/>
                </a:cubicBezTo>
                <a:cubicBezTo>
                  <a:pt x="726030" y="236479"/>
                  <a:pt x="712324" y="250133"/>
                  <a:pt x="712324" y="266915"/>
                </a:cubicBezTo>
                <a:close/>
                <a:moveTo>
                  <a:pt x="831013" y="266915"/>
                </a:moveTo>
                <a:cubicBezTo>
                  <a:pt x="831013" y="283698"/>
                  <a:pt x="844719" y="297352"/>
                  <a:pt x="861566" y="297352"/>
                </a:cubicBezTo>
                <a:cubicBezTo>
                  <a:pt x="878413" y="297352"/>
                  <a:pt x="892118" y="283698"/>
                  <a:pt x="892118" y="266915"/>
                </a:cubicBezTo>
                <a:cubicBezTo>
                  <a:pt x="892118" y="250133"/>
                  <a:pt x="878413" y="236479"/>
                  <a:pt x="861566" y="236479"/>
                </a:cubicBezTo>
                <a:cubicBezTo>
                  <a:pt x="844719" y="236479"/>
                  <a:pt x="831013" y="250133"/>
                  <a:pt x="831013" y="266915"/>
                </a:cubicBezTo>
                <a:close/>
                <a:moveTo>
                  <a:pt x="474851" y="326083"/>
                </a:moveTo>
                <a:cubicBezTo>
                  <a:pt x="474851" y="342866"/>
                  <a:pt x="488557" y="356519"/>
                  <a:pt x="505404" y="356519"/>
                </a:cubicBezTo>
                <a:cubicBezTo>
                  <a:pt x="522250" y="356519"/>
                  <a:pt x="535956" y="342866"/>
                  <a:pt x="535956" y="326083"/>
                </a:cubicBezTo>
                <a:cubicBezTo>
                  <a:pt x="535956" y="309300"/>
                  <a:pt x="522250" y="295646"/>
                  <a:pt x="505404" y="295646"/>
                </a:cubicBezTo>
                <a:cubicBezTo>
                  <a:pt x="488557" y="295646"/>
                  <a:pt x="474851" y="309300"/>
                  <a:pt x="474851" y="326083"/>
                </a:cubicBezTo>
                <a:close/>
                <a:moveTo>
                  <a:pt x="593635" y="326083"/>
                </a:moveTo>
                <a:cubicBezTo>
                  <a:pt x="593635" y="342866"/>
                  <a:pt x="607341" y="356519"/>
                  <a:pt x="624188" y="356519"/>
                </a:cubicBezTo>
                <a:cubicBezTo>
                  <a:pt x="641035" y="356519"/>
                  <a:pt x="654740" y="342866"/>
                  <a:pt x="654740" y="326083"/>
                </a:cubicBezTo>
                <a:cubicBezTo>
                  <a:pt x="654740" y="309300"/>
                  <a:pt x="641035" y="295646"/>
                  <a:pt x="624188" y="295646"/>
                </a:cubicBezTo>
                <a:cubicBezTo>
                  <a:pt x="607341" y="295646"/>
                  <a:pt x="593635" y="309300"/>
                  <a:pt x="593635" y="326083"/>
                </a:cubicBezTo>
                <a:close/>
                <a:moveTo>
                  <a:pt x="831013" y="326083"/>
                </a:moveTo>
                <a:cubicBezTo>
                  <a:pt x="831013" y="342866"/>
                  <a:pt x="844719" y="356519"/>
                  <a:pt x="861566" y="356519"/>
                </a:cubicBezTo>
                <a:cubicBezTo>
                  <a:pt x="878413" y="356519"/>
                  <a:pt x="892118" y="342866"/>
                  <a:pt x="892118" y="326083"/>
                </a:cubicBezTo>
                <a:cubicBezTo>
                  <a:pt x="892118" y="309300"/>
                  <a:pt x="878413" y="295646"/>
                  <a:pt x="861566" y="295646"/>
                </a:cubicBezTo>
                <a:cubicBezTo>
                  <a:pt x="844719" y="295646"/>
                  <a:pt x="831013" y="309300"/>
                  <a:pt x="831013" y="326083"/>
                </a:cubicBezTo>
                <a:close/>
                <a:moveTo>
                  <a:pt x="890310" y="326083"/>
                </a:moveTo>
                <a:cubicBezTo>
                  <a:pt x="890310" y="342866"/>
                  <a:pt x="904016" y="356519"/>
                  <a:pt x="920863" y="356519"/>
                </a:cubicBezTo>
                <a:cubicBezTo>
                  <a:pt x="937709" y="356519"/>
                  <a:pt x="951415" y="342866"/>
                  <a:pt x="951415" y="326083"/>
                </a:cubicBezTo>
                <a:cubicBezTo>
                  <a:pt x="951415" y="309300"/>
                  <a:pt x="937709" y="295646"/>
                  <a:pt x="920863" y="295646"/>
                </a:cubicBezTo>
                <a:cubicBezTo>
                  <a:pt x="904016" y="295646"/>
                  <a:pt x="890310" y="309300"/>
                  <a:pt x="890310" y="326083"/>
                </a:cubicBezTo>
                <a:close/>
                <a:moveTo>
                  <a:pt x="949702" y="326083"/>
                </a:moveTo>
                <a:cubicBezTo>
                  <a:pt x="949702" y="342866"/>
                  <a:pt x="963408" y="356519"/>
                  <a:pt x="980255" y="356519"/>
                </a:cubicBezTo>
                <a:cubicBezTo>
                  <a:pt x="997101" y="356519"/>
                  <a:pt x="1010807" y="342866"/>
                  <a:pt x="1010807" y="326083"/>
                </a:cubicBezTo>
                <a:cubicBezTo>
                  <a:pt x="1010807" y="309300"/>
                  <a:pt x="997101" y="295646"/>
                  <a:pt x="980255" y="295646"/>
                </a:cubicBezTo>
                <a:cubicBezTo>
                  <a:pt x="963408" y="295646"/>
                  <a:pt x="949702" y="309300"/>
                  <a:pt x="949702" y="326083"/>
                </a:cubicBezTo>
                <a:close/>
                <a:moveTo>
                  <a:pt x="474851" y="385155"/>
                </a:moveTo>
                <a:cubicBezTo>
                  <a:pt x="474851" y="401938"/>
                  <a:pt x="488557" y="415592"/>
                  <a:pt x="505404" y="415592"/>
                </a:cubicBezTo>
                <a:cubicBezTo>
                  <a:pt x="522250" y="415592"/>
                  <a:pt x="535956" y="401938"/>
                  <a:pt x="535956" y="385155"/>
                </a:cubicBezTo>
                <a:cubicBezTo>
                  <a:pt x="535956" y="368372"/>
                  <a:pt x="522250" y="354718"/>
                  <a:pt x="505404" y="354718"/>
                </a:cubicBezTo>
                <a:cubicBezTo>
                  <a:pt x="488557" y="354718"/>
                  <a:pt x="474851" y="368372"/>
                  <a:pt x="474851" y="385155"/>
                </a:cubicBezTo>
                <a:close/>
                <a:moveTo>
                  <a:pt x="593635" y="385155"/>
                </a:moveTo>
                <a:cubicBezTo>
                  <a:pt x="593635" y="401938"/>
                  <a:pt x="607341" y="415592"/>
                  <a:pt x="624188" y="415592"/>
                </a:cubicBezTo>
                <a:cubicBezTo>
                  <a:pt x="641035" y="415592"/>
                  <a:pt x="654740" y="401938"/>
                  <a:pt x="654740" y="385155"/>
                </a:cubicBezTo>
                <a:cubicBezTo>
                  <a:pt x="654740" y="368372"/>
                  <a:pt x="641035" y="354718"/>
                  <a:pt x="624188" y="354718"/>
                </a:cubicBezTo>
                <a:cubicBezTo>
                  <a:pt x="607341" y="354718"/>
                  <a:pt x="593635" y="368372"/>
                  <a:pt x="593635" y="385155"/>
                </a:cubicBezTo>
                <a:close/>
                <a:moveTo>
                  <a:pt x="712324" y="385155"/>
                </a:moveTo>
                <a:cubicBezTo>
                  <a:pt x="712324" y="401938"/>
                  <a:pt x="726030" y="415592"/>
                  <a:pt x="742877" y="415592"/>
                </a:cubicBezTo>
                <a:cubicBezTo>
                  <a:pt x="759724" y="415592"/>
                  <a:pt x="773429" y="401938"/>
                  <a:pt x="773429" y="385155"/>
                </a:cubicBezTo>
                <a:cubicBezTo>
                  <a:pt x="773429" y="368372"/>
                  <a:pt x="759724" y="354718"/>
                  <a:pt x="742877" y="354718"/>
                </a:cubicBezTo>
                <a:cubicBezTo>
                  <a:pt x="726030" y="354718"/>
                  <a:pt x="712324" y="368372"/>
                  <a:pt x="712324" y="385155"/>
                </a:cubicBezTo>
                <a:close/>
                <a:moveTo>
                  <a:pt x="831013" y="385155"/>
                </a:moveTo>
                <a:cubicBezTo>
                  <a:pt x="831013" y="401938"/>
                  <a:pt x="844719" y="415592"/>
                  <a:pt x="861566" y="415592"/>
                </a:cubicBezTo>
                <a:cubicBezTo>
                  <a:pt x="878413" y="415592"/>
                  <a:pt x="892118" y="401938"/>
                  <a:pt x="892118" y="385155"/>
                </a:cubicBezTo>
                <a:cubicBezTo>
                  <a:pt x="892118" y="368372"/>
                  <a:pt x="878413" y="354718"/>
                  <a:pt x="861566" y="354718"/>
                </a:cubicBezTo>
                <a:cubicBezTo>
                  <a:pt x="844719" y="354718"/>
                  <a:pt x="831013" y="368372"/>
                  <a:pt x="831013" y="385155"/>
                </a:cubicBezTo>
                <a:close/>
                <a:moveTo>
                  <a:pt x="949702" y="385155"/>
                </a:moveTo>
                <a:cubicBezTo>
                  <a:pt x="949702" y="401938"/>
                  <a:pt x="963408" y="415592"/>
                  <a:pt x="980255" y="415592"/>
                </a:cubicBezTo>
                <a:cubicBezTo>
                  <a:pt x="997101" y="415592"/>
                  <a:pt x="1010807" y="401938"/>
                  <a:pt x="1010807" y="385155"/>
                </a:cubicBezTo>
                <a:cubicBezTo>
                  <a:pt x="1010807" y="368372"/>
                  <a:pt x="997101" y="354718"/>
                  <a:pt x="980255" y="354718"/>
                </a:cubicBezTo>
                <a:cubicBezTo>
                  <a:pt x="963408" y="354718"/>
                  <a:pt x="949702" y="368372"/>
                  <a:pt x="949702" y="385155"/>
                </a:cubicBezTo>
                <a:close/>
                <a:moveTo>
                  <a:pt x="474851" y="444322"/>
                </a:moveTo>
                <a:cubicBezTo>
                  <a:pt x="474851" y="461105"/>
                  <a:pt x="488557" y="474759"/>
                  <a:pt x="505404" y="474759"/>
                </a:cubicBezTo>
                <a:cubicBezTo>
                  <a:pt x="522250" y="474759"/>
                  <a:pt x="535956" y="461105"/>
                  <a:pt x="535956" y="444322"/>
                </a:cubicBezTo>
                <a:cubicBezTo>
                  <a:pt x="535956" y="427539"/>
                  <a:pt x="522250" y="413885"/>
                  <a:pt x="505404" y="413885"/>
                </a:cubicBezTo>
                <a:cubicBezTo>
                  <a:pt x="488557" y="413885"/>
                  <a:pt x="474851" y="427539"/>
                  <a:pt x="474851" y="444322"/>
                </a:cubicBezTo>
                <a:close/>
                <a:moveTo>
                  <a:pt x="831013" y="444322"/>
                </a:moveTo>
                <a:cubicBezTo>
                  <a:pt x="831013" y="461105"/>
                  <a:pt x="844719" y="474759"/>
                  <a:pt x="861566" y="474759"/>
                </a:cubicBezTo>
                <a:cubicBezTo>
                  <a:pt x="878413" y="474759"/>
                  <a:pt x="892118" y="461105"/>
                  <a:pt x="892118" y="444322"/>
                </a:cubicBezTo>
                <a:cubicBezTo>
                  <a:pt x="892118" y="427539"/>
                  <a:pt x="878413" y="413885"/>
                  <a:pt x="861566" y="413885"/>
                </a:cubicBezTo>
                <a:cubicBezTo>
                  <a:pt x="844719" y="413885"/>
                  <a:pt x="831013" y="427539"/>
                  <a:pt x="831013" y="444322"/>
                </a:cubicBezTo>
                <a:close/>
                <a:moveTo>
                  <a:pt x="890310" y="444322"/>
                </a:moveTo>
                <a:cubicBezTo>
                  <a:pt x="890310" y="461105"/>
                  <a:pt x="904016" y="474759"/>
                  <a:pt x="920863" y="474759"/>
                </a:cubicBezTo>
                <a:cubicBezTo>
                  <a:pt x="937709" y="474759"/>
                  <a:pt x="951415" y="461105"/>
                  <a:pt x="951415" y="444322"/>
                </a:cubicBezTo>
                <a:cubicBezTo>
                  <a:pt x="951415" y="427539"/>
                  <a:pt x="937709" y="413885"/>
                  <a:pt x="920863" y="413885"/>
                </a:cubicBezTo>
                <a:cubicBezTo>
                  <a:pt x="904016" y="413885"/>
                  <a:pt x="890310" y="427539"/>
                  <a:pt x="890310" y="444322"/>
                </a:cubicBezTo>
                <a:close/>
                <a:moveTo>
                  <a:pt x="95" y="503394"/>
                </a:moveTo>
                <a:cubicBezTo>
                  <a:pt x="95" y="520177"/>
                  <a:pt x="13801" y="533831"/>
                  <a:pt x="30648" y="533831"/>
                </a:cubicBezTo>
                <a:cubicBezTo>
                  <a:pt x="47495" y="533831"/>
                  <a:pt x="61200" y="520177"/>
                  <a:pt x="61200" y="503394"/>
                </a:cubicBezTo>
                <a:cubicBezTo>
                  <a:pt x="61200" y="486611"/>
                  <a:pt x="47495" y="472957"/>
                  <a:pt x="30648" y="472957"/>
                </a:cubicBezTo>
                <a:cubicBezTo>
                  <a:pt x="13801" y="472957"/>
                  <a:pt x="95" y="486611"/>
                  <a:pt x="95" y="503394"/>
                </a:cubicBezTo>
                <a:close/>
                <a:moveTo>
                  <a:pt x="118784" y="503394"/>
                </a:moveTo>
                <a:cubicBezTo>
                  <a:pt x="118784" y="520177"/>
                  <a:pt x="132490" y="533831"/>
                  <a:pt x="149337" y="533831"/>
                </a:cubicBezTo>
                <a:cubicBezTo>
                  <a:pt x="166184" y="533831"/>
                  <a:pt x="179889" y="520177"/>
                  <a:pt x="179889" y="503394"/>
                </a:cubicBezTo>
                <a:cubicBezTo>
                  <a:pt x="179889" y="486611"/>
                  <a:pt x="166184" y="472957"/>
                  <a:pt x="149337" y="472957"/>
                </a:cubicBezTo>
                <a:cubicBezTo>
                  <a:pt x="132490" y="472957"/>
                  <a:pt x="118784" y="486611"/>
                  <a:pt x="118784" y="503394"/>
                </a:cubicBezTo>
                <a:close/>
                <a:moveTo>
                  <a:pt x="178081" y="503394"/>
                </a:moveTo>
                <a:cubicBezTo>
                  <a:pt x="178081" y="520177"/>
                  <a:pt x="191787" y="533831"/>
                  <a:pt x="208634" y="533831"/>
                </a:cubicBezTo>
                <a:cubicBezTo>
                  <a:pt x="225480" y="533831"/>
                  <a:pt x="239186" y="520177"/>
                  <a:pt x="239186" y="503394"/>
                </a:cubicBezTo>
                <a:cubicBezTo>
                  <a:pt x="239186" y="486611"/>
                  <a:pt x="225480" y="472957"/>
                  <a:pt x="208634" y="472957"/>
                </a:cubicBezTo>
                <a:cubicBezTo>
                  <a:pt x="191787" y="472957"/>
                  <a:pt x="178081" y="486611"/>
                  <a:pt x="178081" y="503394"/>
                </a:cubicBezTo>
                <a:close/>
                <a:moveTo>
                  <a:pt x="237473" y="503394"/>
                </a:moveTo>
                <a:cubicBezTo>
                  <a:pt x="237473" y="520177"/>
                  <a:pt x="251179" y="533831"/>
                  <a:pt x="268026" y="533831"/>
                </a:cubicBezTo>
                <a:cubicBezTo>
                  <a:pt x="284873" y="533831"/>
                  <a:pt x="298578" y="520177"/>
                  <a:pt x="298578" y="503394"/>
                </a:cubicBezTo>
                <a:cubicBezTo>
                  <a:pt x="298578" y="486611"/>
                  <a:pt x="284873" y="472957"/>
                  <a:pt x="268026" y="472957"/>
                </a:cubicBezTo>
                <a:cubicBezTo>
                  <a:pt x="251179" y="472957"/>
                  <a:pt x="237473" y="486611"/>
                  <a:pt x="237473" y="503394"/>
                </a:cubicBezTo>
                <a:close/>
                <a:moveTo>
                  <a:pt x="296865" y="503394"/>
                </a:moveTo>
                <a:cubicBezTo>
                  <a:pt x="296865" y="520177"/>
                  <a:pt x="310571" y="533831"/>
                  <a:pt x="327418" y="533831"/>
                </a:cubicBezTo>
                <a:cubicBezTo>
                  <a:pt x="344265" y="533831"/>
                  <a:pt x="357970" y="520177"/>
                  <a:pt x="357970" y="503394"/>
                </a:cubicBezTo>
                <a:cubicBezTo>
                  <a:pt x="357970" y="486611"/>
                  <a:pt x="344265" y="472957"/>
                  <a:pt x="327418" y="472957"/>
                </a:cubicBezTo>
                <a:cubicBezTo>
                  <a:pt x="310571" y="472957"/>
                  <a:pt x="296865" y="486611"/>
                  <a:pt x="296865" y="503394"/>
                </a:cubicBezTo>
                <a:close/>
                <a:moveTo>
                  <a:pt x="356162" y="503394"/>
                </a:moveTo>
                <a:cubicBezTo>
                  <a:pt x="356162" y="520177"/>
                  <a:pt x="369868" y="533831"/>
                  <a:pt x="386715" y="533831"/>
                </a:cubicBezTo>
                <a:cubicBezTo>
                  <a:pt x="403562" y="533831"/>
                  <a:pt x="417267" y="520177"/>
                  <a:pt x="417267" y="503394"/>
                </a:cubicBezTo>
                <a:cubicBezTo>
                  <a:pt x="417267" y="486611"/>
                  <a:pt x="403562" y="472957"/>
                  <a:pt x="386715" y="472957"/>
                </a:cubicBezTo>
                <a:cubicBezTo>
                  <a:pt x="369868" y="472957"/>
                  <a:pt x="356162" y="486611"/>
                  <a:pt x="356162" y="503394"/>
                </a:cubicBezTo>
                <a:close/>
                <a:moveTo>
                  <a:pt x="534243" y="503394"/>
                </a:moveTo>
                <a:cubicBezTo>
                  <a:pt x="534243" y="520177"/>
                  <a:pt x="547949" y="533831"/>
                  <a:pt x="564796" y="533831"/>
                </a:cubicBezTo>
                <a:cubicBezTo>
                  <a:pt x="581643" y="533831"/>
                  <a:pt x="595348" y="520177"/>
                  <a:pt x="595348" y="503394"/>
                </a:cubicBezTo>
                <a:cubicBezTo>
                  <a:pt x="595348" y="486611"/>
                  <a:pt x="581643" y="472957"/>
                  <a:pt x="564796" y="472957"/>
                </a:cubicBezTo>
                <a:cubicBezTo>
                  <a:pt x="547949" y="472957"/>
                  <a:pt x="534243" y="486611"/>
                  <a:pt x="534243" y="503394"/>
                </a:cubicBezTo>
                <a:close/>
                <a:moveTo>
                  <a:pt x="712324" y="503394"/>
                </a:moveTo>
                <a:cubicBezTo>
                  <a:pt x="712324" y="520177"/>
                  <a:pt x="726030" y="533831"/>
                  <a:pt x="742877" y="533831"/>
                </a:cubicBezTo>
                <a:cubicBezTo>
                  <a:pt x="759724" y="533831"/>
                  <a:pt x="773429" y="520177"/>
                  <a:pt x="773429" y="503394"/>
                </a:cubicBezTo>
                <a:cubicBezTo>
                  <a:pt x="773429" y="486611"/>
                  <a:pt x="759724" y="472957"/>
                  <a:pt x="742877" y="472957"/>
                </a:cubicBezTo>
                <a:cubicBezTo>
                  <a:pt x="726030" y="472957"/>
                  <a:pt x="712324" y="486611"/>
                  <a:pt x="712324" y="503394"/>
                </a:cubicBezTo>
                <a:close/>
                <a:moveTo>
                  <a:pt x="771621" y="503394"/>
                </a:moveTo>
                <a:cubicBezTo>
                  <a:pt x="771621" y="520177"/>
                  <a:pt x="785327" y="533831"/>
                  <a:pt x="802174" y="533831"/>
                </a:cubicBezTo>
                <a:cubicBezTo>
                  <a:pt x="819021" y="533831"/>
                  <a:pt x="832726" y="520177"/>
                  <a:pt x="832726" y="503394"/>
                </a:cubicBezTo>
                <a:cubicBezTo>
                  <a:pt x="832726" y="486611"/>
                  <a:pt x="819021" y="472957"/>
                  <a:pt x="802174" y="472957"/>
                </a:cubicBezTo>
                <a:cubicBezTo>
                  <a:pt x="785327" y="472957"/>
                  <a:pt x="771621" y="486611"/>
                  <a:pt x="771621" y="503394"/>
                </a:cubicBezTo>
                <a:close/>
                <a:moveTo>
                  <a:pt x="949702" y="503394"/>
                </a:moveTo>
                <a:cubicBezTo>
                  <a:pt x="949702" y="520177"/>
                  <a:pt x="963408" y="533831"/>
                  <a:pt x="980255" y="533831"/>
                </a:cubicBezTo>
                <a:cubicBezTo>
                  <a:pt x="997101" y="533831"/>
                  <a:pt x="1010807" y="520177"/>
                  <a:pt x="1010807" y="503394"/>
                </a:cubicBezTo>
                <a:cubicBezTo>
                  <a:pt x="1010807" y="486611"/>
                  <a:pt x="997101" y="472957"/>
                  <a:pt x="980255" y="472957"/>
                </a:cubicBezTo>
                <a:cubicBezTo>
                  <a:pt x="963408" y="472957"/>
                  <a:pt x="949702" y="486611"/>
                  <a:pt x="949702" y="503394"/>
                </a:cubicBezTo>
                <a:close/>
                <a:moveTo>
                  <a:pt x="1068391" y="503394"/>
                </a:moveTo>
                <a:cubicBezTo>
                  <a:pt x="1068391" y="520177"/>
                  <a:pt x="1082097" y="533831"/>
                  <a:pt x="1098944" y="533831"/>
                </a:cubicBezTo>
                <a:cubicBezTo>
                  <a:pt x="1115790" y="533831"/>
                  <a:pt x="1129496" y="520177"/>
                  <a:pt x="1129496" y="503394"/>
                </a:cubicBezTo>
                <a:cubicBezTo>
                  <a:pt x="1129496" y="486611"/>
                  <a:pt x="1115790" y="472957"/>
                  <a:pt x="1098944" y="472957"/>
                </a:cubicBezTo>
                <a:cubicBezTo>
                  <a:pt x="1082097" y="472957"/>
                  <a:pt x="1068391" y="486611"/>
                  <a:pt x="1068391" y="503394"/>
                </a:cubicBezTo>
                <a:close/>
                <a:moveTo>
                  <a:pt x="1127783" y="503394"/>
                </a:moveTo>
                <a:cubicBezTo>
                  <a:pt x="1127783" y="520177"/>
                  <a:pt x="1141489" y="533831"/>
                  <a:pt x="1158336" y="533831"/>
                </a:cubicBezTo>
                <a:cubicBezTo>
                  <a:pt x="1175183" y="533831"/>
                  <a:pt x="1188888" y="520177"/>
                  <a:pt x="1188888" y="503394"/>
                </a:cubicBezTo>
                <a:cubicBezTo>
                  <a:pt x="1188888" y="486611"/>
                  <a:pt x="1175183" y="472957"/>
                  <a:pt x="1158336" y="472957"/>
                </a:cubicBezTo>
                <a:cubicBezTo>
                  <a:pt x="1141489" y="472957"/>
                  <a:pt x="1127783" y="486611"/>
                  <a:pt x="1127783" y="503394"/>
                </a:cubicBezTo>
                <a:close/>
                <a:moveTo>
                  <a:pt x="1187080" y="503394"/>
                </a:moveTo>
                <a:cubicBezTo>
                  <a:pt x="1187080" y="520177"/>
                  <a:pt x="1200786" y="533831"/>
                  <a:pt x="1217633" y="533831"/>
                </a:cubicBezTo>
                <a:cubicBezTo>
                  <a:pt x="1234479" y="533831"/>
                  <a:pt x="1248185" y="520177"/>
                  <a:pt x="1248185" y="503394"/>
                </a:cubicBezTo>
                <a:cubicBezTo>
                  <a:pt x="1248185" y="486611"/>
                  <a:pt x="1234479" y="472957"/>
                  <a:pt x="1217633" y="472957"/>
                </a:cubicBezTo>
                <a:cubicBezTo>
                  <a:pt x="1200786" y="472957"/>
                  <a:pt x="1187080" y="486611"/>
                  <a:pt x="1187080" y="503394"/>
                </a:cubicBezTo>
                <a:close/>
                <a:moveTo>
                  <a:pt x="1246472" y="503394"/>
                </a:moveTo>
                <a:cubicBezTo>
                  <a:pt x="1246472" y="520177"/>
                  <a:pt x="1260178" y="533831"/>
                  <a:pt x="1277025" y="533831"/>
                </a:cubicBezTo>
                <a:cubicBezTo>
                  <a:pt x="1293872" y="533831"/>
                  <a:pt x="1307577" y="520177"/>
                  <a:pt x="1307577" y="503394"/>
                </a:cubicBezTo>
                <a:cubicBezTo>
                  <a:pt x="1307577" y="486611"/>
                  <a:pt x="1293872" y="472957"/>
                  <a:pt x="1277025" y="472957"/>
                </a:cubicBezTo>
                <a:cubicBezTo>
                  <a:pt x="1260178" y="472957"/>
                  <a:pt x="1246472" y="486611"/>
                  <a:pt x="1246472" y="503394"/>
                </a:cubicBezTo>
                <a:close/>
                <a:moveTo>
                  <a:pt x="1305769" y="503394"/>
                </a:moveTo>
                <a:cubicBezTo>
                  <a:pt x="1305769" y="520177"/>
                  <a:pt x="1319475" y="533831"/>
                  <a:pt x="1336322" y="533831"/>
                </a:cubicBezTo>
                <a:cubicBezTo>
                  <a:pt x="1353168" y="533831"/>
                  <a:pt x="1366874" y="520177"/>
                  <a:pt x="1366874" y="503394"/>
                </a:cubicBezTo>
                <a:cubicBezTo>
                  <a:pt x="1366874" y="486611"/>
                  <a:pt x="1353168" y="472957"/>
                  <a:pt x="1336322" y="472957"/>
                </a:cubicBezTo>
                <a:cubicBezTo>
                  <a:pt x="1319475" y="472957"/>
                  <a:pt x="1305769" y="486611"/>
                  <a:pt x="1305769" y="503394"/>
                </a:cubicBezTo>
                <a:close/>
                <a:moveTo>
                  <a:pt x="95" y="562561"/>
                </a:moveTo>
                <a:cubicBezTo>
                  <a:pt x="95" y="579344"/>
                  <a:pt x="13801" y="592998"/>
                  <a:pt x="30648" y="592998"/>
                </a:cubicBezTo>
                <a:cubicBezTo>
                  <a:pt x="47495" y="592998"/>
                  <a:pt x="61200" y="579344"/>
                  <a:pt x="61200" y="562561"/>
                </a:cubicBezTo>
                <a:cubicBezTo>
                  <a:pt x="61200" y="545778"/>
                  <a:pt x="47495" y="532124"/>
                  <a:pt x="30648" y="532124"/>
                </a:cubicBezTo>
                <a:cubicBezTo>
                  <a:pt x="13801" y="532124"/>
                  <a:pt x="95" y="545778"/>
                  <a:pt x="95" y="562561"/>
                </a:cubicBezTo>
                <a:close/>
                <a:moveTo>
                  <a:pt x="118784" y="562561"/>
                </a:moveTo>
                <a:cubicBezTo>
                  <a:pt x="118784" y="579344"/>
                  <a:pt x="132490" y="592998"/>
                  <a:pt x="149337" y="592998"/>
                </a:cubicBezTo>
                <a:cubicBezTo>
                  <a:pt x="166184" y="592998"/>
                  <a:pt x="179889" y="579344"/>
                  <a:pt x="179889" y="562561"/>
                </a:cubicBezTo>
                <a:cubicBezTo>
                  <a:pt x="179889" y="545778"/>
                  <a:pt x="166184" y="532124"/>
                  <a:pt x="149337" y="532124"/>
                </a:cubicBezTo>
                <a:cubicBezTo>
                  <a:pt x="132490" y="532124"/>
                  <a:pt x="118784" y="545778"/>
                  <a:pt x="118784" y="562561"/>
                </a:cubicBezTo>
                <a:close/>
                <a:moveTo>
                  <a:pt x="237473" y="562561"/>
                </a:moveTo>
                <a:cubicBezTo>
                  <a:pt x="237473" y="579344"/>
                  <a:pt x="251179" y="592998"/>
                  <a:pt x="268026" y="592998"/>
                </a:cubicBezTo>
                <a:cubicBezTo>
                  <a:pt x="284873" y="592998"/>
                  <a:pt x="298578" y="579344"/>
                  <a:pt x="298578" y="562561"/>
                </a:cubicBezTo>
                <a:cubicBezTo>
                  <a:pt x="298578" y="545778"/>
                  <a:pt x="284873" y="532124"/>
                  <a:pt x="268026" y="532124"/>
                </a:cubicBezTo>
                <a:cubicBezTo>
                  <a:pt x="251179" y="532124"/>
                  <a:pt x="237473" y="545778"/>
                  <a:pt x="237473" y="562561"/>
                </a:cubicBezTo>
                <a:close/>
                <a:moveTo>
                  <a:pt x="534243" y="562561"/>
                </a:moveTo>
                <a:cubicBezTo>
                  <a:pt x="534243" y="579344"/>
                  <a:pt x="547949" y="592998"/>
                  <a:pt x="564796" y="592998"/>
                </a:cubicBezTo>
                <a:cubicBezTo>
                  <a:pt x="581643" y="592998"/>
                  <a:pt x="595348" y="579344"/>
                  <a:pt x="595348" y="562561"/>
                </a:cubicBezTo>
                <a:cubicBezTo>
                  <a:pt x="595348" y="545778"/>
                  <a:pt x="581643" y="532124"/>
                  <a:pt x="564796" y="532124"/>
                </a:cubicBezTo>
                <a:cubicBezTo>
                  <a:pt x="547949" y="532124"/>
                  <a:pt x="534243" y="545778"/>
                  <a:pt x="534243" y="562561"/>
                </a:cubicBezTo>
                <a:close/>
                <a:moveTo>
                  <a:pt x="712324" y="562561"/>
                </a:moveTo>
                <a:cubicBezTo>
                  <a:pt x="712324" y="579344"/>
                  <a:pt x="726030" y="592998"/>
                  <a:pt x="742877" y="592998"/>
                </a:cubicBezTo>
                <a:cubicBezTo>
                  <a:pt x="759724" y="592998"/>
                  <a:pt x="773429" y="579344"/>
                  <a:pt x="773429" y="562561"/>
                </a:cubicBezTo>
                <a:cubicBezTo>
                  <a:pt x="773429" y="545778"/>
                  <a:pt x="759724" y="532124"/>
                  <a:pt x="742877" y="532124"/>
                </a:cubicBezTo>
                <a:cubicBezTo>
                  <a:pt x="726030" y="532124"/>
                  <a:pt x="712324" y="545778"/>
                  <a:pt x="712324" y="562561"/>
                </a:cubicBezTo>
                <a:close/>
                <a:moveTo>
                  <a:pt x="771621" y="562561"/>
                </a:moveTo>
                <a:cubicBezTo>
                  <a:pt x="771621" y="579344"/>
                  <a:pt x="785327" y="592998"/>
                  <a:pt x="802174" y="592998"/>
                </a:cubicBezTo>
                <a:cubicBezTo>
                  <a:pt x="819021" y="592998"/>
                  <a:pt x="832726" y="579344"/>
                  <a:pt x="832726" y="562561"/>
                </a:cubicBezTo>
                <a:cubicBezTo>
                  <a:pt x="832726" y="545778"/>
                  <a:pt x="819021" y="532124"/>
                  <a:pt x="802174" y="532124"/>
                </a:cubicBezTo>
                <a:cubicBezTo>
                  <a:pt x="785327" y="532124"/>
                  <a:pt x="771621" y="545778"/>
                  <a:pt x="771621" y="562561"/>
                </a:cubicBezTo>
                <a:close/>
                <a:moveTo>
                  <a:pt x="949702" y="562561"/>
                </a:moveTo>
                <a:cubicBezTo>
                  <a:pt x="949702" y="579344"/>
                  <a:pt x="963408" y="592998"/>
                  <a:pt x="980255" y="592998"/>
                </a:cubicBezTo>
                <a:cubicBezTo>
                  <a:pt x="997101" y="592998"/>
                  <a:pt x="1010807" y="579344"/>
                  <a:pt x="1010807" y="562561"/>
                </a:cubicBezTo>
                <a:cubicBezTo>
                  <a:pt x="1010807" y="545778"/>
                  <a:pt x="997101" y="532124"/>
                  <a:pt x="980255" y="532124"/>
                </a:cubicBezTo>
                <a:cubicBezTo>
                  <a:pt x="963408" y="532124"/>
                  <a:pt x="949702" y="545778"/>
                  <a:pt x="949702" y="562561"/>
                </a:cubicBezTo>
                <a:close/>
                <a:moveTo>
                  <a:pt x="1009094" y="562561"/>
                </a:moveTo>
                <a:cubicBezTo>
                  <a:pt x="1009094" y="579344"/>
                  <a:pt x="1022800" y="592998"/>
                  <a:pt x="1039647" y="592998"/>
                </a:cubicBezTo>
                <a:cubicBezTo>
                  <a:pt x="1056494" y="592998"/>
                  <a:pt x="1070199" y="579344"/>
                  <a:pt x="1070199" y="562561"/>
                </a:cubicBezTo>
                <a:cubicBezTo>
                  <a:pt x="1070199" y="545778"/>
                  <a:pt x="1056494" y="532124"/>
                  <a:pt x="1039647" y="532124"/>
                </a:cubicBezTo>
                <a:cubicBezTo>
                  <a:pt x="1022800" y="532124"/>
                  <a:pt x="1009094" y="545778"/>
                  <a:pt x="1009094" y="562561"/>
                </a:cubicBezTo>
                <a:close/>
                <a:moveTo>
                  <a:pt x="1127783" y="562561"/>
                </a:moveTo>
                <a:cubicBezTo>
                  <a:pt x="1127783" y="579344"/>
                  <a:pt x="1141489" y="592998"/>
                  <a:pt x="1158336" y="592998"/>
                </a:cubicBezTo>
                <a:cubicBezTo>
                  <a:pt x="1175183" y="592998"/>
                  <a:pt x="1188888" y="579344"/>
                  <a:pt x="1188888" y="562561"/>
                </a:cubicBezTo>
                <a:cubicBezTo>
                  <a:pt x="1188888" y="545778"/>
                  <a:pt x="1175183" y="532124"/>
                  <a:pt x="1158336" y="532124"/>
                </a:cubicBezTo>
                <a:cubicBezTo>
                  <a:pt x="1141489" y="532124"/>
                  <a:pt x="1127783" y="545778"/>
                  <a:pt x="1127783" y="562561"/>
                </a:cubicBezTo>
                <a:close/>
                <a:moveTo>
                  <a:pt x="1365161" y="562561"/>
                </a:moveTo>
                <a:cubicBezTo>
                  <a:pt x="1365161" y="579344"/>
                  <a:pt x="1378867" y="592998"/>
                  <a:pt x="1395714" y="592998"/>
                </a:cubicBezTo>
                <a:cubicBezTo>
                  <a:pt x="1412561" y="592998"/>
                  <a:pt x="1426266" y="579344"/>
                  <a:pt x="1426266" y="562561"/>
                </a:cubicBezTo>
                <a:cubicBezTo>
                  <a:pt x="1426266" y="545778"/>
                  <a:pt x="1412561" y="532124"/>
                  <a:pt x="1395714" y="532124"/>
                </a:cubicBezTo>
                <a:cubicBezTo>
                  <a:pt x="1378867" y="532124"/>
                  <a:pt x="1365161" y="545778"/>
                  <a:pt x="1365161" y="562561"/>
                </a:cubicBezTo>
                <a:close/>
                <a:moveTo>
                  <a:pt x="95" y="621728"/>
                </a:moveTo>
                <a:cubicBezTo>
                  <a:pt x="95" y="638511"/>
                  <a:pt x="13801" y="652165"/>
                  <a:pt x="30648" y="652165"/>
                </a:cubicBezTo>
                <a:cubicBezTo>
                  <a:pt x="47495" y="652165"/>
                  <a:pt x="61200" y="638511"/>
                  <a:pt x="61200" y="621728"/>
                </a:cubicBezTo>
                <a:cubicBezTo>
                  <a:pt x="61200" y="604945"/>
                  <a:pt x="47495" y="591291"/>
                  <a:pt x="30648" y="591291"/>
                </a:cubicBezTo>
                <a:cubicBezTo>
                  <a:pt x="13801" y="591291"/>
                  <a:pt x="95" y="604945"/>
                  <a:pt x="95" y="621728"/>
                </a:cubicBezTo>
                <a:close/>
                <a:moveTo>
                  <a:pt x="118784" y="621728"/>
                </a:moveTo>
                <a:cubicBezTo>
                  <a:pt x="118784" y="638511"/>
                  <a:pt x="132490" y="652165"/>
                  <a:pt x="149337" y="652165"/>
                </a:cubicBezTo>
                <a:cubicBezTo>
                  <a:pt x="166184" y="652165"/>
                  <a:pt x="179889" y="638511"/>
                  <a:pt x="179889" y="621728"/>
                </a:cubicBezTo>
                <a:cubicBezTo>
                  <a:pt x="179889" y="604945"/>
                  <a:pt x="166184" y="591291"/>
                  <a:pt x="149337" y="591291"/>
                </a:cubicBezTo>
                <a:cubicBezTo>
                  <a:pt x="132490" y="591291"/>
                  <a:pt x="118784" y="604945"/>
                  <a:pt x="118784" y="621728"/>
                </a:cubicBezTo>
                <a:close/>
                <a:moveTo>
                  <a:pt x="237473" y="621728"/>
                </a:moveTo>
                <a:cubicBezTo>
                  <a:pt x="237473" y="638511"/>
                  <a:pt x="251179" y="652165"/>
                  <a:pt x="268026" y="652165"/>
                </a:cubicBezTo>
                <a:cubicBezTo>
                  <a:pt x="284873" y="652165"/>
                  <a:pt x="298578" y="638511"/>
                  <a:pt x="298578" y="621728"/>
                </a:cubicBezTo>
                <a:cubicBezTo>
                  <a:pt x="298578" y="604945"/>
                  <a:pt x="284873" y="591291"/>
                  <a:pt x="268026" y="591291"/>
                </a:cubicBezTo>
                <a:cubicBezTo>
                  <a:pt x="251179" y="591291"/>
                  <a:pt x="237473" y="604945"/>
                  <a:pt x="237473" y="621728"/>
                </a:cubicBezTo>
                <a:close/>
                <a:moveTo>
                  <a:pt x="296865" y="621728"/>
                </a:moveTo>
                <a:cubicBezTo>
                  <a:pt x="296865" y="638511"/>
                  <a:pt x="310571" y="652165"/>
                  <a:pt x="327418" y="652165"/>
                </a:cubicBezTo>
                <a:cubicBezTo>
                  <a:pt x="344265" y="652165"/>
                  <a:pt x="357970" y="638511"/>
                  <a:pt x="357970" y="621728"/>
                </a:cubicBezTo>
                <a:cubicBezTo>
                  <a:pt x="357970" y="604945"/>
                  <a:pt x="344265" y="591291"/>
                  <a:pt x="327418" y="591291"/>
                </a:cubicBezTo>
                <a:cubicBezTo>
                  <a:pt x="310571" y="591291"/>
                  <a:pt x="296865" y="604945"/>
                  <a:pt x="296865" y="621728"/>
                </a:cubicBezTo>
                <a:close/>
                <a:moveTo>
                  <a:pt x="356162" y="621728"/>
                </a:moveTo>
                <a:cubicBezTo>
                  <a:pt x="356162" y="638511"/>
                  <a:pt x="369868" y="652165"/>
                  <a:pt x="386715" y="652165"/>
                </a:cubicBezTo>
                <a:cubicBezTo>
                  <a:pt x="403562" y="652165"/>
                  <a:pt x="417267" y="638511"/>
                  <a:pt x="417267" y="621728"/>
                </a:cubicBezTo>
                <a:cubicBezTo>
                  <a:pt x="417267" y="604945"/>
                  <a:pt x="403562" y="591291"/>
                  <a:pt x="386715" y="591291"/>
                </a:cubicBezTo>
                <a:cubicBezTo>
                  <a:pt x="369868" y="591291"/>
                  <a:pt x="356162" y="604945"/>
                  <a:pt x="356162" y="621728"/>
                </a:cubicBezTo>
                <a:close/>
                <a:moveTo>
                  <a:pt x="474851" y="621728"/>
                </a:moveTo>
                <a:cubicBezTo>
                  <a:pt x="474851" y="638511"/>
                  <a:pt x="488557" y="652165"/>
                  <a:pt x="505404" y="652165"/>
                </a:cubicBezTo>
                <a:cubicBezTo>
                  <a:pt x="522250" y="652165"/>
                  <a:pt x="535956" y="638511"/>
                  <a:pt x="535956" y="621728"/>
                </a:cubicBezTo>
                <a:cubicBezTo>
                  <a:pt x="535956" y="604945"/>
                  <a:pt x="522250" y="591291"/>
                  <a:pt x="505404" y="591291"/>
                </a:cubicBezTo>
                <a:cubicBezTo>
                  <a:pt x="488557" y="591291"/>
                  <a:pt x="474851" y="604945"/>
                  <a:pt x="474851" y="621728"/>
                </a:cubicBezTo>
                <a:close/>
                <a:moveTo>
                  <a:pt x="593635" y="621728"/>
                </a:moveTo>
                <a:cubicBezTo>
                  <a:pt x="593635" y="638511"/>
                  <a:pt x="607341" y="652165"/>
                  <a:pt x="624188" y="652165"/>
                </a:cubicBezTo>
                <a:cubicBezTo>
                  <a:pt x="641035" y="652165"/>
                  <a:pt x="654740" y="638511"/>
                  <a:pt x="654740" y="621728"/>
                </a:cubicBezTo>
                <a:cubicBezTo>
                  <a:pt x="654740" y="604945"/>
                  <a:pt x="641035" y="591291"/>
                  <a:pt x="624188" y="591291"/>
                </a:cubicBezTo>
                <a:cubicBezTo>
                  <a:pt x="607341" y="591291"/>
                  <a:pt x="593635" y="604945"/>
                  <a:pt x="593635" y="621728"/>
                </a:cubicBezTo>
                <a:close/>
                <a:moveTo>
                  <a:pt x="652932" y="621728"/>
                </a:moveTo>
                <a:cubicBezTo>
                  <a:pt x="652932" y="638511"/>
                  <a:pt x="666638" y="652165"/>
                  <a:pt x="683485" y="652165"/>
                </a:cubicBezTo>
                <a:cubicBezTo>
                  <a:pt x="700332" y="652165"/>
                  <a:pt x="714037" y="638511"/>
                  <a:pt x="714037" y="621728"/>
                </a:cubicBezTo>
                <a:cubicBezTo>
                  <a:pt x="714037" y="604945"/>
                  <a:pt x="700332" y="591291"/>
                  <a:pt x="683485" y="591291"/>
                </a:cubicBezTo>
                <a:cubicBezTo>
                  <a:pt x="666638" y="591291"/>
                  <a:pt x="652932" y="604945"/>
                  <a:pt x="652932" y="621728"/>
                </a:cubicBezTo>
                <a:close/>
                <a:moveTo>
                  <a:pt x="712324" y="621728"/>
                </a:moveTo>
                <a:cubicBezTo>
                  <a:pt x="712324" y="638511"/>
                  <a:pt x="726030" y="652165"/>
                  <a:pt x="742877" y="652165"/>
                </a:cubicBezTo>
                <a:cubicBezTo>
                  <a:pt x="759724" y="652165"/>
                  <a:pt x="773429" y="638511"/>
                  <a:pt x="773429" y="621728"/>
                </a:cubicBezTo>
                <a:cubicBezTo>
                  <a:pt x="773429" y="604945"/>
                  <a:pt x="759724" y="591291"/>
                  <a:pt x="742877" y="591291"/>
                </a:cubicBezTo>
                <a:cubicBezTo>
                  <a:pt x="726030" y="591291"/>
                  <a:pt x="712324" y="604945"/>
                  <a:pt x="712324" y="621728"/>
                </a:cubicBezTo>
                <a:close/>
                <a:moveTo>
                  <a:pt x="771621" y="621728"/>
                </a:moveTo>
                <a:cubicBezTo>
                  <a:pt x="771621" y="638511"/>
                  <a:pt x="785327" y="652165"/>
                  <a:pt x="802174" y="652165"/>
                </a:cubicBezTo>
                <a:cubicBezTo>
                  <a:pt x="819021" y="652165"/>
                  <a:pt x="832726" y="638511"/>
                  <a:pt x="832726" y="621728"/>
                </a:cubicBezTo>
                <a:cubicBezTo>
                  <a:pt x="832726" y="604945"/>
                  <a:pt x="819021" y="591291"/>
                  <a:pt x="802174" y="591291"/>
                </a:cubicBezTo>
                <a:cubicBezTo>
                  <a:pt x="785327" y="591291"/>
                  <a:pt x="771621" y="604945"/>
                  <a:pt x="771621" y="621728"/>
                </a:cubicBezTo>
                <a:close/>
                <a:moveTo>
                  <a:pt x="831013" y="621728"/>
                </a:moveTo>
                <a:cubicBezTo>
                  <a:pt x="831013" y="638511"/>
                  <a:pt x="844719" y="652165"/>
                  <a:pt x="861566" y="652165"/>
                </a:cubicBezTo>
                <a:cubicBezTo>
                  <a:pt x="878413" y="652165"/>
                  <a:pt x="892118" y="638511"/>
                  <a:pt x="892118" y="621728"/>
                </a:cubicBezTo>
                <a:cubicBezTo>
                  <a:pt x="892118" y="604945"/>
                  <a:pt x="878413" y="591291"/>
                  <a:pt x="861566" y="591291"/>
                </a:cubicBezTo>
                <a:cubicBezTo>
                  <a:pt x="844719" y="591291"/>
                  <a:pt x="831013" y="604945"/>
                  <a:pt x="831013" y="621728"/>
                </a:cubicBezTo>
                <a:close/>
                <a:moveTo>
                  <a:pt x="890310" y="621728"/>
                </a:moveTo>
                <a:cubicBezTo>
                  <a:pt x="890310" y="638511"/>
                  <a:pt x="904016" y="652165"/>
                  <a:pt x="920863" y="652165"/>
                </a:cubicBezTo>
                <a:cubicBezTo>
                  <a:pt x="937709" y="652165"/>
                  <a:pt x="951415" y="638511"/>
                  <a:pt x="951415" y="621728"/>
                </a:cubicBezTo>
                <a:cubicBezTo>
                  <a:pt x="951415" y="604945"/>
                  <a:pt x="937709" y="591291"/>
                  <a:pt x="920863" y="591291"/>
                </a:cubicBezTo>
                <a:cubicBezTo>
                  <a:pt x="904016" y="591291"/>
                  <a:pt x="890310" y="604945"/>
                  <a:pt x="890310" y="621728"/>
                </a:cubicBezTo>
                <a:close/>
                <a:moveTo>
                  <a:pt x="949702" y="621728"/>
                </a:moveTo>
                <a:cubicBezTo>
                  <a:pt x="949702" y="638511"/>
                  <a:pt x="963408" y="652165"/>
                  <a:pt x="980255" y="652165"/>
                </a:cubicBezTo>
                <a:cubicBezTo>
                  <a:pt x="997101" y="652165"/>
                  <a:pt x="1010807" y="638511"/>
                  <a:pt x="1010807" y="621728"/>
                </a:cubicBezTo>
                <a:cubicBezTo>
                  <a:pt x="1010807" y="604945"/>
                  <a:pt x="997101" y="591291"/>
                  <a:pt x="980255" y="591291"/>
                </a:cubicBezTo>
                <a:cubicBezTo>
                  <a:pt x="963408" y="591291"/>
                  <a:pt x="949702" y="604945"/>
                  <a:pt x="949702" y="621728"/>
                </a:cubicBezTo>
                <a:close/>
                <a:moveTo>
                  <a:pt x="1009094" y="621728"/>
                </a:moveTo>
                <a:cubicBezTo>
                  <a:pt x="1009094" y="638511"/>
                  <a:pt x="1022800" y="652165"/>
                  <a:pt x="1039647" y="652165"/>
                </a:cubicBezTo>
                <a:cubicBezTo>
                  <a:pt x="1056494" y="652165"/>
                  <a:pt x="1070199" y="638511"/>
                  <a:pt x="1070199" y="621728"/>
                </a:cubicBezTo>
                <a:cubicBezTo>
                  <a:pt x="1070199" y="604945"/>
                  <a:pt x="1056494" y="591291"/>
                  <a:pt x="1039647" y="591291"/>
                </a:cubicBezTo>
                <a:cubicBezTo>
                  <a:pt x="1022800" y="591291"/>
                  <a:pt x="1009094" y="604945"/>
                  <a:pt x="1009094" y="621728"/>
                </a:cubicBezTo>
                <a:close/>
                <a:moveTo>
                  <a:pt x="1068391" y="621728"/>
                </a:moveTo>
                <a:cubicBezTo>
                  <a:pt x="1068391" y="638511"/>
                  <a:pt x="1082097" y="652165"/>
                  <a:pt x="1098944" y="652165"/>
                </a:cubicBezTo>
                <a:cubicBezTo>
                  <a:pt x="1115790" y="652165"/>
                  <a:pt x="1129496" y="638511"/>
                  <a:pt x="1129496" y="621728"/>
                </a:cubicBezTo>
                <a:cubicBezTo>
                  <a:pt x="1129496" y="604945"/>
                  <a:pt x="1115790" y="591291"/>
                  <a:pt x="1098944" y="591291"/>
                </a:cubicBezTo>
                <a:cubicBezTo>
                  <a:pt x="1082097" y="591291"/>
                  <a:pt x="1068391" y="604945"/>
                  <a:pt x="1068391" y="621728"/>
                </a:cubicBezTo>
                <a:close/>
                <a:moveTo>
                  <a:pt x="1127783" y="621728"/>
                </a:moveTo>
                <a:cubicBezTo>
                  <a:pt x="1127783" y="638511"/>
                  <a:pt x="1141489" y="652165"/>
                  <a:pt x="1158336" y="652165"/>
                </a:cubicBezTo>
                <a:cubicBezTo>
                  <a:pt x="1175183" y="652165"/>
                  <a:pt x="1188888" y="638511"/>
                  <a:pt x="1188888" y="621728"/>
                </a:cubicBezTo>
                <a:cubicBezTo>
                  <a:pt x="1188888" y="604945"/>
                  <a:pt x="1175183" y="591291"/>
                  <a:pt x="1158336" y="591291"/>
                </a:cubicBezTo>
                <a:cubicBezTo>
                  <a:pt x="1141489" y="591291"/>
                  <a:pt x="1127783" y="604945"/>
                  <a:pt x="1127783" y="621728"/>
                </a:cubicBezTo>
                <a:close/>
                <a:moveTo>
                  <a:pt x="1187080" y="621728"/>
                </a:moveTo>
                <a:cubicBezTo>
                  <a:pt x="1187080" y="638511"/>
                  <a:pt x="1200786" y="652165"/>
                  <a:pt x="1217633" y="652165"/>
                </a:cubicBezTo>
                <a:cubicBezTo>
                  <a:pt x="1234479" y="652165"/>
                  <a:pt x="1248185" y="638511"/>
                  <a:pt x="1248185" y="621728"/>
                </a:cubicBezTo>
                <a:cubicBezTo>
                  <a:pt x="1248185" y="604945"/>
                  <a:pt x="1234479" y="591291"/>
                  <a:pt x="1217633" y="591291"/>
                </a:cubicBezTo>
                <a:cubicBezTo>
                  <a:pt x="1200786" y="591291"/>
                  <a:pt x="1187080" y="604945"/>
                  <a:pt x="1187080" y="621728"/>
                </a:cubicBezTo>
                <a:close/>
                <a:moveTo>
                  <a:pt x="1246472" y="621728"/>
                </a:moveTo>
                <a:cubicBezTo>
                  <a:pt x="1246472" y="638511"/>
                  <a:pt x="1260178" y="652165"/>
                  <a:pt x="1277025" y="652165"/>
                </a:cubicBezTo>
                <a:cubicBezTo>
                  <a:pt x="1293872" y="652165"/>
                  <a:pt x="1307577" y="638511"/>
                  <a:pt x="1307577" y="621728"/>
                </a:cubicBezTo>
                <a:cubicBezTo>
                  <a:pt x="1307577" y="604945"/>
                  <a:pt x="1293872" y="591291"/>
                  <a:pt x="1277025" y="591291"/>
                </a:cubicBezTo>
                <a:cubicBezTo>
                  <a:pt x="1260178" y="591291"/>
                  <a:pt x="1246472" y="604945"/>
                  <a:pt x="1246472" y="621728"/>
                </a:cubicBezTo>
                <a:close/>
                <a:moveTo>
                  <a:pt x="1365161" y="621728"/>
                </a:moveTo>
                <a:cubicBezTo>
                  <a:pt x="1365161" y="638511"/>
                  <a:pt x="1378867" y="652165"/>
                  <a:pt x="1395714" y="652165"/>
                </a:cubicBezTo>
                <a:cubicBezTo>
                  <a:pt x="1412561" y="652165"/>
                  <a:pt x="1426266" y="638511"/>
                  <a:pt x="1426266" y="621728"/>
                </a:cubicBezTo>
                <a:cubicBezTo>
                  <a:pt x="1426266" y="604945"/>
                  <a:pt x="1412561" y="591291"/>
                  <a:pt x="1395714" y="591291"/>
                </a:cubicBezTo>
                <a:cubicBezTo>
                  <a:pt x="1378867" y="591291"/>
                  <a:pt x="1365161" y="604945"/>
                  <a:pt x="1365161" y="621728"/>
                </a:cubicBezTo>
                <a:close/>
                <a:moveTo>
                  <a:pt x="1424553" y="621728"/>
                </a:moveTo>
                <a:cubicBezTo>
                  <a:pt x="1424553" y="638511"/>
                  <a:pt x="1438259" y="652165"/>
                  <a:pt x="1455106" y="652165"/>
                </a:cubicBezTo>
                <a:cubicBezTo>
                  <a:pt x="1471953" y="652165"/>
                  <a:pt x="1485658" y="638511"/>
                  <a:pt x="1485658" y="621728"/>
                </a:cubicBezTo>
                <a:cubicBezTo>
                  <a:pt x="1485658" y="604945"/>
                  <a:pt x="1471953" y="591291"/>
                  <a:pt x="1455106" y="591291"/>
                </a:cubicBezTo>
                <a:cubicBezTo>
                  <a:pt x="1438259" y="591291"/>
                  <a:pt x="1424553" y="604945"/>
                  <a:pt x="1424553" y="621728"/>
                </a:cubicBezTo>
                <a:close/>
                <a:moveTo>
                  <a:pt x="118784" y="680800"/>
                </a:moveTo>
                <a:cubicBezTo>
                  <a:pt x="118784" y="697583"/>
                  <a:pt x="132490" y="711237"/>
                  <a:pt x="149337" y="711237"/>
                </a:cubicBezTo>
                <a:cubicBezTo>
                  <a:pt x="166184" y="711237"/>
                  <a:pt x="179889" y="697583"/>
                  <a:pt x="179889" y="680800"/>
                </a:cubicBezTo>
                <a:cubicBezTo>
                  <a:pt x="179889" y="664018"/>
                  <a:pt x="166184" y="650364"/>
                  <a:pt x="149337" y="650364"/>
                </a:cubicBezTo>
                <a:cubicBezTo>
                  <a:pt x="132490" y="650364"/>
                  <a:pt x="118784" y="664018"/>
                  <a:pt x="118784" y="680800"/>
                </a:cubicBezTo>
                <a:close/>
                <a:moveTo>
                  <a:pt x="178081" y="680800"/>
                </a:moveTo>
                <a:cubicBezTo>
                  <a:pt x="178081" y="697583"/>
                  <a:pt x="191787" y="711237"/>
                  <a:pt x="208634" y="711237"/>
                </a:cubicBezTo>
                <a:cubicBezTo>
                  <a:pt x="225480" y="711237"/>
                  <a:pt x="239186" y="697583"/>
                  <a:pt x="239186" y="680800"/>
                </a:cubicBezTo>
                <a:cubicBezTo>
                  <a:pt x="239186" y="664018"/>
                  <a:pt x="225480" y="650364"/>
                  <a:pt x="208634" y="650364"/>
                </a:cubicBezTo>
                <a:cubicBezTo>
                  <a:pt x="191787" y="650364"/>
                  <a:pt x="178081" y="664018"/>
                  <a:pt x="178081" y="680800"/>
                </a:cubicBezTo>
                <a:close/>
                <a:moveTo>
                  <a:pt x="237473" y="680800"/>
                </a:moveTo>
                <a:cubicBezTo>
                  <a:pt x="237473" y="697583"/>
                  <a:pt x="251179" y="711237"/>
                  <a:pt x="268026" y="711237"/>
                </a:cubicBezTo>
                <a:cubicBezTo>
                  <a:pt x="284873" y="711237"/>
                  <a:pt x="298578" y="697583"/>
                  <a:pt x="298578" y="680800"/>
                </a:cubicBezTo>
                <a:cubicBezTo>
                  <a:pt x="298578" y="664018"/>
                  <a:pt x="284873" y="650364"/>
                  <a:pt x="268026" y="650364"/>
                </a:cubicBezTo>
                <a:cubicBezTo>
                  <a:pt x="251179" y="650364"/>
                  <a:pt x="237473" y="664018"/>
                  <a:pt x="237473" y="680800"/>
                </a:cubicBezTo>
                <a:close/>
                <a:moveTo>
                  <a:pt x="296865" y="680800"/>
                </a:moveTo>
                <a:cubicBezTo>
                  <a:pt x="296865" y="697583"/>
                  <a:pt x="310571" y="711237"/>
                  <a:pt x="327418" y="711237"/>
                </a:cubicBezTo>
                <a:cubicBezTo>
                  <a:pt x="344265" y="711237"/>
                  <a:pt x="357970" y="697583"/>
                  <a:pt x="357970" y="680800"/>
                </a:cubicBezTo>
                <a:cubicBezTo>
                  <a:pt x="357970" y="664018"/>
                  <a:pt x="344265" y="650364"/>
                  <a:pt x="327418" y="650364"/>
                </a:cubicBezTo>
                <a:cubicBezTo>
                  <a:pt x="310571" y="650364"/>
                  <a:pt x="296865" y="664018"/>
                  <a:pt x="296865" y="680800"/>
                </a:cubicBezTo>
                <a:close/>
                <a:moveTo>
                  <a:pt x="474851" y="680800"/>
                </a:moveTo>
                <a:cubicBezTo>
                  <a:pt x="474851" y="697583"/>
                  <a:pt x="488557" y="711237"/>
                  <a:pt x="505404" y="711237"/>
                </a:cubicBezTo>
                <a:cubicBezTo>
                  <a:pt x="522250" y="711237"/>
                  <a:pt x="535956" y="697583"/>
                  <a:pt x="535956" y="680800"/>
                </a:cubicBezTo>
                <a:cubicBezTo>
                  <a:pt x="535956" y="664018"/>
                  <a:pt x="522250" y="650364"/>
                  <a:pt x="505404" y="650364"/>
                </a:cubicBezTo>
                <a:cubicBezTo>
                  <a:pt x="488557" y="650364"/>
                  <a:pt x="474851" y="664018"/>
                  <a:pt x="474851" y="680800"/>
                </a:cubicBezTo>
                <a:close/>
                <a:moveTo>
                  <a:pt x="593635" y="680800"/>
                </a:moveTo>
                <a:cubicBezTo>
                  <a:pt x="593635" y="697583"/>
                  <a:pt x="607341" y="711237"/>
                  <a:pt x="624188" y="711237"/>
                </a:cubicBezTo>
                <a:cubicBezTo>
                  <a:pt x="641035" y="711237"/>
                  <a:pt x="654740" y="697583"/>
                  <a:pt x="654740" y="680800"/>
                </a:cubicBezTo>
                <a:cubicBezTo>
                  <a:pt x="654740" y="664018"/>
                  <a:pt x="641035" y="650364"/>
                  <a:pt x="624188" y="650364"/>
                </a:cubicBezTo>
                <a:cubicBezTo>
                  <a:pt x="607341" y="650364"/>
                  <a:pt x="593635" y="664018"/>
                  <a:pt x="593635" y="680800"/>
                </a:cubicBezTo>
                <a:close/>
                <a:moveTo>
                  <a:pt x="652932" y="680800"/>
                </a:moveTo>
                <a:cubicBezTo>
                  <a:pt x="652932" y="697583"/>
                  <a:pt x="666638" y="711237"/>
                  <a:pt x="683485" y="711237"/>
                </a:cubicBezTo>
                <a:cubicBezTo>
                  <a:pt x="700332" y="711237"/>
                  <a:pt x="714037" y="697583"/>
                  <a:pt x="714037" y="680800"/>
                </a:cubicBezTo>
                <a:cubicBezTo>
                  <a:pt x="714037" y="664018"/>
                  <a:pt x="700332" y="650364"/>
                  <a:pt x="683485" y="650364"/>
                </a:cubicBezTo>
                <a:cubicBezTo>
                  <a:pt x="666638" y="650364"/>
                  <a:pt x="652932" y="664018"/>
                  <a:pt x="652932" y="680800"/>
                </a:cubicBezTo>
                <a:close/>
                <a:moveTo>
                  <a:pt x="712324" y="680800"/>
                </a:moveTo>
                <a:cubicBezTo>
                  <a:pt x="712324" y="697583"/>
                  <a:pt x="726030" y="711237"/>
                  <a:pt x="742877" y="711237"/>
                </a:cubicBezTo>
                <a:cubicBezTo>
                  <a:pt x="759724" y="711237"/>
                  <a:pt x="773429" y="697583"/>
                  <a:pt x="773429" y="680800"/>
                </a:cubicBezTo>
                <a:cubicBezTo>
                  <a:pt x="773429" y="664018"/>
                  <a:pt x="759724" y="650364"/>
                  <a:pt x="742877" y="650364"/>
                </a:cubicBezTo>
                <a:cubicBezTo>
                  <a:pt x="726030" y="650364"/>
                  <a:pt x="712324" y="664018"/>
                  <a:pt x="712324" y="680800"/>
                </a:cubicBezTo>
                <a:close/>
                <a:moveTo>
                  <a:pt x="831013" y="680800"/>
                </a:moveTo>
                <a:cubicBezTo>
                  <a:pt x="831013" y="697583"/>
                  <a:pt x="844719" y="711237"/>
                  <a:pt x="861566" y="711237"/>
                </a:cubicBezTo>
                <a:cubicBezTo>
                  <a:pt x="878413" y="711237"/>
                  <a:pt x="892118" y="697583"/>
                  <a:pt x="892118" y="680800"/>
                </a:cubicBezTo>
                <a:cubicBezTo>
                  <a:pt x="892118" y="664018"/>
                  <a:pt x="878413" y="650364"/>
                  <a:pt x="861566" y="650364"/>
                </a:cubicBezTo>
                <a:cubicBezTo>
                  <a:pt x="844719" y="650364"/>
                  <a:pt x="831013" y="664018"/>
                  <a:pt x="831013" y="680800"/>
                </a:cubicBezTo>
                <a:close/>
                <a:moveTo>
                  <a:pt x="949702" y="680800"/>
                </a:moveTo>
                <a:cubicBezTo>
                  <a:pt x="949702" y="697583"/>
                  <a:pt x="963408" y="711237"/>
                  <a:pt x="980255" y="711237"/>
                </a:cubicBezTo>
                <a:cubicBezTo>
                  <a:pt x="997101" y="711237"/>
                  <a:pt x="1010807" y="697583"/>
                  <a:pt x="1010807" y="680800"/>
                </a:cubicBezTo>
                <a:cubicBezTo>
                  <a:pt x="1010807" y="664018"/>
                  <a:pt x="997101" y="650364"/>
                  <a:pt x="980255" y="650364"/>
                </a:cubicBezTo>
                <a:cubicBezTo>
                  <a:pt x="963408" y="650364"/>
                  <a:pt x="949702" y="664018"/>
                  <a:pt x="949702" y="680800"/>
                </a:cubicBezTo>
                <a:close/>
                <a:moveTo>
                  <a:pt x="1068391" y="680800"/>
                </a:moveTo>
                <a:cubicBezTo>
                  <a:pt x="1068391" y="697583"/>
                  <a:pt x="1082097" y="711237"/>
                  <a:pt x="1098944" y="711237"/>
                </a:cubicBezTo>
                <a:cubicBezTo>
                  <a:pt x="1115790" y="711237"/>
                  <a:pt x="1129496" y="697583"/>
                  <a:pt x="1129496" y="680800"/>
                </a:cubicBezTo>
                <a:cubicBezTo>
                  <a:pt x="1129496" y="664018"/>
                  <a:pt x="1115790" y="650364"/>
                  <a:pt x="1098944" y="650364"/>
                </a:cubicBezTo>
                <a:cubicBezTo>
                  <a:pt x="1082097" y="650364"/>
                  <a:pt x="1068391" y="664018"/>
                  <a:pt x="1068391" y="680800"/>
                </a:cubicBezTo>
                <a:close/>
                <a:moveTo>
                  <a:pt x="1424553" y="680800"/>
                </a:moveTo>
                <a:cubicBezTo>
                  <a:pt x="1424553" y="697583"/>
                  <a:pt x="1438259" y="711237"/>
                  <a:pt x="1455106" y="711237"/>
                </a:cubicBezTo>
                <a:cubicBezTo>
                  <a:pt x="1471953" y="711237"/>
                  <a:pt x="1485658" y="697583"/>
                  <a:pt x="1485658" y="680800"/>
                </a:cubicBezTo>
                <a:cubicBezTo>
                  <a:pt x="1485658" y="664018"/>
                  <a:pt x="1471953" y="650364"/>
                  <a:pt x="1455106" y="650364"/>
                </a:cubicBezTo>
                <a:cubicBezTo>
                  <a:pt x="1438259" y="650364"/>
                  <a:pt x="1424553" y="664018"/>
                  <a:pt x="1424553" y="680800"/>
                </a:cubicBezTo>
                <a:close/>
                <a:moveTo>
                  <a:pt x="59392" y="739968"/>
                </a:moveTo>
                <a:cubicBezTo>
                  <a:pt x="59392" y="756751"/>
                  <a:pt x="73098" y="770404"/>
                  <a:pt x="89945" y="770404"/>
                </a:cubicBezTo>
                <a:cubicBezTo>
                  <a:pt x="106792" y="770404"/>
                  <a:pt x="120497" y="756751"/>
                  <a:pt x="120497" y="739968"/>
                </a:cubicBezTo>
                <a:cubicBezTo>
                  <a:pt x="120497" y="723185"/>
                  <a:pt x="106792" y="709531"/>
                  <a:pt x="89945" y="709531"/>
                </a:cubicBezTo>
                <a:cubicBezTo>
                  <a:pt x="73098" y="709531"/>
                  <a:pt x="59392" y="723185"/>
                  <a:pt x="59392" y="739968"/>
                </a:cubicBezTo>
                <a:close/>
                <a:moveTo>
                  <a:pt x="118784" y="739968"/>
                </a:moveTo>
                <a:cubicBezTo>
                  <a:pt x="118784" y="756751"/>
                  <a:pt x="132490" y="770404"/>
                  <a:pt x="149337" y="770404"/>
                </a:cubicBezTo>
                <a:cubicBezTo>
                  <a:pt x="166184" y="770404"/>
                  <a:pt x="179889" y="756751"/>
                  <a:pt x="179889" y="739968"/>
                </a:cubicBezTo>
                <a:cubicBezTo>
                  <a:pt x="179889" y="723185"/>
                  <a:pt x="166184" y="709531"/>
                  <a:pt x="149337" y="709531"/>
                </a:cubicBezTo>
                <a:cubicBezTo>
                  <a:pt x="132490" y="709531"/>
                  <a:pt x="118784" y="723185"/>
                  <a:pt x="118784" y="739968"/>
                </a:cubicBezTo>
                <a:close/>
                <a:moveTo>
                  <a:pt x="237473" y="739968"/>
                </a:moveTo>
                <a:cubicBezTo>
                  <a:pt x="237473" y="756751"/>
                  <a:pt x="251179" y="770404"/>
                  <a:pt x="268026" y="770404"/>
                </a:cubicBezTo>
                <a:cubicBezTo>
                  <a:pt x="284873" y="770404"/>
                  <a:pt x="298578" y="756751"/>
                  <a:pt x="298578" y="739968"/>
                </a:cubicBezTo>
                <a:cubicBezTo>
                  <a:pt x="298578" y="723185"/>
                  <a:pt x="284873" y="709531"/>
                  <a:pt x="268026" y="709531"/>
                </a:cubicBezTo>
                <a:cubicBezTo>
                  <a:pt x="251179" y="709531"/>
                  <a:pt x="237473" y="723185"/>
                  <a:pt x="237473" y="739968"/>
                </a:cubicBezTo>
                <a:close/>
                <a:moveTo>
                  <a:pt x="296865" y="739968"/>
                </a:moveTo>
                <a:cubicBezTo>
                  <a:pt x="296865" y="756751"/>
                  <a:pt x="310571" y="770404"/>
                  <a:pt x="327418" y="770404"/>
                </a:cubicBezTo>
                <a:cubicBezTo>
                  <a:pt x="344265" y="770404"/>
                  <a:pt x="357970" y="756751"/>
                  <a:pt x="357970" y="739968"/>
                </a:cubicBezTo>
                <a:cubicBezTo>
                  <a:pt x="357970" y="723185"/>
                  <a:pt x="344265" y="709531"/>
                  <a:pt x="327418" y="709531"/>
                </a:cubicBezTo>
                <a:cubicBezTo>
                  <a:pt x="310571" y="709531"/>
                  <a:pt x="296865" y="723185"/>
                  <a:pt x="296865" y="739968"/>
                </a:cubicBezTo>
                <a:close/>
                <a:moveTo>
                  <a:pt x="356162" y="739968"/>
                </a:moveTo>
                <a:cubicBezTo>
                  <a:pt x="356162" y="756751"/>
                  <a:pt x="369868" y="770404"/>
                  <a:pt x="386715" y="770404"/>
                </a:cubicBezTo>
                <a:cubicBezTo>
                  <a:pt x="403562" y="770404"/>
                  <a:pt x="417267" y="756751"/>
                  <a:pt x="417267" y="739968"/>
                </a:cubicBezTo>
                <a:cubicBezTo>
                  <a:pt x="417267" y="723185"/>
                  <a:pt x="403562" y="709531"/>
                  <a:pt x="386715" y="709531"/>
                </a:cubicBezTo>
                <a:cubicBezTo>
                  <a:pt x="369868" y="709531"/>
                  <a:pt x="356162" y="723185"/>
                  <a:pt x="356162" y="739968"/>
                </a:cubicBezTo>
                <a:close/>
                <a:moveTo>
                  <a:pt x="415554" y="739968"/>
                </a:moveTo>
                <a:cubicBezTo>
                  <a:pt x="415554" y="756751"/>
                  <a:pt x="429260" y="770404"/>
                  <a:pt x="446107" y="770404"/>
                </a:cubicBezTo>
                <a:cubicBezTo>
                  <a:pt x="462954" y="770404"/>
                  <a:pt x="476659" y="756751"/>
                  <a:pt x="476659" y="739968"/>
                </a:cubicBezTo>
                <a:cubicBezTo>
                  <a:pt x="476659" y="723185"/>
                  <a:pt x="462954" y="709531"/>
                  <a:pt x="446107" y="709531"/>
                </a:cubicBezTo>
                <a:cubicBezTo>
                  <a:pt x="429260" y="709531"/>
                  <a:pt x="415554" y="723185"/>
                  <a:pt x="415554" y="739968"/>
                </a:cubicBezTo>
                <a:close/>
                <a:moveTo>
                  <a:pt x="474851" y="739968"/>
                </a:moveTo>
                <a:cubicBezTo>
                  <a:pt x="474851" y="756751"/>
                  <a:pt x="488557" y="770404"/>
                  <a:pt x="505404" y="770404"/>
                </a:cubicBezTo>
                <a:cubicBezTo>
                  <a:pt x="522250" y="770404"/>
                  <a:pt x="535956" y="756751"/>
                  <a:pt x="535956" y="739968"/>
                </a:cubicBezTo>
                <a:cubicBezTo>
                  <a:pt x="535956" y="723185"/>
                  <a:pt x="522250" y="709531"/>
                  <a:pt x="505404" y="709531"/>
                </a:cubicBezTo>
                <a:cubicBezTo>
                  <a:pt x="488557" y="709531"/>
                  <a:pt x="474851" y="723185"/>
                  <a:pt x="474851" y="739968"/>
                </a:cubicBezTo>
                <a:close/>
                <a:moveTo>
                  <a:pt x="534243" y="739968"/>
                </a:moveTo>
                <a:cubicBezTo>
                  <a:pt x="534243" y="756751"/>
                  <a:pt x="547949" y="770404"/>
                  <a:pt x="564796" y="770404"/>
                </a:cubicBezTo>
                <a:cubicBezTo>
                  <a:pt x="581643" y="770404"/>
                  <a:pt x="595348" y="756751"/>
                  <a:pt x="595348" y="739968"/>
                </a:cubicBezTo>
                <a:cubicBezTo>
                  <a:pt x="595348" y="723185"/>
                  <a:pt x="581643" y="709531"/>
                  <a:pt x="564796" y="709531"/>
                </a:cubicBezTo>
                <a:cubicBezTo>
                  <a:pt x="547949" y="709531"/>
                  <a:pt x="534243" y="723185"/>
                  <a:pt x="534243" y="739968"/>
                </a:cubicBezTo>
                <a:close/>
                <a:moveTo>
                  <a:pt x="652932" y="739968"/>
                </a:moveTo>
                <a:cubicBezTo>
                  <a:pt x="652932" y="756751"/>
                  <a:pt x="666638" y="770404"/>
                  <a:pt x="683485" y="770404"/>
                </a:cubicBezTo>
                <a:cubicBezTo>
                  <a:pt x="700332" y="770404"/>
                  <a:pt x="714037" y="756751"/>
                  <a:pt x="714037" y="739968"/>
                </a:cubicBezTo>
                <a:cubicBezTo>
                  <a:pt x="714037" y="723185"/>
                  <a:pt x="700332" y="709531"/>
                  <a:pt x="683485" y="709531"/>
                </a:cubicBezTo>
                <a:cubicBezTo>
                  <a:pt x="666638" y="709531"/>
                  <a:pt x="652932" y="723185"/>
                  <a:pt x="652932" y="739968"/>
                </a:cubicBezTo>
                <a:close/>
                <a:moveTo>
                  <a:pt x="890310" y="739968"/>
                </a:moveTo>
                <a:cubicBezTo>
                  <a:pt x="890310" y="756751"/>
                  <a:pt x="904016" y="770404"/>
                  <a:pt x="920863" y="770404"/>
                </a:cubicBezTo>
                <a:cubicBezTo>
                  <a:pt x="937709" y="770404"/>
                  <a:pt x="951415" y="756751"/>
                  <a:pt x="951415" y="739968"/>
                </a:cubicBezTo>
                <a:cubicBezTo>
                  <a:pt x="951415" y="723185"/>
                  <a:pt x="937709" y="709531"/>
                  <a:pt x="920863" y="709531"/>
                </a:cubicBezTo>
                <a:cubicBezTo>
                  <a:pt x="904016" y="709531"/>
                  <a:pt x="890310" y="723185"/>
                  <a:pt x="890310" y="739968"/>
                </a:cubicBezTo>
                <a:close/>
                <a:moveTo>
                  <a:pt x="1009094" y="739968"/>
                </a:moveTo>
                <a:cubicBezTo>
                  <a:pt x="1009094" y="756751"/>
                  <a:pt x="1022800" y="770404"/>
                  <a:pt x="1039647" y="770404"/>
                </a:cubicBezTo>
                <a:cubicBezTo>
                  <a:pt x="1056494" y="770404"/>
                  <a:pt x="1070199" y="756751"/>
                  <a:pt x="1070199" y="739968"/>
                </a:cubicBezTo>
                <a:cubicBezTo>
                  <a:pt x="1070199" y="723185"/>
                  <a:pt x="1056494" y="709531"/>
                  <a:pt x="1039647" y="709531"/>
                </a:cubicBezTo>
                <a:cubicBezTo>
                  <a:pt x="1022800" y="709531"/>
                  <a:pt x="1009094" y="723185"/>
                  <a:pt x="1009094" y="739968"/>
                </a:cubicBezTo>
                <a:close/>
                <a:moveTo>
                  <a:pt x="1068391" y="739968"/>
                </a:moveTo>
                <a:cubicBezTo>
                  <a:pt x="1068391" y="756751"/>
                  <a:pt x="1082097" y="770404"/>
                  <a:pt x="1098944" y="770404"/>
                </a:cubicBezTo>
                <a:cubicBezTo>
                  <a:pt x="1115790" y="770404"/>
                  <a:pt x="1129496" y="756751"/>
                  <a:pt x="1129496" y="739968"/>
                </a:cubicBezTo>
                <a:cubicBezTo>
                  <a:pt x="1129496" y="723185"/>
                  <a:pt x="1115790" y="709531"/>
                  <a:pt x="1098944" y="709531"/>
                </a:cubicBezTo>
                <a:cubicBezTo>
                  <a:pt x="1082097" y="709531"/>
                  <a:pt x="1068391" y="723185"/>
                  <a:pt x="1068391" y="739968"/>
                </a:cubicBezTo>
                <a:close/>
                <a:moveTo>
                  <a:pt x="1127783" y="739968"/>
                </a:moveTo>
                <a:cubicBezTo>
                  <a:pt x="1127783" y="756751"/>
                  <a:pt x="1141489" y="770404"/>
                  <a:pt x="1158336" y="770404"/>
                </a:cubicBezTo>
                <a:cubicBezTo>
                  <a:pt x="1175183" y="770404"/>
                  <a:pt x="1188888" y="756751"/>
                  <a:pt x="1188888" y="739968"/>
                </a:cubicBezTo>
                <a:cubicBezTo>
                  <a:pt x="1188888" y="723185"/>
                  <a:pt x="1175183" y="709531"/>
                  <a:pt x="1158336" y="709531"/>
                </a:cubicBezTo>
                <a:cubicBezTo>
                  <a:pt x="1141489" y="709531"/>
                  <a:pt x="1127783" y="723185"/>
                  <a:pt x="1127783" y="739968"/>
                </a:cubicBezTo>
                <a:close/>
                <a:moveTo>
                  <a:pt x="1187080" y="739968"/>
                </a:moveTo>
                <a:cubicBezTo>
                  <a:pt x="1187080" y="756751"/>
                  <a:pt x="1200786" y="770404"/>
                  <a:pt x="1217633" y="770404"/>
                </a:cubicBezTo>
                <a:cubicBezTo>
                  <a:pt x="1234479" y="770404"/>
                  <a:pt x="1248185" y="756751"/>
                  <a:pt x="1248185" y="739968"/>
                </a:cubicBezTo>
                <a:cubicBezTo>
                  <a:pt x="1248185" y="723185"/>
                  <a:pt x="1234479" y="709531"/>
                  <a:pt x="1217633" y="709531"/>
                </a:cubicBezTo>
                <a:cubicBezTo>
                  <a:pt x="1200786" y="709531"/>
                  <a:pt x="1187080" y="723185"/>
                  <a:pt x="1187080" y="739968"/>
                </a:cubicBezTo>
                <a:close/>
                <a:moveTo>
                  <a:pt x="1305769" y="739968"/>
                </a:moveTo>
                <a:cubicBezTo>
                  <a:pt x="1305769" y="756751"/>
                  <a:pt x="1319475" y="770404"/>
                  <a:pt x="1336322" y="770404"/>
                </a:cubicBezTo>
                <a:cubicBezTo>
                  <a:pt x="1353168" y="770404"/>
                  <a:pt x="1366874" y="756751"/>
                  <a:pt x="1366874" y="739968"/>
                </a:cubicBezTo>
                <a:cubicBezTo>
                  <a:pt x="1366874" y="723185"/>
                  <a:pt x="1353168" y="709531"/>
                  <a:pt x="1336322" y="709531"/>
                </a:cubicBezTo>
                <a:cubicBezTo>
                  <a:pt x="1319475" y="709531"/>
                  <a:pt x="1305769" y="723185"/>
                  <a:pt x="1305769" y="739968"/>
                </a:cubicBezTo>
                <a:close/>
                <a:moveTo>
                  <a:pt x="1365161" y="739968"/>
                </a:moveTo>
                <a:cubicBezTo>
                  <a:pt x="1365161" y="756751"/>
                  <a:pt x="1378867" y="770404"/>
                  <a:pt x="1395714" y="770404"/>
                </a:cubicBezTo>
                <a:cubicBezTo>
                  <a:pt x="1412561" y="770404"/>
                  <a:pt x="1426266" y="756751"/>
                  <a:pt x="1426266" y="739968"/>
                </a:cubicBezTo>
                <a:cubicBezTo>
                  <a:pt x="1426266" y="723185"/>
                  <a:pt x="1412561" y="709531"/>
                  <a:pt x="1395714" y="709531"/>
                </a:cubicBezTo>
                <a:cubicBezTo>
                  <a:pt x="1378867" y="709531"/>
                  <a:pt x="1365161" y="723185"/>
                  <a:pt x="1365161" y="739968"/>
                </a:cubicBezTo>
                <a:close/>
                <a:moveTo>
                  <a:pt x="1424553" y="739968"/>
                </a:moveTo>
                <a:cubicBezTo>
                  <a:pt x="1424553" y="756751"/>
                  <a:pt x="1438259" y="770404"/>
                  <a:pt x="1455106" y="770404"/>
                </a:cubicBezTo>
                <a:cubicBezTo>
                  <a:pt x="1471953" y="770404"/>
                  <a:pt x="1485658" y="756751"/>
                  <a:pt x="1485658" y="739968"/>
                </a:cubicBezTo>
                <a:cubicBezTo>
                  <a:pt x="1485658" y="723185"/>
                  <a:pt x="1471953" y="709531"/>
                  <a:pt x="1455106" y="709531"/>
                </a:cubicBezTo>
                <a:cubicBezTo>
                  <a:pt x="1438259" y="709531"/>
                  <a:pt x="1424553" y="723185"/>
                  <a:pt x="1424553" y="739968"/>
                </a:cubicBezTo>
                <a:close/>
                <a:moveTo>
                  <a:pt x="95" y="799040"/>
                </a:moveTo>
                <a:cubicBezTo>
                  <a:pt x="95" y="815823"/>
                  <a:pt x="13801" y="829477"/>
                  <a:pt x="30648" y="829477"/>
                </a:cubicBezTo>
                <a:cubicBezTo>
                  <a:pt x="47495" y="829477"/>
                  <a:pt x="61200" y="815823"/>
                  <a:pt x="61200" y="799040"/>
                </a:cubicBezTo>
                <a:cubicBezTo>
                  <a:pt x="61200" y="782257"/>
                  <a:pt x="47495" y="768603"/>
                  <a:pt x="30648" y="768603"/>
                </a:cubicBezTo>
                <a:cubicBezTo>
                  <a:pt x="13801" y="768603"/>
                  <a:pt x="95" y="782257"/>
                  <a:pt x="95" y="799040"/>
                </a:cubicBezTo>
                <a:close/>
                <a:moveTo>
                  <a:pt x="118784" y="799040"/>
                </a:moveTo>
                <a:cubicBezTo>
                  <a:pt x="118784" y="815823"/>
                  <a:pt x="132490" y="829477"/>
                  <a:pt x="149337" y="829477"/>
                </a:cubicBezTo>
                <a:cubicBezTo>
                  <a:pt x="166184" y="829477"/>
                  <a:pt x="179889" y="815823"/>
                  <a:pt x="179889" y="799040"/>
                </a:cubicBezTo>
                <a:cubicBezTo>
                  <a:pt x="179889" y="782257"/>
                  <a:pt x="166184" y="768603"/>
                  <a:pt x="149337" y="768603"/>
                </a:cubicBezTo>
                <a:cubicBezTo>
                  <a:pt x="132490" y="768603"/>
                  <a:pt x="118784" y="782257"/>
                  <a:pt x="118784" y="799040"/>
                </a:cubicBezTo>
                <a:close/>
                <a:moveTo>
                  <a:pt x="178081" y="799040"/>
                </a:moveTo>
                <a:cubicBezTo>
                  <a:pt x="178081" y="815823"/>
                  <a:pt x="191787" y="829477"/>
                  <a:pt x="208634" y="829477"/>
                </a:cubicBezTo>
                <a:cubicBezTo>
                  <a:pt x="225480" y="829477"/>
                  <a:pt x="239186" y="815823"/>
                  <a:pt x="239186" y="799040"/>
                </a:cubicBezTo>
                <a:cubicBezTo>
                  <a:pt x="239186" y="782257"/>
                  <a:pt x="225480" y="768603"/>
                  <a:pt x="208634" y="768603"/>
                </a:cubicBezTo>
                <a:cubicBezTo>
                  <a:pt x="191787" y="768603"/>
                  <a:pt x="178081" y="782257"/>
                  <a:pt x="178081" y="799040"/>
                </a:cubicBezTo>
                <a:close/>
                <a:moveTo>
                  <a:pt x="237473" y="799040"/>
                </a:moveTo>
                <a:cubicBezTo>
                  <a:pt x="237473" y="815823"/>
                  <a:pt x="251179" y="829477"/>
                  <a:pt x="268026" y="829477"/>
                </a:cubicBezTo>
                <a:cubicBezTo>
                  <a:pt x="284873" y="829477"/>
                  <a:pt x="298578" y="815823"/>
                  <a:pt x="298578" y="799040"/>
                </a:cubicBezTo>
                <a:cubicBezTo>
                  <a:pt x="298578" y="782257"/>
                  <a:pt x="284873" y="768603"/>
                  <a:pt x="268026" y="768603"/>
                </a:cubicBezTo>
                <a:cubicBezTo>
                  <a:pt x="251179" y="768603"/>
                  <a:pt x="237473" y="782257"/>
                  <a:pt x="237473" y="799040"/>
                </a:cubicBezTo>
                <a:close/>
                <a:moveTo>
                  <a:pt x="415554" y="799040"/>
                </a:moveTo>
                <a:cubicBezTo>
                  <a:pt x="415554" y="815823"/>
                  <a:pt x="429260" y="829477"/>
                  <a:pt x="446107" y="829477"/>
                </a:cubicBezTo>
                <a:cubicBezTo>
                  <a:pt x="462954" y="829477"/>
                  <a:pt x="476659" y="815823"/>
                  <a:pt x="476659" y="799040"/>
                </a:cubicBezTo>
                <a:cubicBezTo>
                  <a:pt x="476659" y="782257"/>
                  <a:pt x="462954" y="768603"/>
                  <a:pt x="446107" y="768603"/>
                </a:cubicBezTo>
                <a:cubicBezTo>
                  <a:pt x="429260" y="768603"/>
                  <a:pt x="415554" y="782257"/>
                  <a:pt x="415554" y="799040"/>
                </a:cubicBezTo>
                <a:close/>
                <a:moveTo>
                  <a:pt x="474851" y="799040"/>
                </a:moveTo>
                <a:cubicBezTo>
                  <a:pt x="474851" y="815823"/>
                  <a:pt x="488557" y="829477"/>
                  <a:pt x="505404" y="829477"/>
                </a:cubicBezTo>
                <a:cubicBezTo>
                  <a:pt x="522250" y="829477"/>
                  <a:pt x="535956" y="815823"/>
                  <a:pt x="535956" y="799040"/>
                </a:cubicBezTo>
                <a:cubicBezTo>
                  <a:pt x="535956" y="782257"/>
                  <a:pt x="522250" y="768603"/>
                  <a:pt x="505404" y="768603"/>
                </a:cubicBezTo>
                <a:cubicBezTo>
                  <a:pt x="488557" y="768603"/>
                  <a:pt x="474851" y="782257"/>
                  <a:pt x="474851" y="799040"/>
                </a:cubicBezTo>
                <a:close/>
                <a:moveTo>
                  <a:pt x="534243" y="799040"/>
                </a:moveTo>
                <a:cubicBezTo>
                  <a:pt x="534243" y="815823"/>
                  <a:pt x="547949" y="829477"/>
                  <a:pt x="564796" y="829477"/>
                </a:cubicBezTo>
                <a:cubicBezTo>
                  <a:pt x="581643" y="829477"/>
                  <a:pt x="595348" y="815823"/>
                  <a:pt x="595348" y="799040"/>
                </a:cubicBezTo>
                <a:cubicBezTo>
                  <a:pt x="595348" y="782257"/>
                  <a:pt x="581643" y="768603"/>
                  <a:pt x="564796" y="768603"/>
                </a:cubicBezTo>
                <a:cubicBezTo>
                  <a:pt x="547949" y="768603"/>
                  <a:pt x="534243" y="782257"/>
                  <a:pt x="534243" y="799040"/>
                </a:cubicBezTo>
                <a:close/>
                <a:moveTo>
                  <a:pt x="593635" y="799040"/>
                </a:moveTo>
                <a:cubicBezTo>
                  <a:pt x="593635" y="815823"/>
                  <a:pt x="607341" y="829477"/>
                  <a:pt x="624188" y="829477"/>
                </a:cubicBezTo>
                <a:cubicBezTo>
                  <a:pt x="641035" y="829477"/>
                  <a:pt x="654740" y="815823"/>
                  <a:pt x="654740" y="799040"/>
                </a:cubicBezTo>
                <a:cubicBezTo>
                  <a:pt x="654740" y="782257"/>
                  <a:pt x="641035" y="768603"/>
                  <a:pt x="624188" y="768603"/>
                </a:cubicBezTo>
                <a:cubicBezTo>
                  <a:pt x="607341" y="768603"/>
                  <a:pt x="593635" y="782257"/>
                  <a:pt x="593635" y="799040"/>
                </a:cubicBezTo>
                <a:close/>
                <a:moveTo>
                  <a:pt x="712324" y="799040"/>
                </a:moveTo>
                <a:cubicBezTo>
                  <a:pt x="712324" y="815823"/>
                  <a:pt x="726030" y="829477"/>
                  <a:pt x="742877" y="829477"/>
                </a:cubicBezTo>
                <a:cubicBezTo>
                  <a:pt x="759724" y="829477"/>
                  <a:pt x="773429" y="815823"/>
                  <a:pt x="773429" y="799040"/>
                </a:cubicBezTo>
                <a:cubicBezTo>
                  <a:pt x="773429" y="782257"/>
                  <a:pt x="759724" y="768603"/>
                  <a:pt x="742877" y="768603"/>
                </a:cubicBezTo>
                <a:cubicBezTo>
                  <a:pt x="726030" y="768603"/>
                  <a:pt x="712324" y="782257"/>
                  <a:pt x="712324" y="799040"/>
                </a:cubicBezTo>
                <a:close/>
                <a:moveTo>
                  <a:pt x="771621" y="799040"/>
                </a:moveTo>
                <a:cubicBezTo>
                  <a:pt x="771621" y="815823"/>
                  <a:pt x="785327" y="829477"/>
                  <a:pt x="802174" y="829477"/>
                </a:cubicBezTo>
                <a:cubicBezTo>
                  <a:pt x="819021" y="829477"/>
                  <a:pt x="832726" y="815823"/>
                  <a:pt x="832726" y="799040"/>
                </a:cubicBezTo>
                <a:cubicBezTo>
                  <a:pt x="832726" y="782257"/>
                  <a:pt x="819021" y="768603"/>
                  <a:pt x="802174" y="768603"/>
                </a:cubicBezTo>
                <a:cubicBezTo>
                  <a:pt x="785327" y="768603"/>
                  <a:pt x="771621" y="782257"/>
                  <a:pt x="771621" y="799040"/>
                </a:cubicBezTo>
                <a:close/>
                <a:moveTo>
                  <a:pt x="949702" y="799040"/>
                </a:moveTo>
                <a:cubicBezTo>
                  <a:pt x="949702" y="815823"/>
                  <a:pt x="963408" y="829477"/>
                  <a:pt x="980255" y="829477"/>
                </a:cubicBezTo>
                <a:cubicBezTo>
                  <a:pt x="997101" y="829477"/>
                  <a:pt x="1010807" y="815823"/>
                  <a:pt x="1010807" y="799040"/>
                </a:cubicBezTo>
                <a:cubicBezTo>
                  <a:pt x="1010807" y="782257"/>
                  <a:pt x="997101" y="768603"/>
                  <a:pt x="980255" y="768603"/>
                </a:cubicBezTo>
                <a:cubicBezTo>
                  <a:pt x="963408" y="768603"/>
                  <a:pt x="949702" y="782257"/>
                  <a:pt x="949702" y="799040"/>
                </a:cubicBezTo>
                <a:close/>
                <a:moveTo>
                  <a:pt x="1009094" y="799040"/>
                </a:moveTo>
                <a:cubicBezTo>
                  <a:pt x="1009094" y="815823"/>
                  <a:pt x="1022800" y="829477"/>
                  <a:pt x="1039647" y="829477"/>
                </a:cubicBezTo>
                <a:cubicBezTo>
                  <a:pt x="1056494" y="829477"/>
                  <a:pt x="1070199" y="815823"/>
                  <a:pt x="1070199" y="799040"/>
                </a:cubicBezTo>
                <a:cubicBezTo>
                  <a:pt x="1070199" y="782257"/>
                  <a:pt x="1056494" y="768603"/>
                  <a:pt x="1039647" y="768603"/>
                </a:cubicBezTo>
                <a:cubicBezTo>
                  <a:pt x="1022800" y="768603"/>
                  <a:pt x="1009094" y="782257"/>
                  <a:pt x="1009094" y="799040"/>
                </a:cubicBezTo>
                <a:close/>
                <a:moveTo>
                  <a:pt x="1127783" y="799040"/>
                </a:moveTo>
                <a:cubicBezTo>
                  <a:pt x="1127783" y="815823"/>
                  <a:pt x="1141489" y="829477"/>
                  <a:pt x="1158336" y="829477"/>
                </a:cubicBezTo>
                <a:cubicBezTo>
                  <a:pt x="1175183" y="829477"/>
                  <a:pt x="1188888" y="815823"/>
                  <a:pt x="1188888" y="799040"/>
                </a:cubicBezTo>
                <a:cubicBezTo>
                  <a:pt x="1188888" y="782257"/>
                  <a:pt x="1175183" y="768603"/>
                  <a:pt x="1158336" y="768603"/>
                </a:cubicBezTo>
                <a:cubicBezTo>
                  <a:pt x="1141489" y="768603"/>
                  <a:pt x="1127783" y="782257"/>
                  <a:pt x="1127783" y="799040"/>
                </a:cubicBezTo>
                <a:close/>
                <a:moveTo>
                  <a:pt x="1246472" y="799040"/>
                </a:moveTo>
                <a:cubicBezTo>
                  <a:pt x="1246472" y="815823"/>
                  <a:pt x="1260178" y="829477"/>
                  <a:pt x="1277025" y="829477"/>
                </a:cubicBezTo>
                <a:cubicBezTo>
                  <a:pt x="1293872" y="829477"/>
                  <a:pt x="1307577" y="815823"/>
                  <a:pt x="1307577" y="799040"/>
                </a:cubicBezTo>
                <a:cubicBezTo>
                  <a:pt x="1307577" y="782257"/>
                  <a:pt x="1293872" y="768603"/>
                  <a:pt x="1277025" y="768603"/>
                </a:cubicBezTo>
                <a:cubicBezTo>
                  <a:pt x="1260178" y="768603"/>
                  <a:pt x="1246472" y="782257"/>
                  <a:pt x="1246472" y="799040"/>
                </a:cubicBezTo>
                <a:close/>
                <a:moveTo>
                  <a:pt x="1365161" y="799040"/>
                </a:moveTo>
                <a:cubicBezTo>
                  <a:pt x="1365161" y="815823"/>
                  <a:pt x="1378867" y="829477"/>
                  <a:pt x="1395714" y="829477"/>
                </a:cubicBezTo>
                <a:cubicBezTo>
                  <a:pt x="1412561" y="829477"/>
                  <a:pt x="1426266" y="815823"/>
                  <a:pt x="1426266" y="799040"/>
                </a:cubicBezTo>
                <a:cubicBezTo>
                  <a:pt x="1426266" y="782257"/>
                  <a:pt x="1412561" y="768603"/>
                  <a:pt x="1395714" y="768603"/>
                </a:cubicBezTo>
                <a:cubicBezTo>
                  <a:pt x="1378867" y="768603"/>
                  <a:pt x="1365161" y="782257"/>
                  <a:pt x="1365161" y="799040"/>
                </a:cubicBezTo>
                <a:close/>
                <a:moveTo>
                  <a:pt x="95" y="858207"/>
                </a:moveTo>
                <a:cubicBezTo>
                  <a:pt x="95" y="874990"/>
                  <a:pt x="13801" y="888644"/>
                  <a:pt x="30648" y="888644"/>
                </a:cubicBezTo>
                <a:cubicBezTo>
                  <a:pt x="47495" y="888644"/>
                  <a:pt x="61200" y="874990"/>
                  <a:pt x="61200" y="858207"/>
                </a:cubicBezTo>
                <a:cubicBezTo>
                  <a:pt x="61200" y="841424"/>
                  <a:pt x="47495" y="827770"/>
                  <a:pt x="30648" y="827770"/>
                </a:cubicBezTo>
                <a:cubicBezTo>
                  <a:pt x="13801" y="827770"/>
                  <a:pt x="95" y="841424"/>
                  <a:pt x="95" y="858207"/>
                </a:cubicBezTo>
                <a:close/>
                <a:moveTo>
                  <a:pt x="118784" y="858207"/>
                </a:moveTo>
                <a:cubicBezTo>
                  <a:pt x="118784" y="874990"/>
                  <a:pt x="132490" y="888644"/>
                  <a:pt x="149337" y="888644"/>
                </a:cubicBezTo>
                <a:cubicBezTo>
                  <a:pt x="166184" y="888644"/>
                  <a:pt x="179889" y="874990"/>
                  <a:pt x="179889" y="858207"/>
                </a:cubicBezTo>
                <a:cubicBezTo>
                  <a:pt x="179889" y="841424"/>
                  <a:pt x="166184" y="827770"/>
                  <a:pt x="149337" y="827770"/>
                </a:cubicBezTo>
                <a:cubicBezTo>
                  <a:pt x="132490" y="827770"/>
                  <a:pt x="118784" y="841424"/>
                  <a:pt x="118784" y="858207"/>
                </a:cubicBezTo>
                <a:close/>
                <a:moveTo>
                  <a:pt x="178081" y="858207"/>
                </a:moveTo>
                <a:cubicBezTo>
                  <a:pt x="178081" y="874990"/>
                  <a:pt x="191787" y="888644"/>
                  <a:pt x="208634" y="888644"/>
                </a:cubicBezTo>
                <a:cubicBezTo>
                  <a:pt x="225480" y="888644"/>
                  <a:pt x="239186" y="874990"/>
                  <a:pt x="239186" y="858207"/>
                </a:cubicBezTo>
                <a:cubicBezTo>
                  <a:pt x="239186" y="841424"/>
                  <a:pt x="225480" y="827770"/>
                  <a:pt x="208634" y="827770"/>
                </a:cubicBezTo>
                <a:cubicBezTo>
                  <a:pt x="191787" y="827770"/>
                  <a:pt x="178081" y="841424"/>
                  <a:pt x="178081" y="858207"/>
                </a:cubicBezTo>
                <a:close/>
                <a:moveTo>
                  <a:pt x="356162" y="858207"/>
                </a:moveTo>
                <a:cubicBezTo>
                  <a:pt x="356162" y="874990"/>
                  <a:pt x="369868" y="888644"/>
                  <a:pt x="386715" y="888644"/>
                </a:cubicBezTo>
                <a:cubicBezTo>
                  <a:pt x="403562" y="888644"/>
                  <a:pt x="417267" y="874990"/>
                  <a:pt x="417267" y="858207"/>
                </a:cubicBezTo>
                <a:cubicBezTo>
                  <a:pt x="417267" y="841424"/>
                  <a:pt x="403562" y="827770"/>
                  <a:pt x="386715" y="827770"/>
                </a:cubicBezTo>
                <a:cubicBezTo>
                  <a:pt x="369868" y="827770"/>
                  <a:pt x="356162" y="841424"/>
                  <a:pt x="356162" y="858207"/>
                </a:cubicBezTo>
                <a:close/>
                <a:moveTo>
                  <a:pt x="474851" y="858207"/>
                </a:moveTo>
                <a:cubicBezTo>
                  <a:pt x="474851" y="874990"/>
                  <a:pt x="488557" y="888644"/>
                  <a:pt x="505404" y="888644"/>
                </a:cubicBezTo>
                <a:cubicBezTo>
                  <a:pt x="522250" y="888644"/>
                  <a:pt x="535956" y="874990"/>
                  <a:pt x="535956" y="858207"/>
                </a:cubicBezTo>
                <a:cubicBezTo>
                  <a:pt x="535956" y="841424"/>
                  <a:pt x="522250" y="827770"/>
                  <a:pt x="505404" y="827770"/>
                </a:cubicBezTo>
                <a:cubicBezTo>
                  <a:pt x="488557" y="827770"/>
                  <a:pt x="474851" y="841424"/>
                  <a:pt x="474851" y="858207"/>
                </a:cubicBezTo>
                <a:close/>
                <a:moveTo>
                  <a:pt x="771621" y="858207"/>
                </a:moveTo>
                <a:cubicBezTo>
                  <a:pt x="771621" y="874990"/>
                  <a:pt x="785327" y="888644"/>
                  <a:pt x="802174" y="888644"/>
                </a:cubicBezTo>
                <a:cubicBezTo>
                  <a:pt x="819021" y="888644"/>
                  <a:pt x="832726" y="874990"/>
                  <a:pt x="832726" y="858207"/>
                </a:cubicBezTo>
                <a:cubicBezTo>
                  <a:pt x="832726" y="841424"/>
                  <a:pt x="819021" y="827770"/>
                  <a:pt x="802174" y="827770"/>
                </a:cubicBezTo>
                <a:cubicBezTo>
                  <a:pt x="785327" y="827770"/>
                  <a:pt x="771621" y="841424"/>
                  <a:pt x="771621" y="858207"/>
                </a:cubicBezTo>
                <a:close/>
                <a:moveTo>
                  <a:pt x="831013" y="858207"/>
                </a:moveTo>
                <a:cubicBezTo>
                  <a:pt x="831013" y="874990"/>
                  <a:pt x="844719" y="888644"/>
                  <a:pt x="861566" y="888644"/>
                </a:cubicBezTo>
                <a:cubicBezTo>
                  <a:pt x="878413" y="888644"/>
                  <a:pt x="892118" y="874990"/>
                  <a:pt x="892118" y="858207"/>
                </a:cubicBezTo>
                <a:cubicBezTo>
                  <a:pt x="892118" y="841424"/>
                  <a:pt x="878413" y="827770"/>
                  <a:pt x="861566" y="827770"/>
                </a:cubicBezTo>
                <a:cubicBezTo>
                  <a:pt x="844719" y="827770"/>
                  <a:pt x="831013" y="841424"/>
                  <a:pt x="831013" y="858207"/>
                </a:cubicBezTo>
                <a:close/>
                <a:moveTo>
                  <a:pt x="890310" y="858207"/>
                </a:moveTo>
                <a:cubicBezTo>
                  <a:pt x="890310" y="874990"/>
                  <a:pt x="904016" y="888644"/>
                  <a:pt x="920863" y="888644"/>
                </a:cubicBezTo>
                <a:cubicBezTo>
                  <a:pt x="937709" y="888644"/>
                  <a:pt x="951415" y="874990"/>
                  <a:pt x="951415" y="858207"/>
                </a:cubicBezTo>
                <a:cubicBezTo>
                  <a:pt x="951415" y="841424"/>
                  <a:pt x="937709" y="827770"/>
                  <a:pt x="920863" y="827770"/>
                </a:cubicBezTo>
                <a:cubicBezTo>
                  <a:pt x="904016" y="827770"/>
                  <a:pt x="890310" y="841424"/>
                  <a:pt x="890310" y="858207"/>
                </a:cubicBezTo>
                <a:close/>
                <a:moveTo>
                  <a:pt x="949702" y="858207"/>
                </a:moveTo>
                <a:cubicBezTo>
                  <a:pt x="949702" y="874990"/>
                  <a:pt x="963408" y="888644"/>
                  <a:pt x="980255" y="888644"/>
                </a:cubicBezTo>
                <a:cubicBezTo>
                  <a:pt x="997101" y="888644"/>
                  <a:pt x="1010807" y="874990"/>
                  <a:pt x="1010807" y="858207"/>
                </a:cubicBezTo>
                <a:cubicBezTo>
                  <a:pt x="1010807" y="841424"/>
                  <a:pt x="997101" y="827770"/>
                  <a:pt x="980255" y="827770"/>
                </a:cubicBezTo>
                <a:cubicBezTo>
                  <a:pt x="963408" y="827770"/>
                  <a:pt x="949702" y="841424"/>
                  <a:pt x="949702" y="858207"/>
                </a:cubicBezTo>
                <a:close/>
                <a:moveTo>
                  <a:pt x="1068391" y="858207"/>
                </a:moveTo>
                <a:cubicBezTo>
                  <a:pt x="1068391" y="874990"/>
                  <a:pt x="1082097" y="888644"/>
                  <a:pt x="1098944" y="888644"/>
                </a:cubicBezTo>
                <a:cubicBezTo>
                  <a:pt x="1115790" y="888644"/>
                  <a:pt x="1129496" y="874990"/>
                  <a:pt x="1129496" y="858207"/>
                </a:cubicBezTo>
                <a:cubicBezTo>
                  <a:pt x="1129496" y="841424"/>
                  <a:pt x="1115790" y="827770"/>
                  <a:pt x="1098944" y="827770"/>
                </a:cubicBezTo>
                <a:cubicBezTo>
                  <a:pt x="1082097" y="827770"/>
                  <a:pt x="1068391" y="841424"/>
                  <a:pt x="1068391" y="858207"/>
                </a:cubicBezTo>
                <a:close/>
                <a:moveTo>
                  <a:pt x="1127783" y="858207"/>
                </a:moveTo>
                <a:cubicBezTo>
                  <a:pt x="1127783" y="874990"/>
                  <a:pt x="1141489" y="888644"/>
                  <a:pt x="1158336" y="888644"/>
                </a:cubicBezTo>
                <a:cubicBezTo>
                  <a:pt x="1175183" y="888644"/>
                  <a:pt x="1188888" y="874990"/>
                  <a:pt x="1188888" y="858207"/>
                </a:cubicBezTo>
                <a:cubicBezTo>
                  <a:pt x="1188888" y="841424"/>
                  <a:pt x="1175183" y="827770"/>
                  <a:pt x="1158336" y="827770"/>
                </a:cubicBezTo>
                <a:cubicBezTo>
                  <a:pt x="1141489" y="827770"/>
                  <a:pt x="1127783" y="841424"/>
                  <a:pt x="1127783" y="858207"/>
                </a:cubicBezTo>
                <a:close/>
                <a:moveTo>
                  <a:pt x="1187080" y="858207"/>
                </a:moveTo>
                <a:cubicBezTo>
                  <a:pt x="1187080" y="874990"/>
                  <a:pt x="1200786" y="888644"/>
                  <a:pt x="1217633" y="888644"/>
                </a:cubicBezTo>
                <a:cubicBezTo>
                  <a:pt x="1234479" y="888644"/>
                  <a:pt x="1248185" y="874990"/>
                  <a:pt x="1248185" y="858207"/>
                </a:cubicBezTo>
                <a:cubicBezTo>
                  <a:pt x="1248185" y="841424"/>
                  <a:pt x="1234479" y="827770"/>
                  <a:pt x="1217633" y="827770"/>
                </a:cubicBezTo>
                <a:cubicBezTo>
                  <a:pt x="1200786" y="827770"/>
                  <a:pt x="1187080" y="841424"/>
                  <a:pt x="1187080" y="858207"/>
                </a:cubicBezTo>
                <a:close/>
                <a:moveTo>
                  <a:pt x="1246472" y="858207"/>
                </a:moveTo>
                <a:cubicBezTo>
                  <a:pt x="1246472" y="874990"/>
                  <a:pt x="1260178" y="888644"/>
                  <a:pt x="1277025" y="888644"/>
                </a:cubicBezTo>
                <a:cubicBezTo>
                  <a:pt x="1293872" y="888644"/>
                  <a:pt x="1307577" y="874990"/>
                  <a:pt x="1307577" y="858207"/>
                </a:cubicBezTo>
                <a:cubicBezTo>
                  <a:pt x="1307577" y="841424"/>
                  <a:pt x="1293872" y="827770"/>
                  <a:pt x="1277025" y="827770"/>
                </a:cubicBezTo>
                <a:cubicBezTo>
                  <a:pt x="1260178" y="827770"/>
                  <a:pt x="1246472" y="841424"/>
                  <a:pt x="1246472" y="858207"/>
                </a:cubicBezTo>
                <a:close/>
                <a:moveTo>
                  <a:pt x="1365161" y="858207"/>
                </a:moveTo>
                <a:cubicBezTo>
                  <a:pt x="1365161" y="874990"/>
                  <a:pt x="1378867" y="888644"/>
                  <a:pt x="1395714" y="888644"/>
                </a:cubicBezTo>
                <a:cubicBezTo>
                  <a:pt x="1412561" y="888644"/>
                  <a:pt x="1426266" y="874990"/>
                  <a:pt x="1426266" y="858207"/>
                </a:cubicBezTo>
                <a:cubicBezTo>
                  <a:pt x="1426266" y="841424"/>
                  <a:pt x="1412561" y="827770"/>
                  <a:pt x="1395714" y="827770"/>
                </a:cubicBezTo>
                <a:cubicBezTo>
                  <a:pt x="1378867" y="827770"/>
                  <a:pt x="1365161" y="841424"/>
                  <a:pt x="1365161" y="858207"/>
                </a:cubicBezTo>
                <a:close/>
                <a:moveTo>
                  <a:pt x="1424553" y="858207"/>
                </a:moveTo>
                <a:cubicBezTo>
                  <a:pt x="1424553" y="874990"/>
                  <a:pt x="1438259" y="888644"/>
                  <a:pt x="1455106" y="888644"/>
                </a:cubicBezTo>
                <a:cubicBezTo>
                  <a:pt x="1471953" y="888644"/>
                  <a:pt x="1485658" y="874990"/>
                  <a:pt x="1485658" y="858207"/>
                </a:cubicBezTo>
                <a:cubicBezTo>
                  <a:pt x="1485658" y="841424"/>
                  <a:pt x="1471953" y="827770"/>
                  <a:pt x="1455106" y="827770"/>
                </a:cubicBezTo>
                <a:cubicBezTo>
                  <a:pt x="1438259" y="827770"/>
                  <a:pt x="1424553" y="841424"/>
                  <a:pt x="1424553" y="858207"/>
                </a:cubicBezTo>
                <a:close/>
                <a:moveTo>
                  <a:pt x="95" y="917374"/>
                </a:moveTo>
                <a:cubicBezTo>
                  <a:pt x="95" y="934157"/>
                  <a:pt x="13801" y="947811"/>
                  <a:pt x="30648" y="947811"/>
                </a:cubicBezTo>
                <a:cubicBezTo>
                  <a:pt x="47495" y="947811"/>
                  <a:pt x="61200" y="934157"/>
                  <a:pt x="61200" y="917374"/>
                </a:cubicBezTo>
                <a:cubicBezTo>
                  <a:pt x="61200" y="900591"/>
                  <a:pt x="47495" y="886937"/>
                  <a:pt x="30648" y="886937"/>
                </a:cubicBezTo>
                <a:cubicBezTo>
                  <a:pt x="13801" y="886937"/>
                  <a:pt x="95" y="900591"/>
                  <a:pt x="95" y="917374"/>
                </a:cubicBezTo>
                <a:close/>
                <a:moveTo>
                  <a:pt x="593635" y="917374"/>
                </a:moveTo>
                <a:cubicBezTo>
                  <a:pt x="593635" y="934157"/>
                  <a:pt x="607341" y="947811"/>
                  <a:pt x="624188" y="947811"/>
                </a:cubicBezTo>
                <a:cubicBezTo>
                  <a:pt x="641035" y="947811"/>
                  <a:pt x="654740" y="934157"/>
                  <a:pt x="654740" y="917374"/>
                </a:cubicBezTo>
                <a:cubicBezTo>
                  <a:pt x="654740" y="900591"/>
                  <a:pt x="641035" y="886937"/>
                  <a:pt x="624188" y="886937"/>
                </a:cubicBezTo>
                <a:cubicBezTo>
                  <a:pt x="607341" y="886937"/>
                  <a:pt x="593635" y="900591"/>
                  <a:pt x="593635" y="917374"/>
                </a:cubicBezTo>
                <a:close/>
                <a:moveTo>
                  <a:pt x="712324" y="917374"/>
                </a:moveTo>
                <a:cubicBezTo>
                  <a:pt x="712324" y="934157"/>
                  <a:pt x="726030" y="947811"/>
                  <a:pt x="742877" y="947811"/>
                </a:cubicBezTo>
                <a:cubicBezTo>
                  <a:pt x="759724" y="947811"/>
                  <a:pt x="773429" y="934157"/>
                  <a:pt x="773429" y="917374"/>
                </a:cubicBezTo>
                <a:cubicBezTo>
                  <a:pt x="773429" y="900591"/>
                  <a:pt x="759724" y="886937"/>
                  <a:pt x="742877" y="886937"/>
                </a:cubicBezTo>
                <a:cubicBezTo>
                  <a:pt x="726030" y="886937"/>
                  <a:pt x="712324" y="900591"/>
                  <a:pt x="712324" y="917374"/>
                </a:cubicBezTo>
                <a:close/>
                <a:moveTo>
                  <a:pt x="771621" y="917374"/>
                </a:moveTo>
                <a:cubicBezTo>
                  <a:pt x="771621" y="934157"/>
                  <a:pt x="785327" y="947811"/>
                  <a:pt x="802174" y="947811"/>
                </a:cubicBezTo>
                <a:cubicBezTo>
                  <a:pt x="819021" y="947811"/>
                  <a:pt x="832726" y="934157"/>
                  <a:pt x="832726" y="917374"/>
                </a:cubicBezTo>
                <a:cubicBezTo>
                  <a:pt x="832726" y="900591"/>
                  <a:pt x="819021" y="886937"/>
                  <a:pt x="802174" y="886937"/>
                </a:cubicBezTo>
                <a:cubicBezTo>
                  <a:pt x="785327" y="886937"/>
                  <a:pt x="771621" y="900591"/>
                  <a:pt x="771621" y="917374"/>
                </a:cubicBezTo>
                <a:close/>
                <a:moveTo>
                  <a:pt x="890310" y="917374"/>
                </a:moveTo>
                <a:cubicBezTo>
                  <a:pt x="890310" y="934157"/>
                  <a:pt x="904016" y="947811"/>
                  <a:pt x="920863" y="947811"/>
                </a:cubicBezTo>
                <a:cubicBezTo>
                  <a:pt x="937709" y="947811"/>
                  <a:pt x="951415" y="934157"/>
                  <a:pt x="951415" y="917374"/>
                </a:cubicBezTo>
                <a:cubicBezTo>
                  <a:pt x="951415" y="900591"/>
                  <a:pt x="937709" y="886937"/>
                  <a:pt x="920863" y="886937"/>
                </a:cubicBezTo>
                <a:cubicBezTo>
                  <a:pt x="904016" y="886937"/>
                  <a:pt x="890310" y="900591"/>
                  <a:pt x="890310" y="917374"/>
                </a:cubicBezTo>
                <a:close/>
                <a:moveTo>
                  <a:pt x="949702" y="917374"/>
                </a:moveTo>
                <a:cubicBezTo>
                  <a:pt x="949702" y="934157"/>
                  <a:pt x="963408" y="947811"/>
                  <a:pt x="980255" y="947811"/>
                </a:cubicBezTo>
                <a:cubicBezTo>
                  <a:pt x="997101" y="947811"/>
                  <a:pt x="1010807" y="934157"/>
                  <a:pt x="1010807" y="917374"/>
                </a:cubicBezTo>
                <a:cubicBezTo>
                  <a:pt x="1010807" y="900591"/>
                  <a:pt x="997101" y="886937"/>
                  <a:pt x="980255" y="886937"/>
                </a:cubicBezTo>
                <a:cubicBezTo>
                  <a:pt x="963408" y="886937"/>
                  <a:pt x="949702" y="900591"/>
                  <a:pt x="949702" y="917374"/>
                </a:cubicBezTo>
                <a:close/>
                <a:moveTo>
                  <a:pt x="1127783" y="917374"/>
                </a:moveTo>
                <a:cubicBezTo>
                  <a:pt x="1127783" y="934157"/>
                  <a:pt x="1141489" y="947811"/>
                  <a:pt x="1158336" y="947811"/>
                </a:cubicBezTo>
                <a:cubicBezTo>
                  <a:pt x="1175183" y="947811"/>
                  <a:pt x="1188888" y="934157"/>
                  <a:pt x="1188888" y="917374"/>
                </a:cubicBezTo>
                <a:cubicBezTo>
                  <a:pt x="1188888" y="900591"/>
                  <a:pt x="1175183" y="886937"/>
                  <a:pt x="1158336" y="886937"/>
                </a:cubicBezTo>
                <a:cubicBezTo>
                  <a:pt x="1141489" y="886937"/>
                  <a:pt x="1127783" y="900591"/>
                  <a:pt x="1127783" y="917374"/>
                </a:cubicBezTo>
                <a:close/>
                <a:moveTo>
                  <a:pt x="1187080" y="917374"/>
                </a:moveTo>
                <a:cubicBezTo>
                  <a:pt x="1187080" y="934157"/>
                  <a:pt x="1200786" y="947811"/>
                  <a:pt x="1217633" y="947811"/>
                </a:cubicBezTo>
                <a:cubicBezTo>
                  <a:pt x="1234479" y="947811"/>
                  <a:pt x="1248185" y="934157"/>
                  <a:pt x="1248185" y="917374"/>
                </a:cubicBezTo>
                <a:cubicBezTo>
                  <a:pt x="1248185" y="900591"/>
                  <a:pt x="1234479" y="886937"/>
                  <a:pt x="1217633" y="886937"/>
                </a:cubicBezTo>
                <a:cubicBezTo>
                  <a:pt x="1200786" y="886937"/>
                  <a:pt x="1187080" y="900591"/>
                  <a:pt x="1187080" y="917374"/>
                </a:cubicBezTo>
                <a:close/>
                <a:moveTo>
                  <a:pt x="1424553" y="917374"/>
                </a:moveTo>
                <a:cubicBezTo>
                  <a:pt x="1424553" y="934157"/>
                  <a:pt x="1438259" y="947811"/>
                  <a:pt x="1455106" y="947811"/>
                </a:cubicBezTo>
                <a:cubicBezTo>
                  <a:pt x="1471953" y="947811"/>
                  <a:pt x="1485658" y="934157"/>
                  <a:pt x="1485658" y="917374"/>
                </a:cubicBezTo>
                <a:cubicBezTo>
                  <a:pt x="1485658" y="900591"/>
                  <a:pt x="1471953" y="886937"/>
                  <a:pt x="1455106" y="886937"/>
                </a:cubicBezTo>
                <a:cubicBezTo>
                  <a:pt x="1438259" y="886937"/>
                  <a:pt x="1424553" y="900591"/>
                  <a:pt x="1424553" y="917374"/>
                </a:cubicBezTo>
                <a:close/>
                <a:moveTo>
                  <a:pt x="95" y="976446"/>
                </a:moveTo>
                <a:cubicBezTo>
                  <a:pt x="95" y="993229"/>
                  <a:pt x="13801" y="1006883"/>
                  <a:pt x="30648" y="1006883"/>
                </a:cubicBezTo>
                <a:cubicBezTo>
                  <a:pt x="47495" y="1006883"/>
                  <a:pt x="61200" y="993229"/>
                  <a:pt x="61200" y="976446"/>
                </a:cubicBezTo>
                <a:cubicBezTo>
                  <a:pt x="61200" y="959663"/>
                  <a:pt x="47495" y="946009"/>
                  <a:pt x="30648" y="946009"/>
                </a:cubicBezTo>
                <a:cubicBezTo>
                  <a:pt x="13801" y="946009"/>
                  <a:pt x="95" y="959663"/>
                  <a:pt x="95" y="976446"/>
                </a:cubicBezTo>
                <a:close/>
                <a:moveTo>
                  <a:pt x="178081" y="976446"/>
                </a:moveTo>
                <a:cubicBezTo>
                  <a:pt x="178081" y="993229"/>
                  <a:pt x="191787" y="1006883"/>
                  <a:pt x="208634" y="1006883"/>
                </a:cubicBezTo>
                <a:cubicBezTo>
                  <a:pt x="225480" y="1006883"/>
                  <a:pt x="239186" y="993229"/>
                  <a:pt x="239186" y="976446"/>
                </a:cubicBezTo>
                <a:cubicBezTo>
                  <a:pt x="239186" y="959663"/>
                  <a:pt x="225480" y="946009"/>
                  <a:pt x="208634" y="946009"/>
                </a:cubicBezTo>
                <a:cubicBezTo>
                  <a:pt x="191787" y="946009"/>
                  <a:pt x="178081" y="959663"/>
                  <a:pt x="178081" y="976446"/>
                </a:cubicBezTo>
                <a:close/>
                <a:moveTo>
                  <a:pt x="356162" y="976446"/>
                </a:moveTo>
                <a:cubicBezTo>
                  <a:pt x="356162" y="993229"/>
                  <a:pt x="369868" y="1006883"/>
                  <a:pt x="386715" y="1006883"/>
                </a:cubicBezTo>
                <a:cubicBezTo>
                  <a:pt x="403562" y="1006883"/>
                  <a:pt x="417267" y="993229"/>
                  <a:pt x="417267" y="976446"/>
                </a:cubicBezTo>
                <a:cubicBezTo>
                  <a:pt x="417267" y="959663"/>
                  <a:pt x="403562" y="946009"/>
                  <a:pt x="386715" y="946009"/>
                </a:cubicBezTo>
                <a:cubicBezTo>
                  <a:pt x="369868" y="946009"/>
                  <a:pt x="356162" y="959663"/>
                  <a:pt x="356162" y="976446"/>
                </a:cubicBezTo>
                <a:close/>
                <a:moveTo>
                  <a:pt x="415554" y="976446"/>
                </a:moveTo>
                <a:cubicBezTo>
                  <a:pt x="415554" y="993229"/>
                  <a:pt x="429260" y="1006883"/>
                  <a:pt x="446107" y="1006883"/>
                </a:cubicBezTo>
                <a:cubicBezTo>
                  <a:pt x="462954" y="1006883"/>
                  <a:pt x="476659" y="993229"/>
                  <a:pt x="476659" y="976446"/>
                </a:cubicBezTo>
                <a:cubicBezTo>
                  <a:pt x="476659" y="959663"/>
                  <a:pt x="462954" y="946009"/>
                  <a:pt x="446107" y="946009"/>
                </a:cubicBezTo>
                <a:cubicBezTo>
                  <a:pt x="429260" y="946009"/>
                  <a:pt x="415554" y="959663"/>
                  <a:pt x="415554" y="976446"/>
                </a:cubicBezTo>
                <a:close/>
                <a:moveTo>
                  <a:pt x="534243" y="976446"/>
                </a:moveTo>
                <a:cubicBezTo>
                  <a:pt x="534243" y="993229"/>
                  <a:pt x="547949" y="1006883"/>
                  <a:pt x="564796" y="1006883"/>
                </a:cubicBezTo>
                <a:cubicBezTo>
                  <a:pt x="581643" y="1006883"/>
                  <a:pt x="595348" y="993229"/>
                  <a:pt x="595348" y="976446"/>
                </a:cubicBezTo>
                <a:cubicBezTo>
                  <a:pt x="595348" y="959663"/>
                  <a:pt x="581643" y="946009"/>
                  <a:pt x="564796" y="946009"/>
                </a:cubicBezTo>
                <a:cubicBezTo>
                  <a:pt x="547949" y="946009"/>
                  <a:pt x="534243" y="959663"/>
                  <a:pt x="534243" y="976446"/>
                </a:cubicBezTo>
                <a:close/>
                <a:moveTo>
                  <a:pt x="593635" y="976446"/>
                </a:moveTo>
                <a:cubicBezTo>
                  <a:pt x="593635" y="993229"/>
                  <a:pt x="607341" y="1006883"/>
                  <a:pt x="624188" y="1006883"/>
                </a:cubicBezTo>
                <a:cubicBezTo>
                  <a:pt x="641035" y="1006883"/>
                  <a:pt x="654740" y="993229"/>
                  <a:pt x="654740" y="976446"/>
                </a:cubicBezTo>
                <a:cubicBezTo>
                  <a:pt x="654740" y="959663"/>
                  <a:pt x="641035" y="946009"/>
                  <a:pt x="624188" y="946009"/>
                </a:cubicBezTo>
                <a:cubicBezTo>
                  <a:pt x="607341" y="946009"/>
                  <a:pt x="593635" y="959663"/>
                  <a:pt x="593635" y="976446"/>
                </a:cubicBezTo>
                <a:close/>
                <a:moveTo>
                  <a:pt x="712324" y="976446"/>
                </a:moveTo>
                <a:cubicBezTo>
                  <a:pt x="712324" y="993229"/>
                  <a:pt x="726030" y="1006883"/>
                  <a:pt x="742877" y="1006883"/>
                </a:cubicBezTo>
                <a:cubicBezTo>
                  <a:pt x="759724" y="1006883"/>
                  <a:pt x="773429" y="993229"/>
                  <a:pt x="773429" y="976446"/>
                </a:cubicBezTo>
                <a:cubicBezTo>
                  <a:pt x="773429" y="959663"/>
                  <a:pt x="759724" y="946009"/>
                  <a:pt x="742877" y="946009"/>
                </a:cubicBezTo>
                <a:cubicBezTo>
                  <a:pt x="726030" y="946009"/>
                  <a:pt x="712324" y="959663"/>
                  <a:pt x="712324" y="976446"/>
                </a:cubicBezTo>
                <a:close/>
                <a:moveTo>
                  <a:pt x="831013" y="976446"/>
                </a:moveTo>
                <a:cubicBezTo>
                  <a:pt x="831013" y="993229"/>
                  <a:pt x="844719" y="1006883"/>
                  <a:pt x="861566" y="1006883"/>
                </a:cubicBezTo>
                <a:cubicBezTo>
                  <a:pt x="878413" y="1006883"/>
                  <a:pt x="892118" y="993229"/>
                  <a:pt x="892118" y="976446"/>
                </a:cubicBezTo>
                <a:cubicBezTo>
                  <a:pt x="892118" y="959663"/>
                  <a:pt x="878413" y="946009"/>
                  <a:pt x="861566" y="946009"/>
                </a:cubicBezTo>
                <a:cubicBezTo>
                  <a:pt x="844719" y="946009"/>
                  <a:pt x="831013" y="959663"/>
                  <a:pt x="831013" y="976446"/>
                </a:cubicBezTo>
                <a:close/>
                <a:moveTo>
                  <a:pt x="890310" y="976446"/>
                </a:moveTo>
                <a:cubicBezTo>
                  <a:pt x="890310" y="993229"/>
                  <a:pt x="904016" y="1006883"/>
                  <a:pt x="920863" y="1006883"/>
                </a:cubicBezTo>
                <a:cubicBezTo>
                  <a:pt x="937709" y="1006883"/>
                  <a:pt x="951415" y="993229"/>
                  <a:pt x="951415" y="976446"/>
                </a:cubicBezTo>
                <a:cubicBezTo>
                  <a:pt x="951415" y="959663"/>
                  <a:pt x="937709" y="946009"/>
                  <a:pt x="920863" y="946009"/>
                </a:cubicBezTo>
                <a:cubicBezTo>
                  <a:pt x="904016" y="946009"/>
                  <a:pt x="890310" y="959663"/>
                  <a:pt x="890310" y="976446"/>
                </a:cubicBezTo>
                <a:close/>
                <a:moveTo>
                  <a:pt x="949702" y="976446"/>
                </a:moveTo>
                <a:cubicBezTo>
                  <a:pt x="949702" y="993229"/>
                  <a:pt x="963408" y="1006883"/>
                  <a:pt x="980255" y="1006883"/>
                </a:cubicBezTo>
                <a:cubicBezTo>
                  <a:pt x="997101" y="1006883"/>
                  <a:pt x="1010807" y="993229"/>
                  <a:pt x="1010807" y="976446"/>
                </a:cubicBezTo>
                <a:cubicBezTo>
                  <a:pt x="1010807" y="959663"/>
                  <a:pt x="997101" y="946009"/>
                  <a:pt x="980255" y="946009"/>
                </a:cubicBezTo>
                <a:cubicBezTo>
                  <a:pt x="963408" y="946009"/>
                  <a:pt x="949702" y="959663"/>
                  <a:pt x="949702" y="976446"/>
                </a:cubicBezTo>
                <a:close/>
                <a:moveTo>
                  <a:pt x="1009094" y="976446"/>
                </a:moveTo>
                <a:cubicBezTo>
                  <a:pt x="1009094" y="993229"/>
                  <a:pt x="1022800" y="1006883"/>
                  <a:pt x="1039647" y="1006883"/>
                </a:cubicBezTo>
                <a:cubicBezTo>
                  <a:pt x="1056494" y="1006883"/>
                  <a:pt x="1070199" y="993229"/>
                  <a:pt x="1070199" y="976446"/>
                </a:cubicBezTo>
                <a:cubicBezTo>
                  <a:pt x="1070199" y="959663"/>
                  <a:pt x="1056494" y="946009"/>
                  <a:pt x="1039647" y="946009"/>
                </a:cubicBezTo>
                <a:cubicBezTo>
                  <a:pt x="1022800" y="946009"/>
                  <a:pt x="1009094" y="959663"/>
                  <a:pt x="1009094" y="976446"/>
                </a:cubicBezTo>
                <a:close/>
                <a:moveTo>
                  <a:pt x="1068391" y="976446"/>
                </a:moveTo>
                <a:cubicBezTo>
                  <a:pt x="1068391" y="993229"/>
                  <a:pt x="1082097" y="1006883"/>
                  <a:pt x="1098944" y="1006883"/>
                </a:cubicBezTo>
                <a:cubicBezTo>
                  <a:pt x="1115790" y="1006883"/>
                  <a:pt x="1129496" y="993229"/>
                  <a:pt x="1129496" y="976446"/>
                </a:cubicBezTo>
                <a:cubicBezTo>
                  <a:pt x="1129496" y="959663"/>
                  <a:pt x="1115790" y="946009"/>
                  <a:pt x="1098944" y="946009"/>
                </a:cubicBezTo>
                <a:cubicBezTo>
                  <a:pt x="1082097" y="946009"/>
                  <a:pt x="1068391" y="959663"/>
                  <a:pt x="1068391" y="976446"/>
                </a:cubicBezTo>
                <a:close/>
                <a:moveTo>
                  <a:pt x="1127783" y="976446"/>
                </a:moveTo>
                <a:cubicBezTo>
                  <a:pt x="1127783" y="993229"/>
                  <a:pt x="1141489" y="1006883"/>
                  <a:pt x="1158336" y="1006883"/>
                </a:cubicBezTo>
                <a:cubicBezTo>
                  <a:pt x="1175183" y="1006883"/>
                  <a:pt x="1188888" y="993229"/>
                  <a:pt x="1188888" y="976446"/>
                </a:cubicBezTo>
                <a:cubicBezTo>
                  <a:pt x="1188888" y="959663"/>
                  <a:pt x="1175183" y="946009"/>
                  <a:pt x="1158336" y="946009"/>
                </a:cubicBezTo>
                <a:cubicBezTo>
                  <a:pt x="1141489" y="946009"/>
                  <a:pt x="1127783" y="959663"/>
                  <a:pt x="1127783" y="976446"/>
                </a:cubicBezTo>
                <a:close/>
                <a:moveTo>
                  <a:pt x="1187080" y="976446"/>
                </a:moveTo>
                <a:cubicBezTo>
                  <a:pt x="1187080" y="993229"/>
                  <a:pt x="1200786" y="1006883"/>
                  <a:pt x="1217633" y="1006883"/>
                </a:cubicBezTo>
                <a:cubicBezTo>
                  <a:pt x="1234479" y="1006883"/>
                  <a:pt x="1248185" y="993229"/>
                  <a:pt x="1248185" y="976446"/>
                </a:cubicBezTo>
                <a:cubicBezTo>
                  <a:pt x="1248185" y="959663"/>
                  <a:pt x="1234479" y="946009"/>
                  <a:pt x="1217633" y="946009"/>
                </a:cubicBezTo>
                <a:cubicBezTo>
                  <a:pt x="1200786" y="946009"/>
                  <a:pt x="1187080" y="959663"/>
                  <a:pt x="1187080" y="976446"/>
                </a:cubicBezTo>
                <a:close/>
                <a:moveTo>
                  <a:pt x="1305769" y="976446"/>
                </a:moveTo>
                <a:cubicBezTo>
                  <a:pt x="1305769" y="993229"/>
                  <a:pt x="1319475" y="1006883"/>
                  <a:pt x="1336322" y="1006883"/>
                </a:cubicBezTo>
                <a:cubicBezTo>
                  <a:pt x="1353168" y="1006883"/>
                  <a:pt x="1366874" y="993229"/>
                  <a:pt x="1366874" y="976446"/>
                </a:cubicBezTo>
                <a:cubicBezTo>
                  <a:pt x="1366874" y="959663"/>
                  <a:pt x="1353168" y="946009"/>
                  <a:pt x="1336322" y="946009"/>
                </a:cubicBezTo>
                <a:cubicBezTo>
                  <a:pt x="1319475" y="946009"/>
                  <a:pt x="1305769" y="959663"/>
                  <a:pt x="1305769" y="976446"/>
                </a:cubicBezTo>
                <a:close/>
                <a:moveTo>
                  <a:pt x="474851" y="1035613"/>
                </a:moveTo>
                <a:cubicBezTo>
                  <a:pt x="474851" y="1052396"/>
                  <a:pt x="488557" y="1066050"/>
                  <a:pt x="505404" y="1066050"/>
                </a:cubicBezTo>
                <a:cubicBezTo>
                  <a:pt x="522250" y="1066050"/>
                  <a:pt x="535956" y="1052396"/>
                  <a:pt x="535956" y="1035613"/>
                </a:cubicBezTo>
                <a:cubicBezTo>
                  <a:pt x="535956" y="1018830"/>
                  <a:pt x="522250" y="1005176"/>
                  <a:pt x="505404" y="1005176"/>
                </a:cubicBezTo>
                <a:cubicBezTo>
                  <a:pt x="488557" y="1005176"/>
                  <a:pt x="474851" y="1018830"/>
                  <a:pt x="474851" y="1035613"/>
                </a:cubicBezTo>
                <a:close/>
                <a:moveTo>
                  <a:pt x="534243" y="1035613"/>
                </a:moveTo>
                <a:cubicBezTo>
                  <a:pt x="534243" y="1052396"/>
                  <a:pt x="547949" y="1066050"/>
                  <a:pt x="564796" y="1066050"/>
                </a:cubicBezTo>
                <a:cubicBezTo>
                  <a:pt x="581643" y="1066050"/>
                  <a:pt x="595348" y="1052396"/>
                  <a:pt x="595348" y="1035613"/>
                </a:cubicBezTo>
                <a:cubicBezTo>
                  <a:pt x="595348" y="1018830"/>
                  <a:pt x="581643" y="1005176"/>
                  <a:pt x="564796" y="1005176"/>
                </a:cubicBezTo>
                <a:cubicBezTo>
                  <a:pt x="547949" y="1005176"/>
                  <a:pt x="534243" y="1018830"/>
                  <a:pt x="534243" y="1035613"/>
                </a:cubicBezTo>
                <a:close/>
                <a:moveTo>
                  <a:pt x="593635" y="1035613"/>
                </a:moveTo>
                <a:cubicBezTo>
                  <a:pt x="593635" y="1052396"/>
                  <a:pt x="607341" y="1066050"/>
                  <a:pt x="624188" y="1066050"/>
                </a:cubicBezTo>
                <a:cubicBezTo>
                  <a:pt x="641035" y="1066050"/>
                  <a:pt x="654740" y="1052396"/>
                  <a:pt x="654740" y="1035613"/>
                </a:cubicBezTo>
                <a:cubicBezTo>
                  <a:pt x="654740" y="1018830"/>
                  <a:pt x="641035" y="1005176"/>
                  <a:pt x="624188" y="1005176"/>
                </a:cubicBezTo>
                <a:cubicBezTo>
                  <a:pt x="607341" y="1005176"/>
                  <a:pt x="593635" y="1018830"/>
                  <a:pt x="593635" y="1035613"/>
                </a:cubicBezTo>
                <a:close/>
                <a:moveTo>
                  <a:pt x="890310" y="1035613"/>
                </a:moveTo>
                <a:cubicBezTo>
                  <a:pt x="890310" y="1052396"/>
                  <a:pt x="904016" y="1066050"/>
                  <a:pt x="920863" y="1066050"/>
                </a:cubicBezTo>
                <a:cubicBezTo>
                  <a:pt x="937709" y="1066050"/>
                  <a:pt x="951415" y="1052396"/>
                  <a:pt x="951415" y="1035613"/>
                </a:cubicBezTo>
                <a:cubicBezTo>
                  <a:pt x="951415" y="1018830"/>
                  <a:pt x="937709" y="1005176"/>
                  <a:pt x="920863" y="1005176"/>
                </a:cubicBezTo>
                <a:cubicBezTo>
                  <a:pt x="904016" y="1005176"/>
                  <a:pt x="890310" y="1018830"/>
                  <a:pt x="890310" y="1035613"/>
                </a:cubicBezTo>
                <a:close/>
                <a:moveTo>
                  <a:pt x="949702" y="1035613"/>
                </a:moveTo>
                <a:cubicBezTo>
                  <a:pt x="949702" y="1052396"/>
                  <a:pt x="963408" y="1066050"/>
                  <a:pt x="980255" y="1066050"/>
                </a:cubicBezTo>
                <a:cubicBezTo>
                  <a:pt x="997101" y="1066050"/>
                  <a:pt x="1010807" y="1052396"/>
                  <a:pt x="1010807" y="1035613"/>
                </a:cubicBezTo>
                <a:cubicBezTo>
                  <a:pt x="1010807" y="1018830"/>
                  <a:pt x="997101" y="1005176"/>
                  <a:pt x="980255" y="1005176"/>
                </a:cubicBezTo>
                <a:cubicBezTo>
                  <a:pt x="963408" y="1005176"/>
                  <a:pt x="949702" y="1018830"/>
                  <a:pt x="949702" y="1035613"/>
                </a:cubicBezTo>
                <a:close/>
                <a:moveTo>
                  <a:pt x="1187080" y="1035613"/>
                </a:moveTo>
                <a:cubicBezTo>
                  <a:pt x="1187080" y="1052396"/>
                  <a:pt x="1200786" y="1066050"/>
                  <a:pt x="1217633" y="1066050"/>
                </a:cubicBezTo>
                <a:cubicBezTo>
                  <a:pt x="1234479" y="1066050"/>
                  <a:pt x="1248185" y="1052396"/>
                  <a:pt x="1248185" y="1035613"/>
                </a:cubicBezTo>
                <a:cubicBezTo>
                  <a:pt x="1248185" y="1018830"/>
                  <a:pt x="1234479" y="1005176"/>
                  <a:pt x="1217633" y="1005176"/>
                </a:cubicBezTo>
                <a:cubicBezTo>
                  <a:pt x="1200786" y="1005176"/>
                  <a:pt x="1187080" y="1018830"/>
                  <a:pt x="1187080" y="1035613"/>
                </a:cubicBezTo>
                <a:close/>
                <a:moveTo>
                  <a:pt x="1246472" y="1035613"/>
                </a:moveTo>
                <a:cubicBezTo>
                  <a:pt x="1246472" y="1052396"/>
                  <a:pt x="1260178" y="1066050"/>
                  <a:pt x="1277025" y="1066050"/>
                </a:cubicBezTo>
                <a:cubicBezTo>
                  <a:pt x="1293872" y="1066050"/>
                  <a:pt x="1307577" y="1052396"/>
                  <a:pt x="1307577" y="1035613"/>
                </a:cubicBezTo>
                <a:cubicBezTo>
                  <a:pt x="1307577" y="1018830"/>
                  <a:pt x="1293872" y="1005176"/>
                  <a:pt x="1277025" y="1005176"/>
                </a:cubicBezTo>
                <a:cubicBezTo>
                  <a:pt x="1260178" y="1005176"/>
                  <a:pt x="1246472" y="1018830"/>
                  <a:pt x="1246472" y="1035613"/>
                </a:cubicBezTo>
                <a:close/>
                <a:moveTo>
                  <a:pt x="652932" y="1094685"/>
                </a:moveTo>
                <a:cubicBezTo>
                  <a:pt x="652932" y="1111468"/>
                  <a:pt x="666638" y="1125122"/>
                  <a:pt x="683485" y="1125122"/>
                </a:cubicBezTo>
                <a:cubicBezTo>
                  <a:pt x="700332" y="1125122"/>
                  <a:pt x="714037" y="1111468"/>
                  <a:pt x="714037" y="1094685"/>
                </a:cubicBezTo>
                <a:cubicBezTo>
                  <a:pt x="714037" y="1077902"/>
                  <a:pt x="700332" y="1064249"/>
                  <a:pt x="683485" y="1064249"/>
                </a:cubicBezTo>
                <a:cubicBezTo>
                  <a:pt x="666638" y="1064249"/>
                  <a:pt x="652932" y="1077902"/>
                  <a:pt x="652932" y="1094685"/>
                </a:cubicBezTo>
                <a:close/>
                <a:moveTo>
                  <a:pt x="712324" y="1094685"/>
                </a:moveTo>
                <a:cubicBezTo>
                  <a:pt x="712324" y="1111468"/>
                  <a:pt x="726030" y="1125122"/>
                  <a:pt x="742877" y="1125122"/>
                </a:cubicBezTo>
                <a:cubicBezTo>
                  <a:pt x="759724" y="1125122"/>
                  <a:pt x="773429" y="1111468"/>
                  <a:pt x="773429" y="1094685"/>
                </a:cubicBezTo>
                <a:cubicBezTo>
                  <a:pt x="773429" y="1077902"/>
                  <a:pt x="759724" y="1064249"/>
                  <a:pt x="742877" y="1064249"/>
                </a:cubicBezTo>
                <a:cubicBezTo>
                  <a:pt x="726030" y="1064249"/>
                  <a:pt x="712324" y="1077902"/>
                  <a:pt x="712324" y="1094685"/>
                </a:cubicBezTo>
                <a:close/>
                <a:moveTo>
                  <a:pt x="949702" y="1094685"/>
                </a:moveTo>
                <a:cubicBezTo>
                  <a:pt x="949702" y="1111468"/>
                  <a:pt x="963408" y="1125122"/>
                  <a:pt x="980255" y="1125122"/>
                </a:cubicBezTo>
                <a:cubicBezTo>
                  <a:pt x="997101" y="1125122"/>
                  <a:pt x="1010807" y="1111468"/>
                  <a:pt x="1010807" y="1094685"/>
                </a:cubicBezTo>
                <a:cubicBezTo>
                  <a:pt x="1010807" y="1077902"/>
                  <a:pt x="997101" y="1064249"/>
                  <a:pt x="980255" y="1064249"/>
                </a:cubicBezTo>
                <a:cubicBezTo>
                  <a:pt x="963408" y="1064249"/>
                  <a:pt x="949702" y="1077902"/>
                  <a:pt x="949702" y="1094685"/>
                </a:cubicBezTo>
                <a:close/>
                <a:moveTo>
                  <a:pt x="1068391" y="1094685"/>
                </a:moveTo>
                <a:cubicBezTo>
                  <a:pt x="1068391" y="1111468"/>
                  <a:pt x="1082097" y="1125122"/>
                  <a:pt x="1098944" y="1125122"/>
                </a:cubicBezTo>
                <a:cubicBezTo>
                  <a:pt x="1115790" y="1125122"/>
                  <a:pt x="1129496" y="1111468"/>
                  <a:pt x="1129496" y="1094685"/>
                </a:cubicBezTo>
                <a:cubicBezTo>
                  <a:pt x="1129496" y="1077902"/>
                  <a:pt x="1115790" y="1064249"/>
                  <a:pt x="1098944" y="1064249"/>
                </a:cubicBezTo>
                <a:cubicBezTo>
                  <a:pt x="1082097" y="1064249"/>
                  <a:pt x="1068391" y="1077902"/>
                  <a:pt x="1068391" y="1094685"/>
                </a:cubicBezTo>
                <a:close/>
                <a:moveTo>
                  <a:pt x="1187080" y="1094685"/>
                </a:moveTo>
                <a:cubicBezTo>
                  <a:pt x="1187080" y="1111468"/>
                  <a:pt x="1200786" y="1125122"/>
                  <a:pt x="1217633" y="1125122"/>
                </a:cubicBezTo>
                <a:cubicBezTo>
                  <a:pt x="1234479" y="1125122"/>
                  <a:pt x="1248185" y="1111468"/>
                  <a:pt x="1248185" y="1094685"/>
                </a:cubicBezTo>
                <a:cubicBezTo>
                  <a:pt x="1248185" y="1077902"/>
                  <a:pt x="1234479" y="1064249"/>
                  <a:pt x="1217633" y="1064249"/>
                </a:cubicBezTo>
                <a:cubicBezTo>
                  <a:pt x="1200786" y="1064249"/>
                  <a:pt x="1187080" y="1077902"/>
                  <a:pt x="1187080" y="1094685"/>
                </a:cubicBezTo>
                <a:close/>
                <a:moveTo>
                  <a:pt x="1305769" y="1094685"/>
                </a:moveTo>
                <a:cubicBezTo>
                  <a:pt x="1305769" y="1111468"/>
                  <a:pt x="1319475" y="1125122"/>
                  <a:pt x="1336322" y="1125122"/>
                </a:cubicBezTo>
                <a:cubicBezTo>
                  <a:pt x="1353168" y="1125122"/>
                  <a:pt x="1366874" y="1111468"/>
                  <a:pt x="1366874" y="1094685"/>
                </a:cubicBezTo>
                <a:cubicBezTo>
                  <a:pt x="1366874" y="1077902"/>
                  <a:pt x="1353168" y="1064249"/>
                  <a:pt x="1336322" y="1064249"/>
                </a:cubicBezTo>
                <a:cubicBezTo>
                  <a:pt x="1319475" y="1064249"/>
                  <a:pt x="1305769" y="1077902"/>
                  <a:pt x="1305769" y="1094685"/>
                </a:cubicBezTo>
                <a:close/>
                <a:moveTo>
                  <a:pt x="1365161" y="1094685"/>
                </a:moveTo>
                <a:cubicBezTo>
                  <a:pt x="1365161" y="1111468"/>
                  <a:pt x="1378867" y="1125122"/>
                  <a:pt x="1395714" y="1125122"/>
                </a:cubicBezTo>
                <a:cubicBezTo>
                  <a:pt x="1412561" y="1125122"/>
                  <a:pt x="1426266" y="1111468"/>
                  <a:pt x="1426266" y="1094685"/>
                </a:cubicBezTo>
                <a:cubicBezTo>
                  <a:pt x="1426266" y="1077902"/>
                  <a:pt x="1412561" y="1064249"/>
                  <a:pt x="1395714" y="1064249"/>
                </a:cubicBezTo>
                <a:cubicBezTo>
                  <a:pt x="1378867" y="1064249"/>
                  <a:pt x="1365161" y="1077902"/>
                  <a:pt x="1365161" y="1094685"/>
                </a:cubicBezTo>
                <a:close/>
                <a:moveTo>
                  <a:pt x="1424553" y="1094685"/>
                </a:moveTo>
                <a:cubicBezTo>
                  <a:pt x="1424553" y="1111468"/>
                  <a:pt x="1438259" y="1125122"/>
                  <a:pt x="1455106" y="1125122"/>
                </a:cubicBezTo>
                <a:cubicBezTo>
                  <a:pt x="1471953" y="1125122"/>
                  <a:pt x="1485658" y="1111468"/>
                  <a:pt x="1485658" y="1094685"/>
                </a:cubicBezTo>
                <a:cubicBezTo>
                  <a:pt x="1485658" y="1077902"/>
                  <a:pt x="1471953" y="1064249"/>
                  <a:pt x="1455106" y="1064249"/>
                </a:cubicBezTo>
                <a:cubicBezTo>
                  <a:pt x="1438259" y="1064249"/>
                  <a:pt x="1424553" y="1077902"/>
                  <a:pt x="1424553" y="1094685"/>
                </a:cubicBezTo>
                <a:close/>
                <a:moveTo>
                  <a:pt x="474851" y="1153853"/>
                </a:moveTo>
                <a:cubicBezTo>
                  <a:pt x="474851" y="1170635"/>
                  <a:pt x="488557" y="1184289"/>
                  <a:pt x="505404" y="1184289"/>
                </a:cubicBezTo>
                <a:cubicBezTo>
                  <a:pt x="522250" y="1184289"/>
                  <a:pt x="535956" y="1170635"/>
                  <a:pt x="535956" y="1153853"/>
                </a:cubicBezTo>
                <a:cubicBezTo>
                  <a:pt x="535956" y="1137070"/>
                  <a:pt x="522250" y="1123416"/>
                  <a:pt x="505404" y="1123416"/>
                </a:cubicBezTo>
                <a:cubicBezTo>
                  <a:pt x="488557" y="1123416"/>
                  <a:pt x="474851" y="1137070"/>
                  <a:pt x="474851" y="1153853"/>
                </a:cubicBezTo>
                <a:close/>
                <a:moveTo>
                  <a:pt x="593635" y="1153853"/>
                </a:moveTo>
                <a:cubicBezTo>
                  <a:pt x="593635" y="1170635"/>
                  <a:pt x="607341" y="1184289"/>
                  <a:pt x="624188" y="1184289"/>
                </a:cubicBezTo>
                <a:cubicBezTo>
                  <a:pt x="641035" y="1184289"/>
                  <a:pt x="654740" y="1170635"/>
                  <a:pt x="654740" y="1153853"/>
                </a:cubicBezTo>
                <a:cubicBezTo>
                  <a:pt x="654740" y="1137070"/>
                  <a:pt x="641035" y="1123416"/>
                  <a:pt x="624188" y="1123416"/>
                </a:cubicBezTo>
                <a:cubicBezTo>
                  <a:pt x="607341" y="1123416"/>
                  <a:pt x="593635" y="1137070"/>
                  <a:pt x="593635" y="1153853"/>
                </a:cubicBezTo>
                <a:close/>
                <a:moveTo>
                  <a:pt x="652932" y="1153853"/>
                </a:moveTo>
                <a:cubicBezTo>
                  <a:pt x="652932" y="1170635"/>
                  <a:pt x="666638" y="1184289"/>
                  <a:pt x="683485" y="1184289"/>
                </a:cubicBezTo>
                <a:cubicBezTo>
                  <a:pt x="700332" y="1184289"/>
                  <a:pt x="714037" y="1170635"/>
                  <a:pt x="714037" y="1153853"/>
                </a:cubicBezTo>
                <a:cubicBezTo>
                  <a:pt x="714037" y="1137070"/>
                  <a:pt x="700332" y="1123416"/>
                  <a:pt x="683485" y="1123416"/>
                </a:cubicBezTo>
                <a:cubicBezTo>
                  <a:pt x="666638" y="1123416"/>
                  <a:pt x="652932" y="1137070"/>
                  <a:pt x="652932" y="1153853"/>
                </a:cubicBezTo>
                <a:close/>
                <a:moveTo>
                  <a:pt x="831013" y="1153853"/>
                </a:moveTo>
                <a:cubicBezTo>
                  <a:pt x="831013" y="1170635"/>
                  <a:pt x="844719" y="1184289"/>
                  <a:pt x="861566" y="1184289"/>
                </a:cubicBezTo>
                <a:cubicBezTo>
                  <a:pt x="878413" y="1184289"/>
                  <a:pt x="892118" y="1170635"/>
                  <a:pt x="892118" y="1153853"/>
                </a:cubicBezTo>
                <a:cubicBezTo>
                  <a:pt x="892118" y="1137070"/>
                  <a:pt x="878413" y="1123416"/>
                  <a:pt x="861566" y="1123416"/>
                </a:cubicBezTo>
                <a:cubicBezTo>
                  <a:pt x="844719" y="1123416"/>
                  <a:pt x="831013" y="1137070"/>
                  <a:pt x="831013" y="1153853"/>
                </a:cubicBezTo>
                <a:close/>
                <a:moveTo>
                  <a:pt x="949702" y="1153853"/>
                </a:moveTo>
                <a:cubicBezTo>
                  <a:pt x="949702" y="1170635"/>
                  <a:pt x="963408" y="1184289"/>
                  <a:pt x="980255" y="1184289"/>
                </a:cubicBezTo>
                <a:cubicBezTo>
                  <a:pt x="997101" y="1184289"/>
                  <a:pt x="1010807" y="1170635"/>
                  <a:pt x="1010807" y="1153853"/>
                </a:cubicBezTo>
                <a:cubicBezTo>
                  <a:pt x="1010807" y="1137070"/>
                  <a:pt x="997101" y="1123416"/>
                  <a:pt x="980255" y="1123416"/>
                </a:cubicBezTo>
                <a:cubicBezTo>
                  <a:pt x="963408" y="1123416"/>
                  <a:pt x="949702" y="1137070"/>
                  <a:pt x="949702" y="1153853"/>
                </a:cubicBezTo>
                <a:close/>
                <a:moveTo>
                  <a:pt x="1187080" y="1153853"/>
                </a:moveTo>
                <a:cubicBezTo>
                  <a:pt x="1187080" y="1170635"/>
                  <a:pt x="1200786" y="1184289"/>
                  <a:pt x="1217633" y="1184289"/>
                </a:cubicBezTo>
                <a:cubicBezTo>
                  <a:pt x="1234479" y="1184289"/>
                  <a:pt x="1248185" y="1170635"/>
                  <a:pt x="1248185" y="1153853"/>
                </a:cubicBezTo>
                <a:cubicBezTo>
                  <a:pt x="1248185" y="1137070"/>
                  <a:pt x="1234479" y="1123416"/>
                  <a:pt x="1217633" y="1123416"/>
                </a:cubicBezTo>
                <a:cubicBezTo>
                  <a:pt x="1200786" y="1123416"/>
                  <a:pt x="1187080" y="1137070"/>
                  <a:pt x="1187080" y="1153853"/>
                </a:cubicBezTo>
                <a:close/>
                <a:moveTo>
                  <a:pt x="1246472" y="1153853"/>
                </a:moveTo>
                <a:cubicBezTo>
                  <a:pt x="1246472" y="1170635"/>
                  <a:pt x="1260178" y="1184289"/>
                  <a:pt x="1277025" y="1184289"/>
                </a:cubicBezTo>
                <a:cubicBezTo>
                  <a:pt x="1293872" y="1184289"/>
                  <a:pt x="1307577" y="1170635"/>
                  <a:pt x="1307577" y="1153853"/>
                </a:cubicBezTo>
                <a:cubicBezTo>
                  <a:pt x="1307577" y="1137070"/>
                  <a:pt x="1293872" y="1123416"/>
                  <a:pt x="1277025" y="1123416"/>
                </a:cubicBezTo>
                <a:cubicBezTo>
                  <a:pt x="1260178" y="1123416"/>
                  <a:pt x="1246472" y="1137070"/>
                  <a:pt x="1246472" y="1153853"/>
                </a:cubicBezTo>
                <a:close/>
                <a:moveTo>
                  <a:pt x="1424553" y="1153853"/>
                </a:moveTo>
                <a:cubicBezTo>
                  <a:pt x="1424553" y="1170635"/>
                  <a:pt x="1438259" y="1184289"/>
                  <a:pt x="1455106" y="1184289"/>
                </a:cubicBezTo>
                <a:cubicBezTo>
                  <a:pt x="1471953" y="1184289"/>
                  <a:pt x="1485658" y="1170635"/>
                  <a:pt x="1485658" y="1153853"/>
                </a:cubicBezTo>
                <a:cubicBezTo>
                  <a:pt x="1485658" y="1137070"/>
                  <a:pt x="1471953" y="1123416"/>
                  <a:pt x="1455106" y="1123416"/>
                </a:cubicBezTo>
                <a:cubicBezTo>
                  <a:pt x="1438259" y="1123416"/>
                  <a:pt x="1424553" y="1137070"/>
                  <a:pt x="1424553" y="1153853"/>
                </a:cubicBezTo>
                <a:close/>
                <a:moveTo>
                  <a:pt x="474851" y="1212925"/>
                </a:moveTo>
                <a:cubicBezTo>
                  <a:pt x="474851" y="1229708"/>
                  <a:pt x="488557" y="1243362"/>
                  <a:pt x="505404" y="1243362"/>
                </a:cubicBezTo>
                <a:cubicBezTo>
                  <a:pt x="522250" y="1243362"/>
                  <a:pt x="535956" y="1229708"/>
                  <a:pt x="535956" y="1212925"/>
                </a:cubicBezTo>
                <a:cubicBezTo>
                  <a:pt x="535956" y="1196142"/>
                  <a:pt x="522250" y="1182488"/>
                  <a:pt x="505404" y="1182488"/>
                </a:cubicBezTo>
                <a:cubicBezTo>
                  <a:pt x="488557" y="1182488"/>
                  <a:pt x="474851" y="1196142"/>
                  <a:pt x="474851" y="1212925"/>
                </a:cubicBezTo>
                <a:close/>
                <a:moveTo>
                  <a:pt x="534243" y="1212925"/>
                </a:moveTo>
                <a:cubicBezTo>
                  <a:pt x="534243" y="1229708"/>
                  <a:pt x="547949" y="1243362"/>
                  <a:pt x="564796" y="1243362"/>
                </a:cubicBezTo>
                <a:cubicBezTo>
                  <a:pt x="581643" y="1243362"/>
                  <a:pt x="595348" y="1229708"/>
                  <a:pt x="595348" y="1212925"/>
                </a:cubicBezTo>
                <a:cubicBezTo>
                  <a:pt x="595348" y="1196142"/>
                  <a:pt x="581643" y="1182488"/>
                  <a:pt x="564796" y="1182488"/>
                </a:cubicBezTo>
                <a:cubicBezTo>
                  <a:pt x="547949" y="1182488"/>
                  <a:pt x="534243" y="1196142"/>
                  <a:pt x="534243" y="1212925"/>
                </a:cubicBezTo>
                <a:close/>
                <a:moveTo>
                  <a:pt x="652932" y="1212925"/>
                </a:moveTo>
                <a:cubicBezTo>
                  <a:pt x="652932" y="1229708"/>
                  <a:pt x="666638" y="1243362"/>
                  <a:pt x="683485" y="1243362"/>
                </a:cubicBezTo>
                <a:cubicBezTo>
                  <a:pt x="700332" y="1243362"/>
                  <a:pt x="714037" y="1229708"/>
                  <a:pt x="714037" y="1212925"/>
                </a:cubicBezTo>
                <a:cubicBezTo>
                  <a:pt x="714037" y="1196142"/>
                  <a:pt x="700332" y="1182488"/>
                  <a:pt x="683485" y="1182488"/>
                </a:cubicBezTo>
                <a:cubicBezTo>
                  <a:pt x="666638" y="1182488"/>
                  <a:pt x="652932" y="1196142"/>
                  <a:pt x="652932" y="1212925"/>
                </a:cubicBezTo>
                <a:close/>
                <a:moveTo>
                  <a:pt x="890310" y="1212925"/>
                </a:moveTo>
                <a:cubicBezTo>
                  <a:pt x="890310" y="1229708"/>
                  <a:pt x="904016" y="1243362"/>
                  <a:pt x="920863" y="1243362"/>
                </a:cubicBezTo>
                <a:cubicBezTo>
                  <a:pt x="937709" y="1243362"/>
                  <a:pt x="951415" y="1229708"/>
                  <a:pt x="951415" y="1212925"/>
                </a:cubicBezTo>
                <a:cubicBezTo>
                  <a:pt x="951415" y="1196142"/>
                  <a:pt x="937709" y="1182488"/>
                  <a:pt x="920863" y="1182488"/>
                </a:cubicBezTo>
                <a:cubicBezTo>
                  <a:pt x="904016" y="1182488"/>
                  <a:pt x="890310" y="1196142"/>
                  <a:pt x="890310" y="1212925"/>
                </a:cubicBezTo>
                <a:close/>
                <a:moveTo>
                  <a:pt x="949702" y="1212925"/>
                </a:moveTo>
                <a:cubicBezTo>
                  <a:pt x="949702" y="1229708"/>
                  <a:pt x="963408" y="1243362"/>
                  <a:pt x="980255" y="1243362"/>
                </a:cubicBezTo>
                <a:cubicBezTo>
                  <a:pt x="997101" y="1243362"/>
                  <a:pt x="1010807" y="1229708"/>
                  <a:pt x="1010807" y="1212925"/>
                </a:cubicBezTo>
                <a:cubicBezTo>
                  <a:pt x="1010807" y="1196142"/>
                  <a:pt x="997101" y="1182488"/>
                  <a:pt x="980255" y="1182488"/>
                </a:cubicBezTo>
                <a:cubicBezTo>
                  <a:pt x="963408" y="1182488"/>
                  <a:pt x="949702" y="1196142"/>
                  <a:pt x="949702" y="1212925"/>
                </a:cubicBezTo>
                <a:close/>
                <a:moveTo>
                  <a:pt x="1009094" y="1212925"/>
                </a:moveTo>
                <a:cubicBezTo>
                  <a:pt x="1009094" y="1229708"/>
                  <a:pt x="1022800" y="1243362"/>
                  <a:pt x="1039647" y="1243362"/>
                </a:cubicBezTo>
                <a:cubicBezTo>
                  <a:pt x="1056494" y="1243362"/>
                  <a:pt x="1070199" y="1229708"/>
                  <a:pt x="1070199" y="1212925"/>
                </a:cubicBezTo>
                <a:cubicBezTo>
                  <a:pt x="1070199" y="1196142"/>
                  <a:pt x="1056494" y="1182488"/>
                  <a:pt x="1039647" y="1182488"/>
                </a:cubicBezTo>
                <a:cubicBezTo>
                  <a:pt x="1022800" y="1182488"/>
                  <a:pt x="1009094" y="1196142"/>
                  <a:pt x="1009094" y="1212925"/>
                </a:cubicBezTo>
                <a:close/>
                <a:moveTo>
                  <a:pt x="1068391" y="1212925"/>
                </a:moveTo>
                <a:cubicBezTo>
                  <a:pt x="1068391" y="1229708"/>
                  <a:pt x="1082097" y="1243362"/>
                  <a:pt x="1098944" y="1243362"/>
                </a:cubicBezTo>
                <a:cubicBezTo>
                  <a:pt x="1115790" y="1243362"/>
                  <a:pt x="1129496" y="1229708"/>
                  <a:pt x="1129496" y="1212925"/>
                </a:cubicBezTo>
                <a:cubicBezTo>
                  <a:pt x="1129496" y="1196142"/>
                  <a:pt x="1115790" y="1182488"/>
                  <a:pt x="1098944" y="1182488"/>
                </a:cubicBezTo>
                <a:cubicBezTo>
                  <a:pt x="1082097" y="1182488"/>
                  <a:pt x="1068391" y="1196142"/>
                  <a:pt x="1068391" y="1212925"/>
                </a:cubicBezTo>
                <a:close/>
                <a:moveTo>
                  <a:pt x="1127783" y="1212925"/>
                </a:moveTo>
                <a:cubicBezTo>
                  <a:pt x="1127783" y="1229708"/>
                  <a:pt x="1141489" y="1243362"/>
                  <a:pt x="1158336" y="1243362"/>
                </a:cubicBezTo>
                <a:cubicBezTo>
                  <a:pt x="1175183" y="1243362"/>
                  <a:pt x="1188888" y="1229708"/>
                  <a:pt x="1188888" y="1212925"/>
                </a:cubicBezTo>
                <a:cubicBezTo>
                  <a:pt x="1188888" y="1196142"/>
                  <a:pt x="1175183" y="1182488"/>
                  <a:pt x="1158336" y="1182488"/>
                </a:cubicBezTo>
                <a:cubicBezTo>
                  <a:pt x="1141489" y="1182488"/>
                  <a:pt x="1127783" y="1196142"/>
                  <a:pt x="1127783" y="1212925"/>
                </a:cubicBezTo>
                <a:close/>
                <a:moveTo>
                  <a:pt x="1187080" y="1212925"/>
                </a:moveTo>
                <a:cubicBezTo>
                  <a:pt x="1187080" y="1229708"/>
                  <a:pt x="1200786" y="1243362"/>
                  <a:pt x="1217633" y="1243362"/>
                </a:cubicBezTo>
                <a:cubicBezTo>
                  <a:pt x="1234479" y="1243362"/>
                  <a:pt x="1248185" y="1229708"/>
                  <a:pt x="1248185" y="1212925"/>
                </a:cubicBezTo>
                <a:cubicBezTo>
                  <a:pt x="1248185" y="1196142"/>
                  <a:pt x="1234479" y="1182488"/>
                  <a:pt x="1217633" y="1182488"/>
                </a:cubicBezTo>
                <a:cubicBezTo>
                  <a:pt x="1200786" y="1182488"/>
                  <a:pt x="1187080" y="1196142"/>
                  <a:pt x="1187080" y="1212925"/>
                </a:cubicBezTo>
                <a:close/>
                <a:moveTo>
                  <a:pt x="1305769" y="1212925"/>
                </a:moveTo>
                <a:cubicBezTo>
                  <a:pt x="1305769" y="1229708"/>
                  <a:pt x="1319475" y="1243362"/>
                  <a:pt x="1336322" y="1243362"/>
                </a:cubicBezTo>
                <a:cubicBezTo>
                  <a:pt x="1353168" y="1243362"/>
                  <a:pt x="1366874" y="1229708"/>
                  <a:pt x="1366874" y="1212925"/>
                </a:cubicBezTo>
                <a:cubicBezTo>
                  <a:pt x="1366874" y="1196142"/>
                  <a:pt x="1353168" y="1182488"/>
                  <a:pt x="1336322" y="1182488"/>
                </a:cubicBezTo>
                <a:cubicBezTo>
                  <a:pt x="1319475" y="1182488"/>
                  <a:pt x="1305769" y="1196142"/>
                  <a:pt x="1305769" y="1212925"/>
                </a:cubicBezTo>
                <a:close/>
                <a:moveTo>
                  <a:pt x="1365161" y="1212925"/>
                </a:moveTo>
                <a:cubicBezTo>
                  <a:pt x="1365161" y="1229708"/>
                  <a:pt x="1378867" y="1243362"/>
                  <a:pt x="1395714" y="1243362"/>
                </a:cubicBezTo>
                <a:cubicBezTo>
                  <a:pt x="1412561" y="1243362"/>
                  <a:pt x="1426266" y="1229708"/>
                  <a:pt x="1426266" y="1212925"/>
                </a:cubicBezTo>
                <a:cubicBezTo>
                  <a:pt x="1426266" y="1196142"/>
                  <a:pt x="1412561" y="1182488"/>
                  <a:pt x="1395714" y="1182488"/>
                </a:cubicBezTo>
                <a:cubicBezTo>
                  <a:pt x="1378867" y="1182488"/>
                  <a:pt x="1365161" y="1196142"/>
                  <a:pt x="1365161" y="1212925"/>
                </a:cubicBezTo>
                <a:close/>
                <a:moveTo>
                  <a:pt x="1424553" y="1212925"/>
                </a:moveTo>
                <a:cubicBezTo>
                  <a:pt x="1424553" y="1229708"/>
                  <a:pt x="1438259" y="1243362"/>
                  <a:pt x="1455106" y="1243362"/>
                </a:cubicBezTo>
                <a:cubicBezTo>
                  <a:pt x="1471953" y="1243362"/>
                  <a:pt x="1485658" y="1229708"/>
                  <a:pt x="1485658" y="1212925"/>
                </a:cubicBezTo>
                <a:cubicBezTo>
                  <a:pt x="1485658" y="1196142"/>
                  <a:pt x="1471953" y="1182488"/>
                  <a:pt x="1455106" y="1182488"/>
                </a:cubicBezTo>
                <a:cubicBezTo>
                  <a:pt x="1438259" y="1182488"/>
                  <a:pt x="1424553" y="1196142"/>
                  <a:pt x="1424553" y="1212925"/>
                </a:cubicBezTo>
                <a:close/>
                <a:moveTo>
                  <a:pt x="474851" y="1272092"/>
                </a:moveTo>
                <a:cubicBezTo>
                  <a:pt x="474851" y="1288875"/>
                  <a:pt x="488557" y="1302529"/>
                  <a:pt x="505404" y="1302529"/>
                </a:cubicBezTo>
                <a:cubicBezTo>
                  <a:pt x="522250" y="1302529"/>
                  <a:pt x="535956" y="1288875"/>
                  <a:pt x="535956" y="1272092"/>
                </a:cubicBezTo>
                <a:cubicBezTo>
                  <a:pt x="535956" y="1255309"/>
                  <a:pt x="522250" y="1241655"/>
                  <a:pt x="505404" y="1241655"/>
                </a:cubicBezTo>
                <a:cubicBezTo>
                  <a:pt x="488557" y="1241655"/>
                  <a:pt x="474851" y="1255309"/>
                  <a:pt x="474851" y="1272092"/>
                </a:cubicBezTo>
                <a:close/>
                <a:moveTo>
                  <a:pt x="534243" y="1272092"/>
                </a:moveTo>
                <a:cubicBezTo>
                  <a:pt x="534243" y="1288875"/>
                  <a:pt x="547949" y="1302529"/>
                  <a:pt x="564796" y="1302529"/>
                </a:cubicBezTo>
                <a:cubicBezTo>
                  <a:pt x="581643" y="1302529"/>
                  <a:pt x="595348" y="1288875"/>
                  <a:pt x="595348" y="1272092"/>
                </a:cubicBezTo>
                <a:cubicBezTo>
                  <a:pt x="595348" y="1255309"/>
                  <a:pt x="581643" y="1241655"/>
                  <a:pt x="564796" y="1241655"/>
                </a:cubicBezTo>
                <a:cubicBezTo>
                  <a:pt x="547949" y="1241655"/>
                  <a:pt x="534243" y="1255309"/>
                  <a:pt x="534243" y="1272092"/>
                </a:cubicBezTo>
                <a:close/>
                <a:moveTo>
                  <a:pt x="712324" y="1272092"/>
                </a:moveTo>
                <a:cubicBezTo>
                  <a:pt x="712324" y="1288875"/>
                  <a:pt x="726030" y="1302529"/>
                  <a:pt x="742877" y="1302529"/>
                </a:cubicBezTo>
                <a:cubicBezTo>
                  <a:pt x="759724" y="1302529"/>
                  <a:pt x="773429" y="1288875"/>
                  <a:pt x="773429" y="1272092"/>
                </a:cubicBezTo>
                <a:cubicBezTo>
                  <a:pt x="773429" y="1255309"/>
                  <a:pt x="759724" y="1241655"/>
                  <a:pt x="742877" y="1241655"/>
                </a:cubicBezTo>
                <a:cubicBezTo>
                  <a:pt x="726030" y="1241655"/>
                  <a:pt x="712324" y="1255309"/>
                  <a:pt x="712324" y="1272092"/>
                </a:cubicBezTo>
                <a:close/>
                <a:moveTo>
                  <a:pt x="771621" y="1272092"/>
                </a:moveTo>
                <a:cubicBezTo>
                  <a:pt x="771621" y="1288875"/>
                  <a:pt x="785327" y="1302529"/>
                  <a:pt x="802174" y="1302529"/>
                </a:cubicBezTo>
                <a:cubicBezTo>
                  <a:pt x="819021" y="1302529"/>
                  <a:pt x="832726" y="1288875"/>
                  <a:pt x="832726" y="1272092"/>
                </a:cubicBezTo>
                <a:cubicBezTo>
                  <a:pt x="832726" y="1255309"/>
                  <a:pt x="819021" y="1241655"/>
                  <a:pt x="802174" y="1241655"/>
                </a:cubicBezTo>
                <a:cubicBezTo>
                  <a:pt x="785327" y="1241655"/>
                  <a:pt x="771621" y="1255309"/>
                  <a:pt x="771621" y="1272092"/>
                </a:cubicBezTo>
                <a:close/>
                <a:moveTo>
                  <a:pt x="831013" y="1272092"/>
                </a:moveTo>
                <a:cubicBezTo>
                  <a:pt x="831013" y="1288875"/>
                  <a:pt x="844719" y="1302529"/>
                  <a:pt x="861566" y="1302529"/>
                </a:cubicBezTo>
                <a:cubicBezTo>
                  <a:pt x="878413" y="1302529"/>
                  <a:pt x="892118" y="1288875"/>
                  <a:pt x="892118" y="1272092"/>
                </a:cubicBezTo>
                <a:cubicBezTo>
                  <a:pt x="892118" y="1255309"/>
                  <a:pt x="878413" y="1241655"/>
                  <a:pt x="861566" y="1241655"/>
                </a:cubicBezTo>
                <a:cubicBezTo>
                  <a:pt x="844719" y="1241655"/>
                  <a:pt x="831013" y="1255309"/>
                  <a:pt x="831013" y="1272092"/>
                </a:cubicBezTo>
                <a:close/>
                <a:moveTo>
                  <a:pt x="890310" y="1272092"/>
                </a:moveTo>
                <a:cubicBezTo>
                  <a:pt x="890310" y="1288875"/>
                  <a:pt x="904016" y="1302529"/>
                  <a:pt x="920863" y="1302529"/>
                </a:cubicBezTo>
                <a:cubicBezTo>
                  <a:pt x="937709" y="1302529"/>
                  <a:pt x="951415" y="1288875"/>
                  <a:pt x="951415" y="1272092"/>
                </a:cubicBezTo>
                <a:cubicBezTo>
                  <a:pt x="951415" y="1255309"/>
                  <a:pt x="937709" y="1241655"/>
                  <a:pt x="920863" y="1241655"/>
                </a:cubicBezTo>
                <a:cubicBezTo>
                  <a:pt x="904016" y="1241655"/>
                  <a:pt x="890310" y="1255309"/>
                  <a:pt x="890310" y="1272092"/>
                </a:cubicBezTo>
                <a:close/>
                <a:moveTo>
                  <a:pt x="1009094" y="1272092"/>
                </a:moveTo>
                <a:cubicBezTo>
                  <a:pt x="1009094" y="1288875"/>
                  <a:pt x="1022800" y="1302529"/>
                  <a:pt x="1039647" y="1302529"/>
                </a:cubicBezTo>
                <a:cubicBezTo>
                  <a:pt x="1056494" y="1302529"/>
                  <a:pt x="1070199" y="1288875"/>
                  <a:pt x="1070199" y="1272092"/>
                </a:cubicBezTo>
                <a:cubicBezTo>
                  <a:pt x="1070199" y="1255309"/>
                  <a:pt x="1056494" y="1241655"/>
                  <a:pt x="1039647" y="1241655"/>
                </a:cubicBezTo>
                <a:cubicBezTo>
                  <a:pt x="1022800" y="1241655"/>
                  <a:pt x="1009094" y="1255309"/>
                  <a:pt x="1009094" y="1272092"/>
                </a:cubicBezTo>
                <a:close/>
                <a:moveTo>
                  <a:pt x="1068391" y="1272092"/>
                </a:moveTo>
                <a:cubicBezTo>
                  <a:pt x="1068391" y="1288875"/>
                  <a:pt x="1082097" y="1302529"/>
                  <a:pt x="1098944" y="1302529"/>
                </a:cubicBezTo>
                <a:cubicBezTo>
                  <a:pt x="1115790" y="1302529"/>
                  <a:pt x="1129496" y="1288875"/>
                  <a:pt x="1129496" y="1272092"/>
                </a:cubicBezTo>
                <a:cubicBezTo>
                  <a:pt x="1129496" y="1255309"/>
                  <a:pt x="1115790" y="1241655"/>
                  <a:pt x="1098944" y="1241655"/>
                </a:cubicBezTo>
                <a:cubicBezTo>
                  <a:pt x="1082097" y="1241655"/>
                  <a:pt x="1068391" y="1255309"/>
                  <a:pt x="1068391" y="1272092"/>
                </a:cubicBezTo>
                <a:close/>
                <a:moveTo>
                  <a:pt x="1187080" y="1272092"/>
                </a:moveTo>
                <a:cubicBezTo>
                  <a:pt x="1187080" y="1288875"/>
                  <a:pt x="1200786" y="1302529"/>
                  <a:pt x="1217633" y="1302529"/>
                </a:cubicBezTo>
                <a:cubicBezTo>
                  <a:pt x="1234479" y="1302529"/>
                  <a:pt x="1248185" y="1288875"/>
                  <a:pt x="1248185" y="1272092"/>
                </a:cubicBezTo>
                <a:cubicBezTo>
                  <a:pt x="1248185" y="1255309"/>
                  <a:pt x="1234479" y="1241655"/>
                  <a:pt x="1217633" y="1241655"/>
                </a:cubicBezTo>
                <a:cubicBezTo>
                  <a:pt x="1200786" y="1241655"/>
                  <a:pt x="1187080" y="1255309"/>
                  <a:pt x="1187080" y="1272092"/>
                </a:cubicBezTo>
                <a:close/>
                <a:moveTo>
                  <a:pt x="1246472" y="1272092"/>
                </a:moveTo>
                <a:cubicBezTo>
                  <a:pt x="1246472" y="1288875"/>
                  <a:pt x="1260178" y="1302529"/>
                  <a:pt x="1277025" y="1302529"/>
                </a:cubicBezTo>
                <a:cubicBezTo>
                  <a:pt x="1293872" y="1302529"/>
                  <a:pt x="1307577" y="1288875"/>
                  <a:pt x="1307577" y="1272092"/>
                </a:cubicBezTo>
                <a:cubicBezTo>
                  <a:pt x="1307577" y="1255309"/>
                  <a:pt x="1293872" y="1241655"/>
                  <a:pt x="1277025" y="1241655"/>
                </a:cubicBezTo>
                <a:cubicBezTo>
                  <a:pt x="1260178" y="1241655"/>
                  <a:pt x="1246472" y="1255309"/>
                  <a:pt x="1246472" y="1272092"/>
                </a:cubicBezTo>
                <a:close/>
                <a:moveTo>
                  <a:pt x="1305769" y="1272092"/>
                </a:moveTo>
                <a:cubicBezTo>
                  <a:pt x="1305769" y="1288875"/>
                  <a:pt x="1319475" y="1302529"/>
                  <a:pt x="1336322" y="1302529"/>
                </a:cubicBezTo>
                <a:cubicBezTo>
                  <a:pt x="1353168" y="1302529"/>
                  <a:pt x="1366874" y="1288875"/>
                  <a:pt x="1366874" y="1272092"/>
                </a:cubicBezTo>
                <a:cubicBezTo>
                  <a:pt x="1366874" y="1255309"/>
                  <a:pt x="1353168" y="1241655"/>
                  <a:pt x="1336322" y="1241655"/>
                </a:cubicBezTo>
                <a:cubicBezTo>
                  <a:pt x="1319475" y="1241655"/>
                  <a:pt x="1305769" y="1255309"/>
                  <a:pt x="1305769" y="1272092"/>
                </a:cubicBezTo>
                <a:close/>
                <a:moveTo>
                  <a:pt x="1365161" y="1272092"/>
                </a:moveTo>
                <a:cubicBezTo>
                  <a:pt x="1365161" y="1288875"/>
                  <a:pt x="1378867" y="1302529"/>
                  <a:pt x="1395714" y="1302529"/>
                </a:cubicBezTo>
                <a:cubicBezTo>
                  <a:pt x="1412561" y="1302529"/>
                  <a:pt x="1426266" y="1288875"/>
                  <a:pt x="1426266" y="1272092"/>
                </a:cubicBezTo>
                <a:cubicBezTo>
                  <a:pt x="1426266" y="1255309"/>
                  <a:pt x="1412561" y="1241655"/>
                  <a:pt x="1395714" y="1241655"/>
                </a:cubicBezTo>
                <a:cubicBezTo>
                  <a:pt x="1378867" y="1241655"/>
                  <a:pt x="1365161" y="1255309"/>
                  <a:pt x="1365161" y="1272092"/>
                </a:cubicBezTo>
                <a:close/>
                <a:moveTo>
                  <a:pt x="1424553" y="1272092"/>
                </a:moveTo>
                <a:cubicBezTo>
                  <a:pt x="1424553" y="1288875"/>
                  <a:pt x="1438259" y="1302529"/>
                  <a:pt x="1455106" y="1302529"/>
                </a:cubicBezTo>
                <a:cubicBezTo>
                  <a:pt x="1471953" y="1302529"/>
                  <a:pt x="1485658" y="1288875"/>
                  <a:pt x="1485658" y="1272092"/>
                </a:cubicBezTo>
                <a:cubicBezTo>
                  <a:pt x="1485658" y="1255309"/>
                  <a:pt x="1471953" y="1241655"/>
                  <a:pt x="1455106" y="1241655"/>
                </a:cubicBezTo>
                <a:cubicBezTo>
                  <a:pt x="1438259" y="1241655"/>
                  <a:pt x="1424553" y="1255309"/>
                  <a:pt x="1424553" y="1272092"/>
                </a:cubicBezTo>
                <a:close/>
                <a:moveTo>
                  <a:pt x="474851" y="1331259"/>
                </a:moveTo>
                <a:cubicBezTo>
                  <a:pt x="474851" y="1348042"/>
                  <a:pt x="488557" y="1361696"/>
                  <a:pt x="505404" y="1361696"/>
                </a:cubicBezTo>
                <a:cubicBezTo>
                  <a:pt x="522250" y="1361696"/>
                  <a:pt x="535956" y="1348042"/>
                  <a:pt x="535956" y="1331259"/>
                </a:cubicBezTo>
                <a:cubicBezTo>
                  <a:pt x="535956" y="1314476"/>
                  <a:pt x="522250" y="1300822"/>
                  <a:pt x="505404" y="1300822"/>
                </a:cubicBezTo>
                <a:cubicBezTo>
                  <a:pt x="488557" y="1300822"/>
                  <a:pt x="474851" y="1314476"/>
                  <a:pt x="474851" y="1331259"/>
                </a:cubicBezTo>
                <a:close/>
                <a:moveTo>
                  <a:pt x="593635" y="1331259"/>
                </a:moveTo>
                <a:cubicBezTo>
                  <a:pt x="593635" y="1348042"/>
                  <a:pt x="607341" y="1361696"/>
                  <a:pt x="624188" y="1361696"/>
                </a:cubicBezTo>
                <a:cubicBezTo>
                  <a:pt x="641035" y="1361696"/>
                  <a:pt x="654740" y="1348042"/>
                  <a:pt x="654740" y="1331259"/>
                </a:cubicBezTo>
                <a:cubicBezTo>
                  <a:pt x="654740" y="1314476"/>
                  <a:pt x="641035" y="1300822"/>
                  <a:pt x="624188" y="1300822"/>
                </a:cubicBezTo>
                <a:cubicBezTo>
                  <a:pt x="607341" y="1300822"/>
                  <a:pt x="593635" y="1314476"/>
                  <a:pt x="593635" y="1331259"/>
                </a:cubicBezTo>
                <a:close/>
                <a:moveTo>
                  <a:pt x="771621" y="1331259"/>
                </a:moveTo>
                <a:cubicBezTo>
                  <a:pt x="771621" y="1348042"/>
                  <a:pt x="785327" y="1361696"/>
                  <a:pt x="802174" y="1361696"/>
                </a:cubicBezTo>
                <a:cubicBezTo>
                  <a:pt x="819021" y="1361696"/>
                  <a:pt x="832726" y="1348042"/>
                  <a:pt x="832726" y="1331259"/>
                </a:cubicBezTo>
                <a:cubicBezTo>
                  <a:pt x="832726" y="1314476"/>
                  <a:pt x="819021" y="1300822"/>
                  <a:pt x="802174" y="1300822"/>
                </a:cubicBezTo>
                <a:cubicBezTo>
                  <a:pt x="785327" y="1300822"/>
                  <a:pt x="771621" y="1314476"/>
                  <a:pt x="771621" y="1331259"/>
                </a:cubicBezTo>
                <a:close/>
                <a:moveTo>
                  <a:pt x="831013" y="1331259"/>
                </a:moveTo>
                <a:cubicBezTo>
                  <a:pt x="831013" y="1348042"/>
                  <a:pt x="844719" y="1361696"/>
                  <a:pt x="861566" y="1361696"/>
                </a:cubicBezTo>
                <a:cubicBezTo>
                  <a:pt x="878413" y="1361696"/>
                  <a:pt x="892118" y="1348042"/>
                  <a:pt x="892118" y="1331259"/>
                </a:cubicBezTo>
                <a:cubicBezTo>
                  <a:pt x="892118" y="1314476"/>
                  <a:pt x="878413" y="1300822"/>
                  <a:pt x="861566" y="1300822"/>
                </a:cubicBezTo>
                <a:cubicBezTo>
                  <a:pt x="844719" y="1300822"/>
                  <a:pt x="831013" y="1314476"/>
                  <a:pt x="831013" y="1331259"/>
                </a:cubicBezTo>
                <a:close/>
                <a:moveTo>
                  <a:pt x="1246472" y="1331259"/>
                </a:moveTo>
                <a:cubicBezTo>
                  <a:pt x="1246472" y="1348042"/>
                  <a:pt x="1260178" y="1361696"/>
                  <a:pt x="1277025" y="1361696"/>
                </a:cubicBezTo>
                <a:cubicBezTo>
                  <a:pt x="1293872" y="1361696"/>
                  <a:pt x="1307577" y="1348042"/>
                  <a:pt x="1307577" y="1331259"/>
                </a:cubicBezTo>
                <a:cubicBezTo>
                  <a:pt x="1307577" y="1314476"/>
                  <a:pt x="1293872" y="1300822"/>
                  <a:pt x="1277025" y="1300822"/>
                </a:cubicBezTo>
                <a:cubicBezTo>
                  <a:pt x="1260178" y="1300822"/>
                  <a:pt x="1246472" y="1314476"/>
                  <a:pt x="1246472" y="1331259"/>
                </a:cubicBezTo>
                <a:close/>
                <a:moveTo>
                  <a:pt x="1305769" y="1331259"/>
                </a:moveTo>
                <a:cubicBezTo>
                  <a:pt x="1305769" y="1348042"/>
                  <a:pt x="1319475" y="1361696"/>
                  <a:pt x="1336322" y="1361696"/>
                </a:cubicBezTo>
                <a:cubicBezTo>
                  <a:pt x="1353168" y="1361696"/>
                  <a:pt x="1366874" y="1348042"/>
                  <a:pt x="1366874" y="1331259"/>
                </a:cubicBezTo>
                <a:cubicBezTo>
                  <a:pt x="1366874" y="1314476"/>
                  <a:pt x="1353168" y="1300822"/>
                  <a:pt x="1336322" y="1300822"/>
                </a:cubicBezTo>
                <a:cubicBezTo>
                  <a:pt x="1319475" y="1300822"/>
                  <a:pt x="1305769" y="1314476"/>
                  <a:pt x="1305769" y="1331259"/>
                </a:cubicBezTo>
                <a:close/>
                <a:moveTo>
                  <a:pt x="1424553" y="1331259"/>
                </a:moveTo>
                <a:cubicBezTo>
                  <a:pt x="1424553" y="1348042"/>
                  <a:pt x="1438259" y="1361696"/>
                  <a:pt x="1455106" y="1361696"/>
                </a:cubicBezTo>
                <a:cubicBezTo>
                  <a:pt x="1471953" y="1361696"/>
                  <a:pt x="1485658" y="1348042"/>
                  <a:pt x="1485658" y="1331259"/>
                </a:cubicBezTo>
                <a:cubicBezTo>
                  <a:pt x="1485658" y="1314476"/>
                  <a:pt x="1471953" y="1300822"/>
                  <a:pt x="1455106" y="1300822"/>
                </a:cubicBezTo>
                <a:cubicBezTo>
                  <a:pt x="1438259" y="1300822"/>
                  <a:pt x="1424553" y="1314476"/>
                  <a:pt x="1424553" y="1331259"/>
                </a:cubicBezTo>
                <a:close/>
                <a:moveTo>
                  <a:pt x="712324" y="1390331"/>
                </a:moveTo>
                <a:cubicBezTo>
                  <a:pt x="712324" y="1407114"/>
                  <a:pt x="726030" y="1420768"/>
                  <a:pt x="742877" y="1420768"/>
                </a:cubicBezTo>
                <a:cubicBezTo>
                  <a:pt x="759724" y="1420768"/>
                  <a:pt x="773429" y="1407114"/>
                  <a:pt x="773429" y="1390331"/>
                </a:cubicBezTo>
                <a:cubicBezTo>
                  <a:pt x="773429" y="1373548"/>
                  <a:pt x="759724" y="1359894"/>
                  <a:pt x="742877" y="1359894"/>
                </a:cubicBezTo>
                <a:cubicBezTo>
                  <a:pt x="726030" y="1359894"/>
                  <a:pt x="712324" y="1373548"/>
                  <a:pt x="712324" y="1390331"/>
                </a:cubicBezTo>
                <a:close/>
                <a:moveTo>
                  <a:pt x="771621" y="1390331"/>
                </a:moveTo>
                <a:cubicBezTo>
                  <a:pt x="771621" y="1407114"/>
                  <a:pt x="785327" y="1420768"/>
                  <a:pt x="802174" y="1420768"/>
                </a:cubicBezTo>
                <a:cubicBezTo>
                  <a:pt x="819021" y="1420768"/>
                  <a:pt x="832726" y="1407114"/>
                  <a:pt x="832726" y="1390331"/>
                </a:cubicBezTo>
                <a:cubicBezTo>
                  <a:pt x="832726" y="1373548"/>
                  <a:pt x="819021" y="1359894"/>
                  <a:pt x="802174" y="1359894"/>
                </a:cubicBezTo>
                <a:cubicBezTo>
                  <a:pt x="785327" y="1359894"/>
                  <a:pt x="771621" y="1373548"/>
                  <a:pt x="771621" y="1390331"/>
                </a:cubicBezTo>
                <a:close/>
                <a:moveTo>
                  <a:pt x="949702" y="1390331"/>
                </a:moveTo>
                <a:cubicBezTo>
                  <a:pt x="949702" y="1407114"/>
                  <a:pt x="963408" y="1420768"/>
                  <a:pt x="980255" y="1420768"/>
                </a:cubicBezTo>
                <a:cubicBezTo>
                  <a:pt x="997101" y="1420768"/>
                  <a:pt x="1010807" y="1407114"/>
                  <a:pt x="1010807" y="1390331"/>
                </a:cubicBezTo>
                <a:cubicBezTo>
                  <a:pt x="1010807" y="1373548"/>
                  <a:pt x="997101" y="1359894"/>
                  <a:pt x="980255" y="1359894"/>
                </a:cubicBezTo>
                <a:cubicBezTo>
                  <a:pt x="963408" y="1359894"/>
                  <a:pt x="949702" y="1373548"/>
                  <a:pt x="949702" y="1390331"/>
                </a:cubicBezTo>
                <a:close/>
                <a:moveTo>
                  <a:pt x="1068391" y="1390331"/>
                </a:moveTo>
                <a:cubicBezTo>
                  <a:pt x="1068391" y="1407114"/>
                  <a:pt x="1082097" y="1420768"/>
                  <a:pt x="1098944" y="1420768"/>
                </a:cubicBezTo>
                <a:cubicBezTo>
                  <a:pt x="1115790" y="1420768"/>
                  <a:pt x="1129496" y="1407114"/>
                  <a:pt x="1129496" y="1390331"/>
                </a:cubicBezTo>
                <a:cubicBezTo>
                  <a:pt x="1129496" y="1373548"/>
                  <a:pt x="1115790" y="1359894"/>
                  <a:pt x="1098944" y="1359894"/>
                </a:cubicBezTo>
                <a:cubicBezTo>
                  <a:pt x="1082097" y="1359894"/>
                  <a:pt x="1068391" y="1373548"/>
                  <a:pt x="1068391" y="1390331"/>
                </a:cubicBezTo>
                <a:close/>
                <a:moveTo>
                  <a:pt x="1127783" y="1390331"/>
                </a:moveTo>
                <a:cubicBezTo>
                  <a:pt x="1127783" y="1407114"/>
                  <a:pt x="1141489" y="1420768"/>
                  <a:pt x="1158336" y="1420768"/>
                </a:cubicBezTo>
                <a:cubicBezTo>
                  <a:pt x="1175183" y="1420768"/>
                  <a:pt x="1188888" y="1407114"/>
                  <a:pt x="1188888" y="1390331"/>
                </a:cubicBezTo>
                <a:cubicBezTo>
                  <a:pt x="1188888" y="1373548"/>
                  <a:pt x="1175183" y="1359894"/>
                  <a:pt x="1158336" y="1359894"/>
                </a:cubicBezTo>
                <a:cubicBezTo>
                  <a:pt x="1141489" y="1359894"/>
                  <a:pt x="1127783" y="1373548"/>
                  <a:pt x="1127783" y="1390331"/>
                </a:cubicBezTo>
                <a:close/>
                <a:moveTo>
                  <a:pt x="1187080" y="1390331"/>
                </a:moveTo>
                <a:cubicBezTo>
                  <a:pt x="1187080" y="1407114"/>
                  <a:pt x="1200786" y="1420768"/>
                  <a:pt x="1217633" y="1420768"/>
                </a:cubicBezTo>
                <a:cubicBezTo>
                  <a:pt x="1234479" y="1420768"/>
                  <a:pt x="1248185" y="1407114"/>
                  <a:pt x="1248185" y="1390331"/>
                </a:cubicBezTo>
                <a:cubicBezTo>
                  <a:pt x="1248185" y="1373548"/>
                  <a:pt x="1234479" y="1359894"/>
                  <a:pt x="1217633" y="1359894"/>
                </a:cubicBezTo>
                <a:cubicBezTo>
                  <a:pt x="1200786" y="1359894"/>
                  <a:pt x="1187080" y="1373548"/>
                  <a:pt x="1187080" y="1390331"/>
                </a:cubicBezTo>
                <a:close/>
                <a:moveTo>
                  <a:pt x="1246472" y="1390331"/>
                </a:moveTo>
                <a:cubicBezTo>
                  <a:pt x="1246472" y="1407114"/>
                  <a:pt x="1260178" y="1420768"/>
                  <a:pt x="1277025" y="1420768"/>
                </a:cubicBezTo>
                <a:cubicBezTo>
                  <a:pt x="1293872" y="1420768"/>
                  <a:pt x="1307577" y="1407114"/>
                  <a:pt x="1307577" y="1390331"/>
                </a:cubicBezTo>
                <a:cubicBezTo>
                  <a:pt x="1307577" y="1373548"/>
                  <a:pt x="1293872" y="1359894"/>
                  <a:pt x="1277025" y="1359894"/>
                </a:cubicBezTo>
                <a:cubicBezTo>
                  <a:pt x="1260178" y="1359894"/>
                  <a:pt x="1246472" y="1373548"/>
                  <a:pt x="1246472" y="1390331"/>
                </a:cubicBezTo>
                <a:close/>
                <a:moveTo>
                  <a:pt x="1424553" y="1390331"/>
                </a:moveTo>
                <a:cubicBezTo>
                  <a:pt x="1424553" y="1407114"/>
                  <a:pt x="1438259" y="1420768"/>
                  <a:pt x="1455106" y="1420768"/>
                </a:cubicBezTo>
                <a:cubicBezTo>
                  <a:pt x="1471953" y="1420768"/>
                  <a:pt x="1485658" y="1407114"/>
                  <a:pt x="1485658" y="1390331"/>
                </a:cubicBezTo>
                <a:cubicBezTo>
                  <a:pt x="1485658" y="1373548"/>
                  <a:pt x="1471953" y="1359894"/>
                  <a:pt x="1455106" y="1359894"/>
                </a:cubicBezTo>
                <a:cubicBezTo>
                  <a:pt x="1438259" y="1359894"/>
                  <a:pt x="1424553" y="1373548"/>
                  <a:pt x="1424553" y="1390331"/>
                </a:cubicBezTo>
                <a:close/>
                <a:moveTo>
                  <a:pt x="474851" y="1449498"/>
                </a:moveTo>
                <a:cubicBezTo>
                  <a:pt x="474851" y="1466281"/>
                  <a:pt x="488557" y="1479935"/>
                  <a:pt x="505404" y="1479935"/>
                </a:cubicBezTo>
                <a:cubicBezTo>
                  <a:pt x="522250" y="1479935"/>
                  <a:pt x="535956" y="1466281"/>
                  <a:pt x="535956" y="1449498"/>
                </a:cubicBezTo>
                <a:cubicBezTo>
                  <a:pt x="535956" y="1432715"/>
                  <a:pt x="522250" y="1419061"/>
                  <a:pt x="505404" y="1419061"/>
                </a:cubicBezTo>
                <a:cubicBezTo>
                  <a:pt x="488557" y="1419061"/>
                  <a:pt x="474851" y="1432715"/>
                  <a:pt x="474851" y="1449498"/>
                </a:cubicBezTo>
                <a:close/>
                <a:moveTo>
                  <a:pt x="593635" y="1449498"/>
                </a:moveTo>
                <a:cubicBezTo>
                  <a:pt x="593635" y="1466281"/>
                  <a:pt x="607341" y="1479935"/>
                  <a:pt x="624188" y="1479935"/>
                </a:cubicBezTo>
                <a:cubicBezTo>
                  <a:pt x="641035" y="1479935"/>
                  <a:pt x="654740" y="1466281"/>
                  <a:pt x="654740" y="1449498"/>
                </a:cubicBezTo>
                <a:cubicBezTo>
                  <a:pt x="654740" y="1432715"/>
                  <a:pt x="641035" y="1419061"/>
                  <a:pt x="624188" y="1419061"/>
                </a:cubicBezTo>
                <a:cubicBezTo>
                  <a:pt x="607341" y="1419061"/>
                  <a:pt x="593635" y="1432715"/>
                  <a:pt x="593635" y="1449498"/>
                </a:cubicBezTo>
                <a:close/>
                <a:moveTo>
                  <a:pt x="712324" y="1449498"/>
                </a:moveTo>
                <a:cubicBezTo>
                  <a:pt x="712324" y="1466281"/>
                  <a:pt x="726030" y="1479935"/>
                  <a:pt x="742877" y="1479935"/>
                </a:cubicBezTo>
                <a:cubicBezTo>
                  <a:pt x="759724" y="1479935"/>
                  <a:pt x="773429" y="1466281"/>
                  <a:pt x="773429" y="1449498"/>
                </a:cubicBezTo>
                <a:cubicBezTo>
                  <a:pt x="773429" y="1432715"/>
                  <a:pt x="759724" y="1419061"/>
                  <a:pt x="742877" y="1419061"/>
                </a:cubicBezTo>
                <a:cubicBezTo>
                  <a:pt x="726030" y="1419061"/>
                  <a:pt x="712324" y="1432715"/>
                  <a:pt x="712324" y="1449498"/>
                </a:cubicBezTo>
                <a:close/>
                <a:moveTo>
                  <a:pt x="831013" y="1449498"/>
                </a:moveTo>
                <a:cubicBezTo>
                  <a:pt x="831013" y="1466281"/>
                  <a:pt x="844719" y="1479935"/>
                  <a:pt x="861566" y="1479935"/>
                </a:cubicBezTo>
                <a:cubicBezTo>
                  <a:pt x="878413" y="1479935"/>
                  <a:pt x="892118" y="1466281"/>
                  <a:pt x="892118" y="1449498"/>
                </a:cubicBezTo>
                <a:cubicBezTo>
                  <a:pt x="892118" y="1432715"/>
                  <a:pt x="878413" y="1419061"/>
                  <a:pt x="861566" y="1419061"/>
                </a:cubicBezTo>
                <a:cubicBezTo>
                  <a:pt x="844719" y="1419061"/>
                  <a:pt x="831013" y="1432715"/>
                  <a:pt x="831013" y="1449498"/>
                </a:cubicBezTo>
                <a:close/>
                <a:moveTo>
                  <a:pt x="1009094" y="1449498"/>
                </a:moveTo>
                <a:cubicBezTo>
                  <a:pt x="1009094" y="1466281"/>
                  <a:pt x="1022800" y="1479935"/>
                  <a:pt x="1039647" y="1479935"/>
                </a:cubicBezTo>
                <a:cubicBezTo>
                  <a:pt x="1056494" y="1479935"/>
                  <a:pt x="1070199" y="1466281"/>
                  <a:pt x="1070199" y="1449498"/>
                </a:cubicBezTo>
                <a:cubicBezTo>
                  <a:pt x="1070199" y="1432715"/>
                  <a:pt x="1056494" y="1419061"/>
                  <a:pt x="1039647" y="1419061"/>
                </a:cubicBezTo>
                <a:cubicBezTo>
                  <a:pt x="1022800" y="1419061"/>
                  <a:pt x="1009094" y="1432715"/>
                  <a:pt x="1009094" y="1449498"/>
                </a:cubicBezTo>
                <a:close/>
                <a:moveTo>
                  <a:pt x="1068391" y="1449498"/>
                </a:moveTo>
                <a:cubicBezTo>
                  <a:pt x="1068391" y="1466281"/>
                  <a:pt x="1082097" y="1479935"/>
                  <a:pt x="1098944" y="1479935"/>
                </a:cubicBezTo>
                <a:cubicBezTo>
                  <a:pt x="1115790" y="1479935"/>
                  <a:pt x="1129496" y="1466281"/>
                  <a:pt x="1129496" y="1449498"/>
                </a:cubicBezTo>
                <a:cubicBezTo>
                  <a:pt x="1129496" y="1432715"/>
                  <a:pt x="1115790" y="1419061"/>
                  <a:pt x="1098944" y="1419061"/>
                </a:cubicBezTo>
                <a:cubicBezTo>
                  <a:pt x="1082097" y="1419061"/>
                  <a:pt x="1068391" y="1432715"/>
                  <a:pt x="1068391" y="1449498"/>
                </a:cubicBezTo>
                <a:close/>
                <a:moveTo>
                  <a:pt x="1127783" y="1449498"/>
                </a:moveTo>
                <a:cubicBezTo>
                  <a:pt x="1127783" y="1466281"/>
                  <a:pt x="1141489" y="1479935"/>
                  <a:pt x="1158336" y="1479935"/>
                </a:cubicBezTo>
                <a:cubicBezTo>
                  <a:pt x="1175183" y="1479935"/>
                  <a:pt x="1188888" y="1466281"/>
                  <a:pt x="1188888" y="1449498"/>
                </a:cubicBezTo>
                <a:cubicBezTo>
                  <a:pt x="1188888" y="1432715"/>
                  <a:pt x="1175183" y="1419061"/>
                  <a:pt x="1158336" y="1419061"/>
                </a:cubicBezTo>
                <a:cubicBezTo>
                  <a:pt x="1141489" y="1419061"/>
                  <a:pt x="1127783" y="1432715"/>
                  <a:pt x="1127783" y="1449498"/>
                </a:cubicBezTo>
                <a:close/>
                <a:moveTo>
                  <a:pt x="1187080" y="1449498"/>
                </a:moveTo>
                <a:cubicBezTo>
                  <a:pt x="1187080" y="1466281"/>
                  <a:pt x="1200786" y="1479935"/>
                  <a:pt x="1217633" y="1479935"/>
                </a:cubicBezTo>
                <a:cubicBezTo>
                  <a:pt x="1234479" y="1479935"/>
                  <a:pt x="1248185" y="1466281"/>
                  <a:pt x="1248185" y="1449498"/>
                </a:cubicBezTo>
                <a:cubicBezTo>
                  <a:pt x="1248185" y="1432715"/>
                  <a:pt x="1234479" y="1419061"/>
                  <a:pt x="1217633" y="1419061"/>
                </a:cubicBezTo>
                <a:cubicBezTo>
                  <a:pt x="1200786" y="1419061"/>
                  <a:pt x="1187080" y="1432715"/>
                  <a:pt x="1187080" y="1449498"/>
                </a:cubicBezTo>
                <a:close/>
                <a:moveTo>
                  <a:pt x="1246472" y="1449498"/>
                </a:moveTo>
                <a:cubicBezTo>
                  <a:pt x="1246472" y="1466281"/>
                  <a:pt x="1260178" y="1479935"/>
                  <a:pt x="1277025" y="1479935"/>
                </a:cubicBezTo>
                <a:cubicBezTo>
                  <a:pt x="1293872" y="1479935"/>
                  <a:pt x="1307577" y="1466281"/>
                  <a:pt x="1307577" y="1449498"/>
                </a:cubicBezTo>
                <a:cubicBezTo>
                  <a:pt x="1307577" y="1432715"/>
                  <a:pt x="1293872" y="1419061"/>
                  <a:pt x="1277025" y="1419061"/>
                </a:cubicBezTo>
                <a:cubicBezTo>
                  <a:pt x="1260178" y="1419061"/>
                  <a:pt x="1246472" y="1432715"/>
                  <a:pt x="1246472" y="1449498"/>
                </a:cubicBezTo>
                <a:close/>
                <a:moveTo>
                  <a:pt x="1305769" y="1449498"/>
                </a:moveTo>
                <a:cubicBezTo>
                  <a:pt x="1305769" y="1466281"/>
                  <a:pt x="1319475" y="1479935"/>
                  <a:pt x="1336322" y="1479935"/>
                </a:cubicBezTo>
                <a:cubicBezTo>
                  <a:pt x="1353168" y="1479935"/>
                  <a:pt x="1366874" y="1466281"/>
                  <a:pt x="1366874" y="1449498"/>
                </a:cubicBezTo>
                <a:cubicBezTo>
                  <a:pt x="1366874" y="1432715"/>
                  <a:pt x="1353168" y="1419061"/>
                  <a:pt x="1336322" y="1419061"/>
                </a:cubicBezTo>
                <a:cubicBezTo>
                  <a:pt x="1319475" y="1419061"/>
                  <a:pt x="1305769" y="1432715"/>
                  <a:pt x="1305769" y="1449498"/>
                </a:cubicBezTo>
                <a:close/>
                <a:moveTo>
                  <a:pt x="1365161" y="1449498"/>
                </a:moveTo>
                <a:cubicBezTo>
                  <a:pt x="1365161" y="1466281"/>
                  <a:pt x="1378867" y="1479935"/>
                  <a:pt x="1395714" y="1479935"/>
                </a:cubicBezTo>
                <a:cubicBezTo>
                  <a:pt x="1412561" y="1479935"/>
                  <a:pt x="1426266" y="1466281"/>
                  <a:pt x="1426266" y="1449498"/>
                </a:cubicBezTo>
                <a:cubicBezTo>
                  <a:pt x="1426266" y="1432715"/>
                  <a:pt x="1412561" y="1419061"/>
                  <a:pt x="1395714" y="1419061"/>
                </a:cubicBezTo>
                <a:cubicBezTo>
                  <a:pt x="1378867" y="1419061"/>
                  <a:pt x="1365161" y="1432715"/>
                  <a:pt x="1365161" y="1449498"/>
                </a:cubicBezTo>
                <a:close/>
                <a:moveTo>
                  <a:pt x="1424553" y="1449498"/>
                </a:moveTo>
                <a:cubicBezTo>
                  <a:pt x="1424553" y="1466281"/>
                  <a:pt x="1438259" y="1479935"/>
                  <a:pt x="1455106" y="1479935"/>
                </a:cubicBezTo>
                <a:cubicBezTo>
                  <a:pt x="1471953" y="1479935"/>
                  <a:pt x="1485658" y="1466281"/>
                  <a:pt x="1485658" y="1449498"/>
                </a:cubicBezTo>
                <a:cubicBezTo>
                  <a:pt x="1485658" y="1432715"/>
                  <a:pt x="1471953" y="1419061"/>
                  <a:pt x="1455106" y="1419061"/>
                </a:cubicBezTo>
                <a:cubicBezTo>
                  <a:pt x="1438259" y="1419061"/>
                  <a:pt x="1424553" y="1432715"/>
                  <a:pt x="1424553" y="1449498"/>
                </a:cubicBezTo>
                <a:close/>
                <a:moveTo>
                  <a:pt x="207777" y="0"/>
                </a:moveTo>
                <a:lnTo>
                  <a:pt x="207777" y="0"/>
                </a:lnTo>
                <a:cubicBezTo>
                  <a:pt x="323515" y="0"/>
                  <a:pt x="415554" y="91690"/>
                  <a:pt x="415554" y="206990"/>
                </a:cubicBezTo>
                <a:lnTo>
                  <a:pt x="415554" y="206990"/>
                </a:lnTo>
                <a:cubicBezTo>
                  <a:pt x="415554" y="322290"/>
                  <a:pt x="323515" y="413980"/>
                  <a:pt x="207777" y="413980"/>
                </a:cubicBezTo>
                <a:lnTo>
                  <a:pt x="207777" y="413980"/>
                </a:lnTo>
                <a:cubicBezTo>
                  <a:pt x="92039" y="413980"/>
                  <a:pt x="0" y="322290"/>
                  <a:pt x="0" y="206990"/>
                </a:cubicBezTo>
                <a:lnTo>
                  <a:pt x="0" y="206990"/>
                </a:lnTo>
                <a:cubicBezTo>
                  <a:pt x="0" y="91690"/>
                  <a:pt x="92039" y="0"/>
                  <a:pt x="207777" y="0"/>
                </a:cubicBezTo>
                <a:close/>
                <a:moveTo>
                  <a:pt x="356162" y="206895"/>
                </a:moveTo>
                <a:lnTo>
                  <a:pt x="356162" y="206895"/>
                </a:lnTo>
                <a:cubicBezTo>
                  <a:pt x="356162" y="124118"/>
                  <a:pt x="290869" y="59072"/>
                  <a:pt x="207777" y="59072"/>
                </a:cubicBezTo>
                <a:lnTo>
                  <a:pt x="207777" y="59072"/>
                </a:lnTo>
                <a:cubicBezTo>
                  <a:pt x="124685" y="59072"/>
                  <a:pt x="59392" y="124118"/>
                  <a:pt x="59392" y="206895"/>
                </a:cubicBezTo>
                <a:lnTo>
                  <a:pt x="59392" y="206895"/>
                </a:lnTo>
                <a:cubicBezTo>
                  <a:pt x="59392" y="289672"/>
                  <a:pt x="124685" y="354718"/>
                  <a:pt x="207777" y="354718"/>
                </a:cubicBezTo>
                <a:lnTo>
                  <a:pt x="207777" y="354718"/>
                </a:lnTo>
                <a:cubicBezTo>
                  <a:pt x="290869" y="354718"/>
                  <a:pt x="356162" y="289672"/>
                  <a:pt x="356162" y="206895"/>
                </a:cubicBezTo>
                <a:close/>
                <a:moveTo>
                  <a:pt x="1276168" y="0"/>
                </a:moveTo>
                <a:lnTo>
                  <a:pt x="1276168" y="0"/>
                </a:lnTo>
                <a:cubicBezTo>
                  <a:pt x="1391907" y="0"/>
                  <a:pt x="1483945" y="91690"/>
                  <a:pt x="1483945" y="206990"/>
                </a:cubicBezTo>
                <a:lnTo>
                  <a:pt x="1483945" y="206990"/>
                </a:lnTo>
                <a:cubicBezTo>
                  <a:pt x="1483945" y="322290"/>
                  <a:pt x="1391907" y="413980"/>
                  <a:pt x="1276168" y="413980"/>
                </a:cubicBezTo>
                <a:lnTo>
                  <a:pt x="1276168" y="413980"/>
                </a:lnTo>
                <a:cubicBezTo>
                  <a:pt x="1160430" y="413980"/>
                  <a:pt x="1068391" y="322290"/>
                  <a:pt x="1068391" y="206990"/>
                </a:cubicBezTo>
                <a:lnTo>
                  <a:pt x="1068391" y="206990"/>
                </a:lnTo>
                <a:cubicBezTo>
                  <a:pt x="1068391" y="91690"/>
                  <a:pt x="1160430" y="0"/>
                  <a:pt x="1276168" y="0"/>
                </a:cubicBezTo>
                <a:close/>
                <a:moveTo>
                  <a:pt x="1424553" y="206895"/>
                </a:moveTo>
                <a:lnTo>
                  <a:pt x="1424553" y="206895"/>
                </a:lnTo>
                <a:cubicBezTo>
                  <a:pt x="1424553" y="124118"/>
                  <a:pt x="1359260" y="59072"/>
                  <a:pt x="1276168" y="59072"/>
                </a:cubicBezTo>
                <a:lnTo>
                  <a:pt x="1276168" y="59072"/>
                </a:lnTo>
                <a:cubicBezTo>
                  <a:pt x="1193076" y="59072"/>
                  <a:pt x="1127783" y="124118"/>
                  <a:pt x="1127783" y="206895"/>
                </a:cubicBezTo>
                <a:lnTo>
                  <a:pt x="1127783" y="206895"/>
                </a:lnTo>
                <a:cubicBezTo>
                  <a:pt x="1127783" y="289672"/>
                  <a:pt x="1193076" y="354718"/>
                  <a:pt x="1276168" y="354718"/>
                </a:cubicBezTo>
                <a:lnTo>
                  <a:pt x="1276168" y="354718"/>
                </a:lnTo>
                <a:cubicBezTo>
                  <a:pt x="1359260" y="354718"/>
                  <a:pt x="1424553" y="289672"/>
                  <a:pt x="1424553" y="206895"/>
                </a:cubicBezTo>
                <a:close/>
                <a:moveTo>
                  <a:pt x="207777" y="1064249"/>
                </a:moveTo>
                <a:lnTo>
                  <a:pt x="207777" y="1064249"/>
                </a:lnTo>
                <a:cubicBezTo>
                  <a:pt x="323515" y="1064249"/>
                  <a:pt x="415554" y="1155938"/>
                  <a:pt x="415554" y="1271238"/>
                </a:cubicBezTo>
                <a:lnTo>
                  <a:pt x="415554" y="1271238"/>
                </a:lnTo>
                <a:cubicBezTo>
                  <a:pt x="415554" y="1386538"/>
                  <a:pt x="323515" y="1478228"/>
                  <a:pt x="207777" y="1478228"/>
                </a:cubicBezTo>
                <a:lnTo>
                  <a:pt x="207777" y="1478228"/>
                </a:lnTo>
                <a:cubicBezTo>
                  <a:pt x="92039" y="1478228"/>
                  <a:pt x="0" y="1386538"/>
                  <a:pt x="0" y="1271238"/>
                </a:cubicBezTo>
                <a:lnTo>
                  <a:pt x="0" y="1271238"/>
                </a:lnTo>
                <a:cubicBezTo>
                  <a:pt x="0" y="1155938"/>
                  <a:pt x="92039" y="1064249"/>
                  <a:pt x="207777" y="1064249"/>
                </a:cubicBezTo>
                <a:close/>
                <a:moveTo>
                  <a:pt x="356162" y="1271238"/>
                </a:moveTo>
                <a:lnTo>
                  <a:pt x="356162" y="1271238"/>
                </a:lnTo>
                <a:cubicBezTo>
                  <a:pt x="356162" y="1188461"/>
                  <a:pt x="290869" y="1123416"/>
                  <a:pt x="207777" y="1123416"/>
                </a:cubicBezTo>
                <a:lnTo>
                  <a:pt x="207777" y="1123416"/>
                </a:lnTo>
                <a:cubicBezTo>
                  <a:pt x="124685" y="1123416"/>
                  <a:pt x="59392" y="1188461"/>
                  <a:pt x="59392" y="1271238"/>
                </a:cubicBezTo>
                <a:lnTo>
                  <a:pt x="59392" y="1271238"/>
                </a:lnTo>
                <a:cubicBezTo>
                  <a:pt x="59392" y="1354016"/>
                  <a:pt x="124685" y="1419061"/>
                  <a:pt x="207777" y="1419061"/>
                </a:cubicBezTo>
                <a:lnTo>
                  <a:pt x="207777" y="1419061"/>
                </a:lnTo>
                <a:cubicBezTo>
                  <a:pt x="290869" y="1419061"/>
                  <a:pt x="356162" y="1354016"/>
                  <a:pt x="356162" y="1271238"/>
                </a:cubicBezTo>
                <a:close/>
                <a:moveTo>
                  <a:pt x="118784" y="206895"/>
                </a:moveTo>
                <a:cubicBezTo>
                  <a:pt x="118784" y="255916"/>
                  <a:pt x="158664" y="295551"/>
                  <a:pt x="207777" y="295551"/>
                </a:cubicBezTo>
                <a:cubicBezTo>
                  <a:pt x="256890" y="295551"/>
                  <a:pt x="296770" y="255822"/>
                  <a:pt x="296770" y="206895"/>
                </a:cubicBezTo>
                <a:cubicBezTo>
                  <a:pt x="296770" y="157968"/>
                  <a:pt x="256890" y="118239"/>
                  <a:pt x="207777" y="118239"/>
                </a:cubicBezTo>
                <a:cubicBezTo>
                  <a:pt x="158664" y="118239"/>
                  <a:pt x="118784" y="157968"/>
                  <a:pt x="118784" y="206895"/>
                </a:cubicBezTo>
                <a:close/>
                <a:moveTo>
                  <a:pt x="1187080" y="206895"/>
                </a:moveTo>
                <a:cubicBezTo>
                  <a:pt x="1187080" y="255916"/>
                  <a:pt x="1226960" y="295551"/>
                  <a:pt x="1276073" y="295551"/>
                </a:cubicBezTo>
                <a:cubicBezTo>
                  <a:pt x="1325186" y="295551"/>
                  <a:pt x="1365066" y="255822"/>
                  <a:pt x="1365066" y="206895"/>
                </a:cubicBezTo>
                <a:cubicBezTo>
                  <a:pt x="1365066" y="157968"/>
                  <a:pt x="1325186" y="118239"/>
                  <a:pt x="1276073" y="118239"/>
                </a:cubicBezTo>
                <a:cubicBezTo>
                  <a:pt x="1226960" y="118239"/>
                  <a:pt x="1187080" y="157968"/>
                  <a:pt x="1187080" y="206895"/>
                </a:cubicBezTo>
                <a:close/>
                <a:moveTo>
                  <a:pt x="118784" y="1271238"/>
                </a:moveTo>
                <a:cubicBezTo>
                  <a:pt x="118784" y="1320260"/>
                  <a:pt x="158664" y="1359894"/>
                  <a:pt x="207777" y="1359894"/>
                </a:cubicBezTo>
                <a:cubicBezTo>
                  <a:pt x="256890" y="1359894"/>
                  <a:pt x="296770" y="1320165"/>
                  <a:pt x="296770" y="1271238"/>
                </a:cubicBezTo>
                <a:cubicBezTo>
                  <a:pt x="296770" y="1222312"/>
                  <a:pt x="256890" y="1182583"/>
                  <a:pt x="207777" y="1182583"/>
                </a:cubicBezTo>
                <a:cubicBezTo>
                  <a:pt x="158664" y="1182583"/>
                  <a:pt x="118784" y="1222312"/>
                  <a:pt x="118784" y="1271238"/>
                </a:cubicBezTo>
                <a:close/>
              </a:path>
            </a:pathLst>
          </a:custGeom>
          <a:solidFill>
            <a:schemeClr val="bg1"/>
          </a:solidFill>
          <a:ln w="950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526" name="Рисунок 5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8631" y="24275"/>
            <a:ext cx="8843643" cy="683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1619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vi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762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59887" y="2479066"/>
            <a:ext cx="5421906" cy="1077218"/>
          </a:xfrm>
          <a:prstGeom prst="rect">
            <a:avLst/>
          </a:prstGeom>
        </p:spPr>
        <p:txBody>
          <a:bodyPr vert="horz" wrap="square" lIns="0" tIns="45720" rIns="91440" bIns="45720" rtlCol="0" anchor="ctr">
            <a:spAutoFit/>
          </a:bodyPr>
          <a:lstStyle>
            <a:lvl1pPr>
              <a:lnSpc>
                <a:spcPct val="100000"/>
              </a:lnSpc>
              <a:defRPr sz="3200" b="1" baseline="0"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ашей</a:t>
            </a:r>
            <a:r>
              <a:rPr lang="en-US" dirty="0"/>
              <a:t> </a:t>
            </a:r>
            <a:r>
              <a:rPr lang="ru-RU" dirty="0"/>
              <a:t>презентации</a:t>
            </a:r>
          </a:p>
        </p:txBody>
      </p:sp>
      <p:sp>
        <p:nvSpPr>
          <p:cNvPr id="36" name="Текст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59887" y="4394178"/>
            <a:ext cx="5421906" cy="27699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8" name="Текст 24"/>
          <p:cNvSpPr>
            <a:spLocks noGrp="1"/>
          </p:cNvSpPr>
          <p:nvPr>
            <p:ph type="body" sz="quarter" idx="13" hasCustomPrompt="1"/>
          </p:nvPr>
        </p:nvSpPr>
        <p:spPr>
          <a:xfrm>
            <a:off x="1059887" y="5949091"/>
            <a:ext cx="5421906" cy="215444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F4728A2-0510-1CFB-613A-38143E4C6B9A}"/>
              </a:ext>
            </a:extLst>
          </p:cNvPr>
          <p:cNvSpPr/>
          <p:nvPr userDrawn="1"/>
        </p:nvSpPr>
        <p:spPr>
          <a:xfrm>
            <a:off x="2" y="0"/>
            <a:ext cx="48662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400" spc="600" dirty="0">
                <a:latin typeface="Candara Light" panose="020E0502030303020204" pitchFamily="34" charset="0"/>
              </a:rPr>
              <a:t>РЕШЕНИЯ, КОТОРЫЕ РАБОТАЮТ</a:t>
            </a:r>
          </a:p>
        </p:txBody>
      </p:sp>
    </p:spTree>
    <p:extLst>
      <p:ext uri="{BB962C8B-B14F-4D97-AF65-F5344CB8AC3E}">
        <p14:creationId xmlns:p14="http://schemas.microsoft.com/office/powerpoint/2010/main" val="390822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01">
          <p15:clr>
            <a:srgbClr val="FBAE40"/>
          </p15:clr>
        </p15:guide>
        <p15:guide id="6" orient="horz" pos="290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>
            <a:spLocks/>
          </p:cNvSpPr>
          <p:nvPr/>
        </p:nvSpPr>
        <p:spPr>
          <a:xfrm>
            <a:off x="8126705" y="0"/>
            <a:ext cx="40652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с двумя скругленными соседними углами 8"/>
          <p:cNvSpPr/>
          <p:nvPr/>
        </p:nvSpPr>
        <p:spPr>
          <a:xfrm>
            <a:off x="5956066" y="1219200"/>
            <a:ext cx="4336862" cy="5638800"/>
          </a:xfrm>
          <a:prstGeom prst="round2SameRect">
            <a:avLst>
              <a:gd name="adj1" fmla="val 1491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Текст 38"/>
          <p:cNvSpPr>
            <a:spLocks noGrp="1"/>
          </p:cNvSpPr>
          <p:nvPr>
            <p:ph type="body" sz="quarter" idx="13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0" name="Текст 38"/>
          <p:cNvSpPr>
            <a:spLocks noGrp="1"/>
          </p:cNvSpPr>
          <p:nvPr>
            <p:ph type="body" sz="quarter" idx="14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4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7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51664"/>
            <a:ext cx="1130204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249" name="Text Placeholder 2"/>
          <p:cNvSpPr>
            <a:spLocks noGrp="1"/>
          </p:cNvSpPr>
          <p:nvPr>
            <p:ph idx="1" hasCustomPrompt="1"/>
          </p:nvPr>
        </p:nvSpPr>
        <p:spPr>
          <a:xfrm>
            <a:off x="442913" y="3121224"/>
            <a:ext cx="4662659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sz="2000" b="1"/>
            </a:lvl1pPr>
          </a:lstStyle>
          <a:p>
            <a:pPr lvl="0"/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текста</a:t>
            </a:r>
            <a:endParaRPr lang="en-US" dirty="0"/>
          </a:p>
        </p:txBody>
      </p:sp>
      <p:sp>
        <p:nvSpPr>
          <p:cNvPr id="251" name="Rectangle 12"/>
          <p:cNvSpPr/>
          <p:nvPr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252" name="Группа 251"/>
          <p:cNvGrpSpPr/>
          <p:nvPr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253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255" name="Полилиния 254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256" name="Полилиния 255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58" name="Рисунок 257"/>
          <p:cNvSpPr>
            <a:spLocks noGrp="1"/>
          </p:cNvSpPr>
          <p:nvPr>
            <p:ph type="pic" sz="quarter" idx="15" hasCustomPrompt="1"/>
          </p:nvPr>
        </p:nvSpPr>
        <p:spPr>
          <a:xfrm>
            <a:off x="6759648" y="2615552"/>
            <a:ext cx="2729698" cy="272969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ставьте </a:t>
            </a:r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9823"/>
          <a:stretch/>
        </p:blipFill>
        <p:spPr>
          <a:xfrm>
            <a:off x="5908409" y="1219200"/>
            <a:ext cx="4432176" cy="56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54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2"/>
          <p:cNvSpPr/>
          <p:nvPr userDrawn="1"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6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9" name="Полилиния 8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1" name="Полилиния 10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50361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2175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Текст 38"/>
          <p:cNvSpPr>
            <a:spLocks noGrp="1"/>
          </p:cNvSpPr>
          <p:nvPr>
            <p:ph type="body" sz="quarter" idx="13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0" name="Текст 38"/>
          <p:cNvSpPr>
            <a:spLocks noGrp="1"/>
          </p:cNvSpPr>
          <p:nvPr>
            <p:ph type="body" sz="quarter" idx="14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4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7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51664"/>
            <a:ext cx="1130204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6589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859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>
            <a:spLocks/>
          </p:cNvSpPr>
          <p:nvPr userDrawn="1"/>
        </p:nvSpPr>
        <p:spPr>
          <a:xfrm>
            <a:off x="8126705" y="0"/>
            <a:ext cx="40652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с двумя скругленными соседними углами 8"/>
          <p:cNvSpPr/>
          <p:nvPr userDrawn="1"/>
        </p:nvSpPr>
        <p:spPr>
          <a:xfrm>
            <a:off x="5956066" y="1219200"/>
            <a:ext cx="4336862" cy="5638800"/>
          </a:xfrm>
          <a:prstGeom prst="round2SameRect">
            <a:avLst>
              <a:gd name="adj1" fmla="val 1491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Текст 3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0" name="Текст 38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4" name="Текст 29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7" name="Заголовок 15"/>
          <p:cNvSpPr>
            <a:spLocks noGrp="1"/>
          </p:cNvSpPr>
          <p:nvPr userDrawn="1">
            <p:ph type="title" hasCustomPrompt="1"/>
          </p:nvPr>
        </p:nvSpPr>
        <p:spPr>
          <a:xfrm>
            <a:off x="442913" y="451664"/>
            <a:ext cx="1130204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249" name="Text Placeholder 2"/>
          <p:cNvSpPr>
            <a:spLocks noGrp="1"/>
          </p:cNvSpPr>
          <p:nvPr userDrawn="1">
            <p:ph idx="1" hasCustomPrompt="1"/>
          </p:nvPr>
        </p:nvSpPr>
        <p:spPr>
          <a:xfrm>
            <a:off x="442913" y="3121224"/>
            <a:ext cx="4662659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sz="2000" b="1"/>
            </a:lvl1pPr>
          </a:lstStyle>
          <a:p>
            <a:pPr lvl="0"/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текста</a:t>
            </a:r>
            <a:endParaRPr lang="en-US" dirty="0"/>
          </a:p>
        </p:txBody>
      </p:sp>
      <p:sp>
        <p:nvSpPr>
          <p:cNvPr id="251" name="Rectangle 12"/>
          <p:cNvSpPr/>
          <p:nvPr userDrawn="1"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252" name="Группа 251"/>
          <p:cNvGrpSpPr/>
          <p:nvPr userDrawn="1"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253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255" name="Полилиния 254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256" name="Полилиния 255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58" name="Рисунок 257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6759648" y="2615552"/>
            <a:ext cx="2729698" cy="272969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ставьте </a:t>
            </a:r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9823"/>
          <a:stretch/>
        </p:blipFill>
        <p:spPr>
          <a:xfrm>
            <a:off x="5908409" y="1219200"/>
            <a:ext cx="4432176" cy="56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260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ent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380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848" imgH="851" progId="TCLayout.ActiveDocument.1">
                  <p:embed/>
                </p:oleObj>
              </mc:Choice>
              <mc:Fallback>
                <p:oleObj name="Слайд think-cell" r:id="rId3" imgW="848" imgH="851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>
            <a:spLocks/>
          </p:cNvSpPr>
          <p:nvPr userDrawn="1"/>
        </p:nvSpPr>
        <p:spPr>
          <a:xfrm>
            <a:off x="0" y="0"/>
            <a:ext cx="12192000" cy="17002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51664"/>
            <a:ext cx="1128990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5" name="Текст 38"/>
          <p:cNvSpPr>
            <a:spLocks noGrp="1"/>
          </p:cNvSpPr>
          <p:nvPr>
            <p:ph type="body" sz="quarter" idx="20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16" name="Текст 38"/>
          <p:cNvSpPr>
            <a:spLocks noGrp="1"/>
          </p:cNvSpPr>
          <p:nvPr>
            <p:ph type="body" sz="quarter" idx="21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7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</p:spTree>
    <p:extLst>
      <p:ext uri="{BB962C8B-B14F-4D97-AF65-F5344CB8AC3E}">
        <p14:creationId xmlns:p14="http://schemas.microsoft.com/office/powerpoint/2010/main" val="2365808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orient="horz" pos="2432">
          <p15:clr>
            <a:srgbClr val="FBAE40"/>
          </p15:clr>
        </p15:guide>
        <p15:guide id="8" pos="1840">
          <p15:clr>
            <a:srgbClr val="FBAE40"/>
          </p15:clr>
        </p15:guide>
        <p15:guide id="9" pos="2131">
          <p15:clr>
            <a:srgbClr val="FBAE40"/>
          </p15:clr>
        </p15:guide>
        <p15:guide id="10" pos="3706">
          <p15:clr>
            <a:srgbClr val="FBAE40"/>
          </p15:clr>
        </p15:guide>
        <p15:guide id="11" pos="3981">
          <p15:clr>
            <a:srgbClr val="FBAE40"/>
          </p15:clr>
        </p15:guide>
        <p15:guide id="12" pos="5555">
          <p15:clr>
            <a:srgbClr val="FBAE40"/>
          </p15:clr>
        </p15:guide>
        <p15:guide id="13" pos="582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ent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635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848" imgH="851" progId="TCLayout.ActiveDocument.1">
                  <p:embed/>
                </p:oleObj>
              </mc:Choice>
              <mc:Fallback>
                <p:oleObj name="Слайд think-cell" r:id="rId3" imgW="848" imgH="851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Прямоугольник 19"/>
          <p:cNvSpPr>
            <a:spLocks/>
          </p:cNvSpPr>
          <p:nvPr userDrawn="1"/>
        </p:nvSpPr>
        <p:spPr>
          <a:xfrm>
            <a:off x="0" y="5156200"/>
            <a:ext cx="12192000" cy="1700213"/>
          </a:xfrm>
          <a:prstGeom prst="rect">
            <a:avLst/>
          </a:prstGeom>
          <a:solidFill>
            <a:srgbClr val="0B18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51664"/>
            <a:ext cx="1128990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7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6" name="Текст 38"/>
          <p:cNvSpPr>
            <a:spLocks noGrp="1"/>
          </p:cNvSpPr>
          <p:nvPr>
            <p:ph type="body" sz="quarter" idx="21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2" name="Текст 38">
            <a:extLst>
              <a:ext uri="{FF2B5EF4-FFF2-40B4-BE49-F238E27FC236}">
                <a16:creationId xmlns:a16="http://schemas.microsoft.com/office/drawing/2014/main" id="{315FF90D-F2B0-3149-E8BB-A06500F5BC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460E4700-B57C-1B03-4613-5678684BFEE6}"/>
              </a:ext>
            </a:extLst>
          </p:cNvPr>
          <p:cNvSpPr/>
          <p:nvPr userDrawn="1"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423E46-B7A0-4744-B3E1-320992BDBEC7}" type="slidenum">
              <a:rPr kumimoji="0" lang="ru-RU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7DB17AEE-98FD-F471-3702-3B562CD1902E}"/>
              </a:ext>
            </a:extLst>
          </p:cNvPr>
          <p:cNvGrpSpPr/>
          <p:nvPr userDrawn="1"/>
        </p:nvGrpSpPr>
        <p:grpSpPr>
          <a:xfrm>
            <a:off x="11324361" y="6517061"/>
            <a:ext cx="424728" cy="184669"/>
            <a:chOff x="6626594" y="3238091"/>
            <a:chExt cx="3421274" cy="1487547"/>
          </a:xfrm>
        </p:grpSpPr>
        <p:grpSp>
          <p:nvGrpSpPr>
            <p:cNvPr id="14" name="Рисунок 48">
              <a:extLst>
                <a:ext uri="{FF2B5EF4-FFF2-40B4-BE49-F238E27FC236}">
                  <a16:creationId xmlns:a16="http://schemas.microsoft.com/office/drawing/2014/main" id="{1B2FFAAD-4879-E8A8-3A1B-2F2655DBA16B}"/>
                </a:ext>
              </a:extLst>
            </p:cNvPr>
            <p:cNvGrpSpPr/>
            <p:nvPr/>
          </p:nvGrpSpPr>
          <p:grpSpPr>
            <a:xfrm>
              <a:off x="6626594" y="3238091"/>
              <a:ext cx="2540911" cy="1487547"/>
              <a:chOff x="6626594" y="3238091"/>
              <a:chExt cx="2540911" cy="1487547"/>
            </a:xfrm>
            <a:solidFill>
              <a:srgbClr val="171523"/>
            </a:solidFill>
          </p:grpSpPr>
          <p:sp>
            <p:nvSpPr>
              <p:cNvPr id="17" name="Полилиния 18">
                <a:extLst>
                  <a:ext uri="{FF2B5EF4-FFF2-40B4-BE49-F238E27FC236}">
                    <a16:creationId xmlns:a16="http://schemas.microsoft.com/office/drawing/2014/main" id="{74D78183-A4FF-B6EC-FDCC-681B2E510ECE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8" name="Полилиния 19">
                <a:extLst>
                  <a:ext uri="{FF2B5EF4-FFF2-40B4-BE49-F238E27FC236}">
                    <a16:creationId xmlns:a16="http://schemas.microsoft.com/office/drawing/2014/main" id="{11A8732F-32BD-FCBF-602E-523904DC33CD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15" name="Полилиния 17">
              <a:extLst>
                <a:ext uri="{FF2B5EF4-FFF2-40B4-BE49-F238E27FC236}">
                  <a16:creationId xmlns:a16="http://schemas.microsoft.com/office/drawing/2014/main" id="{73CEF082-4DA7-3CD9-DE92-03C3017D7ED7}"/>
                </a:ext>
              </a:extLst>
            </p:cNvPr>
            <p:cNvSpPr/>
            <p:nvPr/>
          </p:nvSpPr>
          <p:spPr>
            <a:xfrm>
              <a:off x="9196128" y="3261224"/>
              <a:ext cx="851740" cy="1441279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208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42">
          <p15:clr>
            <a:srgbClr val="FBAE40"/>
          </p15:clr>
        </p15:guide>
        <p15:guide id="2" pos="2137">
          <p15:clr>
            <a:srgbClr val="FBAE40"/>
          </p15:clr>
        </p15:guide>
        <p15:guide id="3" pos="3701">
          <p15:clr>
            <a:srgbClr val="FBAE40"/>
          </p15:clr>
        </p15:guide>
        <p15:guide id="4" pos="3987">
          <p15:clr>
            <a:srgbClr val="FBAE40"/>
          </p15:clr>
        </p15:guide>
        <p15:guide id="5" pos="5552">
          <p15:clr>
            <a:srgbClr val="FBAE40"/>
          </p15:clr>
        </p15:guide>
        <p15:guide id="6" pos="582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hibi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16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Текст 38"/>
          <p:cNvSpPr>
            <a:spLocks noGrp="1"/>
          </p:cNvSpPr>
          <p:nvPr>
            <p:ph type="body" sz="quarter" idx="13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0" name="Текст 38"/>
          <p:cNvSpPr>
            <a:spLocks noGrp="1"/>
          </p:cNvSpPr>
          <p:nvPr>
            <p:ph type="body" sz="quarter" idx="14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4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7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51664"/>
            <a:ext cx="1130204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Полилиния 10">
            <a:extLst>
              <a:ext uri="{FF2B5EF4-FFF2-40B4-BE49-F238E27FC236}">
                <a16:creationId xmlns:a16="http://schemas.microsoft.com/office/drawing/2014/main" id="{426C0A8D-D200-9B5E-DE81-63CCB23992C3}"/>
              </a:ext>
            </a:extLst>
          </p:cNvPr>
          <p:cNvSpPr/>
          <p:nvPr/>
        </p:nvSpPr>
        <p:spPr>
          <a:xfrm>
            <a:off x="11643351" y="6519933"/>
            <a:ext cx="105738" cy="178925"/>
          </a:xfrm>
          <a:custGeom>
            <a:avLst/>
            <a:gdLst>
              <a:gd name="connsiteX0" fmla="*/ 851741 w 851740"/>
              <a:gd name="connsiteY0" fmla="*/ 0 h 1441279"/>
              <a:gd name="connsiteX1" fmla="*/ 161146 w 851740"/>
              <a:gd name="connsiteY1" fmla="*/ 1441280 h 1441279"/>
              <a:gd name="connsiteX2" fmla="*/ 0 w 851740"/>
              <a:gd name="connsiteY2" fmla="*/ 1441280 h 1441279"/>
              <a:gd name="connsiteX3" fmla="*/ 690595 w 851740"/>
              <a:gd name="connsiteY3" fmla="*/ 0 h 1441279"/>
              <a:gd name="connsiteX4" fmla="*/ 851741 w 851740"/>
              <a:gd name="connsiteY4" fmla="*/ 0 h 1441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740" h="1441279">
                <a:moveTo>
                  <a:pt x="851741" y="0"/>
                </a:moveTo>
                <a:lnTo>
                  <a:pt x="161146" y="1441280"/>
                </a:lnTo>
                <a:lnTo>
                  <a:pt x="0" y="1441280"/>
                </a:lnTo>
                <a:lnTo>
                  <a:pt x="690595" y="0"/>
                </a:lnTo>
                <a:lnTo>
                  <a:pt x="851741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0259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068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2083509"/>
            <a:ext cx="5668327" cy="848300"/>
          </a:xfrm>
          <a:prstGeom prst="rect">
            <a:avLst/>
          </a:prstGeom>
        </p:spPr>
        <p:txBody>
          <a:bodyPr vert="horz" wrap="square" lIns="36000" tIns="36000" rIns="36000" bIns="36000" anchor="t" anchorCtr="0">
            <a:spAutoFit/>
          </a:bodyPr>
          <a:lstStyle>
            <a:lvl1pPr>
              <a:defRPr sz="2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Слайд</a:t>
            </a:r>
            <a:br>
              <a:rPr lang="ru-RU" dirty="0"/>
            </a:br>
            <a:r>
              <a:rPr lang="ru-RU" dirty="0"/>
              <a:t>разделитель</a:t>
            </a:r>
          </a:p>
        </p:txBody>
      </p:sp>
      <p:sp>
        <p:nvSpPr>
          <p:cNvPr id="13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243629"/>
            <a:ext cx="3245168" cy="176971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15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764654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64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2089994"/>
            <a:ext cx="5668327" cy="848300"/>
          </a:xfrm>
          <a:prstGeom prst="rect">
            <a:avLst/>
          </a:prstGeom>
        </p:spPr>
        <p:txBody>
          <a:bodyPr vert="horz" wrap="square" lIns="36000" tIns="36000" rIns="36000" bIns="36000" anchor="t" anchorCtr="0">
            <a:spAutoFit/>
          </a:bodyPr>
          <a:lstStyle>
            <a:lvl1pPr>
              <a:defRPr sz="2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Слайд</a:t>
            </a:r>
            <a:br>
              <a:rPr lang="ru-RU" dirty="0"/>
            </a:br>
            <a:r>
              <a:rPr lang="ru-RU" dirty="0"/>
              <a:t>разделитель</a:t>
            </a:r>
          </a:p>
        </p:txBody>
      </p:sp>
      <p:sp>
        <p:nvSpPr>
          <p:cNvPr id="9" name="Полилиния 8">
            <a:extLst>
              <a:ext uri="{FF2B5EF4-FFF2-40B4-BE49-F238E27FC236}">
                <a16:creationId xmlns:a16="http://schemas.microsoft.com/office/drawing/2014/main" id="{426C0A8D-D200-9B5E-DE81-63CCB23992C3}"/>
              </a:ext>
            </a:extLst>
          </p:cNvPr>
          <p:cNvSpPr/>
          <p:nvPr/>
        </p:nvSpPr>
        <p:spPr>
          <a:xfrm>
            <a:off x="11643351" y="6519933"/>
            <a:ext cx="105738" cy="178925"/>
          </a:xfrm>
          <a:custGeom>
            <a:avLst/>
            <a:gdLst>
              <a:gd name="connsiteX0" fmla="*/ 851741 w 851740"/>
              <a:gd name="connsiteY0" fmla="*/ 0 h 1441279"/>
              <a:gd name="connsiteX1" fmla="*/ 161146 w 851740"/>
              <a:gd name="connsiteY1" fmla="*/ 1441280 h 1441279"/>
              <a:gd name="connsiteX2" fmla="*/ 0 w 851740"/>
              <a:gd name="connsiteY2" fmla="*/ 1441280 h 1441279"/>
              <a:gd name="connsiteX3" fmla="*/ 690595 w 851740"/>
              <a:gd name="connsiteY3" fmla="*/ 0 h 1441279"/>
              <a:gd name="connsiteX4" fmla="*/ 851741 w 851740"/>
              <a:gd name="connsiteY4" fmla="*/ 0 h 1441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740" h="1441279">
                <a:moveTo>
                  <a:pt x="851741" y="0"/>
                </a:moveTo>
                <a:lnTo>
                  <a:pt x="161146" y="1441280"/>
                </a:lnTo>
                <a:lnTo>
                  <a:pt x="0" y="1441280"/>
                </a:lnTo>
                <a:lnTo>
                  <a:pt x="690595" y="0"/>
                </a:lnTo>
                <a:lnTo>
                  <a:pt x="851741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Текст 29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2913" y="243629"/>
            <a:ext cx="3245168" cy="176971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15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347704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8509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 userDrawn="1"/>
        </p:nvSpPr>
        <p:spPr>
          <a:xfrm>
            <a:off x="0" y="0"/>
            <a:ext cx="812028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49263"/>
            <a:ext cx="7453312" cy="2769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defRPr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11" name="Полилиния 10">
            <a:extLst>
              <a:ext uri="{FF2B5EF4-FFF2-40B4-BE49-F238E27FC236}">
                <a16:creationId xmlns:a16="http://schemas.microsoft.com/office/drawing/2014/main" id="{426C0A8D-D200-9B5E-DE81-63CCB23992C3}"/>
              </a:ext>
            </a:extLst>
          </p:cNvPr>
          <p:cNvSpPr/>
          <p:nvPr/>
        </p:nvSpPr>
        <p:spPr>
          <a:xfrm>
            <a:off x="11643351" y="6519933"/>
            <a:ext cx="105738" cy="178925"/>
          </a:xfrm>
          <a:custGeom>
            <a:avLst/>
            <a:gdLst>
              <a:gd name="connsiteX0" fmla="*/ 851741 w 851740"/>
              <a:gd name="connsiteY0" fmla="*/ 0 h 1441279"/>
              <a:gd name="connsiteX1" fmla="*/ 161146 w 851740"/>
              <a:gd name="connsiteY1" fmla="*/ 1441280 h 1441279"/>
              <a:gd name="connsiteX2" fmla="*/ 0 w 851740"/>
              <a:gd name="connsiteY2" fmla="*/ 1441280 h 1441279"/>
              <a:gd name="connsiteX3" fmla="*/ 690595 w 851740"/>
              <a:gd name="connsiteY3" fmla="*/ 0 h 1441279"/>
              <a:gd name="connsiteX4" fmla="*/ 851741 w 851740"/>
              <a:gd name="connsiteY4" fmla="*/ 0 h 1441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740" h="1441279">
                <a:moveTo>
                  <a:pt x="851741" y="0"/>
                </a:moveTo>
                <a:lnTo>
                  <a:pt x="161146" y="1441280"/>
                </a:lnTo>
                <a:lnTo>
                  <a:pt x="0" y="1441280"/>
                </a:lnTo>
                <a:lnTo>
                  <a:pt x="690595" y="0"/>
                </a:lnTo>
                <a:lnTo>
                  <a:pt x="851741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Текст 24">
            <a:extLst>
              <a:ext uri="{FF2B5EF4-FFF2-40B4-BE49-F238E27FC236}">
                <a16:creationId xmlns:a16="http://schemas.microsoft.com/office/drawing/2014/main" id="{E05899F0-03F6-6B4C-BF0E-6A257DC766C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42913" y="1196975"/>
            <a:ext cx="5653087" cy="263149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Font typeface="+mj-lt"/>
              <a:buAutoNum type="arabicPeriod"/>
              <a:defRPr lang="ru-RU" sz="1600" b="0" kern="1200" spc="-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>
                <a:effectLst/>
              </a:rPr>
              <a:t>Раздел 1</a:t>
            </a:r>
          </a:p>
          <a:p>
            <a:pPr lvl="0"/>
            <a:r>
              <a:rPr lang="ru-RU" dirty="0">
                <a:effectLst/>
              </a:rPr>
              <a:t>Раздел 2</a:t>
            </a:r>
          </a:p>
          <a:p>
            <a:pPr lvl="0"/>
            <a:r>
              <a:rPr lang="ru-RU" dirty="0">
                <a:effectLst/>
              </a:rPr>
              <a:t>Раздел 3</a:t>
            </a:r>
          </a:p>
          <a:p>
            <a:pPr lvl="0"/>
            <a:r>
              <a:rPr lang="ru-RU" dirty="0">
                <a:effectLst/>
              </a:rPr>
              <a:t>Раздел 4</a:t>
            </a:r>
          </a:p>
          <a:p>
            <a:pPr lvl="0"/>
            <a:r>
              <a:rPr lang="ru-RU" dirty="0">
                <a:effectLst/>
              </a:rPr>
              <a:t>Раздел 5</a:t>
            </a:r>
          </a:p>
          <a:p>
            <a:pPr lvl="0"/>
            <a:r>
              <a:rPr lang="ru-RU" dirty="0">
                <a:effectLst/>
              </a:rPr>
              <a:t>Раздел 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850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  <p15:guide id="2" pos="4974">
          <p15:clr>
            <a:srgbClr val="FBAE40"/>
          </p15:clr>
        </p15:guide>
        <p15:guide id="3" pos="270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4003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 userDrawn="1"/>
        </p:nvSpPr>
        <p:spPr>
          <a:xfrm>
            <a:off x="4076700" y="0"/>
            <a:ext cx="812028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Rectangle 12"/>
          <p:cNvSpPr/>
          <p:nvPr userDrawn="1"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11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13" name="Полилиния 12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4" name="Полилиния 13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95776" y="5390253"/>
            <a:ext cx="7453313" cy="775597"/>
          </a:xfrm>
        </p:spPr>
        <p:txBody>
          <a:bodyPr vert="horz" anchor="b"/>
          <a:lstStyle>
            <a:lvl1pPr>
              <a:defRPr sz="2800"/>
            </a:lvl1pPr>
          </a:lstStyle>
          <a:p>
            <a:r>
              <a:rPr lang="ru-RU" dirty="0"/>
              <a:t>Слайд</a:t>
            </a:r>
            <a:br>
              <a:rPr lang="ru-RU" dirty="0"/>
            </a:br>
            <a:r>
              <a:rPr lang="ru-RU" dirty="0"/>
              <a:t>разделитель</a:t>
            </a:r>
          </a:p>
        </p:txBody>
      </p:sp>
      <p:sp>
        <p:nvSpPr>
          <p:cNvPr id="18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354573" y="4690668"/>
            <a:ext cx="3181107" cy="176971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15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440616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  <p15:guide id="2" pos="4974">
          <p15:clr>
            <a:srgbClr val="FBAE40"/>
          </p15:clr>
        </p15:guide>
        <p15:guide id="3" pos="270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cent_top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848" imgH="851" progId="TCLayout.ActiveDocument.1">
                  <p:embed/>
                </p:oleObj>
              </mc:Choice>
              <mc:Fallback>
                <p:oleObj name="Слайд think-cell" r:id="rId3" imgW="848" imgH="851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>
            <a:spLocks/>
          </p:cNvSpPr>
          <p:nvPr/>
        </p:nvSpPr>
        <p:spPr>
          <a:xfrm>
            <a:off x="0" y="0"/>
            <a:ext cx="12192000" cy="1700213"/>
          </a:xfrm>
          <a:prstGeom prst="rect">
            <a:avLst/>
          </a:prstGeom>
          <a:solidFill>
            <a:srgbClr val="0B18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51664"/>
            <a:ext cx="1128990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5" name="Текст 38"/>
          <p:cNvSpPr>
            <a:spLocks noGrp="1"/>
          </p:cNvSpPr>
          <p:nvPr>
            <p:ph type="body" sz="quarter" idx="20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16" name="Текст 38"/>
          <p:cNvSpPr>
            <a:spLocks noGrp="1"/>
          </p:cNvSpPr>
          <p:nvPr>
            <p:ph type="body" sz="quarter" idx="21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7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</p:spTree>
    <p:extLst>
      <p:ext uri="{BB962C8B-B14F-4D97-AF65-F5344CB8AC3E}">
        <p14:creationId xmlns:p14="http://schemas.microsoft.com/office/powerpoint/2010/main" val="201766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orient="horz" pos="2432">
          <p15:clr>
            <a:srgbClr val="FBAE40"/>
          </p15:clr>
        </p15:guide>
        <p15:guide id="8" pos="1840">
          <p15:clr>
            <a:srgbClr val="FBAE40"/>
          </p15:clr>
        </p15:guide>
        <p15:guide id="9" pos="2131">
          <p15:clr>
            <a:srgbClr val="FBAE40"/>
          </p15:clr>
        </p15:guide>
        <p15:guide id="10" pos="3706">
          <p15:clr>
            <a:srgbClr val="FBAE40"/>
          </p15:clr>
        </p15:guide>
        <p15:guide id="11" pos="3981">
          <p15:clr>
            <a:srgbClr val="FBAE40"/>
          </p15:clr>
        </p15:guide>
        <p15:guide id="12" pos="5555">
          <p15:clr>
            <a:srgbClr val="FBAE40"/>
          </p15:clr>
        </p15:guide>
        <p15:guide id="13" pos="582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981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Группа 4"/>
          <p:cNvGrpSpPr/>
          <p:nvPr userDrawn="1"/>
        </p:nvGrpSpPr>
        <p:grpSpPr>
          <a:xfrm>
            <a:off x="11324361" y="6517061"/>
            <a:ext cx="424728" cy="184669"/>
            <a:chOff x="11324361" y="6517061"/>
            <a:chExt cx="424728" cy="184669"/>
          </a:xfrm>
          <a:solidFill>
            <a:schemeClr val="bg1"/>
          </a:solidFill>
        </p:grpSpPr>
        <p:grpSp>
          <p:nvGrpSpPr>
            <p:cNvPr id="7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grpFill/>
          </p:grpSpPr>
          <p:sp>
            <p:nvSpPr>
              <p:cNvPr id="10" name="Полилиния 9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1" name="Полилиния 10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15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8737600" y="4690668"/>
            <a:ext cx="3175000" cy="176971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r">
              <a:buNone/>
              <a:defRPr sz="115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13" name="Текст 24">
            <a:extLst>
              <a:ext uri="{FF2B5EF4-FFF2-40B4-BE49-F238E27FC236}">
                <a16:creationId xmlns:a16="http://schemas.microsoft.com/office/drawing/2014/main" id="{E05899F0-03F6-6B4C-BF0E-6A257DC766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196975"/>
            <a:ext cx="6883578" cy="1892826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Font typeface="+mj-lt"/>
              <a:buAutoNum type="arabicPeriod"/>
              <a:defRPr lang="ru-RU" sz="1600" b="0" kern="1200" spc="-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  <a:lvl2pPr marL="541338" indent="-182563">
              <a:spcBef>
                <a:spcPts val="300"/>
              </a:spcBef>
              <a:spcAft>
                <a:spcPts val="0"/>
              </a:spcAft>
              <a:defRPr/>
            </a:lvl2pPr>
            <a:lvl3pPr marL="715963" indent="-176213">
              <a:defRPr/>
            </a:lvl3pPr>
          </a:lstStyle>
          <a:p>
            <a:pPr lvl="0"/>
            <a:r>
              <a:rPr lang="ru-RU" dirty="0">
                <a:effectLst/>
              </a:rPr>
              <a:t>Глава 1</a:t>
            </a:r>
          </a:p>
          <a:p>
            <a:pPr lvl="1"/>
            <a:r>
              <a:rPr lang="ru-RU" dirty="0">
                <a:effectLst/>
              </a:rPr>
              <a:t>Раздел 1</a:t>
            </a:r>
          </a:p>
          <a:p>
            <a:pPr lvl="2"/>
            <a:r>
              <a:rPr lang="ru-RU" dirty="0">
                <a:effectLst/>
              </a:rPr>
              <a:t>Подраздел 1</a:t>
            </a:r>
          </a:p>
          <a:p>
            <a:pPr lvl="0"/>
            <a:r>
              <a:rPr lang="ru-RU" dirty="0">
                <a:effectLst/>
              </a:rPr>
              <a:t>Глава 2</a:t>
            </a:r>
          </a:p>
          <a:p>
            <a:pPr lvl="0"/>
            <a:r>
              <a:rPr lang="ru-RU" dirty="0">
                <a:effectLst/>
              </a:rPr>
              <a:t>Глава 3</a:t>
            </a:r>
          </a:p>
          <a:p>
            <a:pPr lvl="0"/>
            <a:r>
              <a:rPr lang="ru-RU" dirty="0">
                <a:effectLst/>
              </a:rPr>
              <a:t>Глава 4</a:t>
            </a:r>
            <a:endParaRPr lang="ru-RU" dirty="0"/>
          </a:p>
        </p:txBody>
      </p:sp>
      <p:sp>
        <p:nvSpPr>
          <p:cNvPr id="14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49263"/>
            <a:ext cx="6883578" cy="2769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defRPr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</p:spTree>
    <p:extLst>
      <p:ext uri="{BB962C8B-B14F-4D97-AF65-F5344CB8AC3E}">
        <p14:creationId xmlns:p14="http://schemas.microsoft.com/office/powerpoint/2010/main" val="3615571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/4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0340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 userDrawn="1"/>
        </p:nvSpPr>
        <p:spPr>
          <a:xfrm flipH="1">
            <a:off x="0" y="0"/>
            <a:ext cx="3048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Текст 29">
            <a:extLst>
              <a:ext uri="{FF2B5EF4-FFF2-40B4-BE49-F238E27FC236}">
                <a16:creationId xmlns:a16="http://schemas.microsoft.com/office/drawing/2014/main" id="{881F6954-1C79-0498-F3D9-3677283BA6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2578" y="161862"/>
            <a:ext cx="8418181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4" name="Заголовок 15">
            <a:extLst>
              <a:ext uri="{FF2B5EF4-FFF2-40B4-BE49-F238E27FC236}">
                <a16:creationId xmlns:a16="http://schemas.microsoft.com/office/drawing/2014/main" id="{0D28D22E-34A4-80DD-FA47-83CEA9845C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2578" y="451411"/>
            <a:ext cx="8418181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5" name="Текст 38">
            <a:extLst>
              <a:ext uri="{FF2B5EF4-FFF2-40B4-BE49-F238E27FC236}">
                <a16:creationId xmlns:a16="http://schemas.microsoft.com/office/drawing/2014/main" id="{7F0A32C1-B8AD-AD61-6EA1-CA7FB8814D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2578" y="6273800"/>
            <a:ext cx="7704000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6" name="Текст 38">
            <a:extLst>
              <a:ext uri="{FF2B5EF4-FFF2-40B4-BE49-F238E27FC236}">
                <a16:creationId xmlns:a16="http://schemas.microsoft.com/office/drawing/2014/main" id="{2D639D71-45AC-2703-6A31-10927918AB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2578" y="6522684"/>
            <a:ext cx="7704000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</p:spTree>
    <p:extLst>
      <p:ext uri="{BB962C8B-B14F-4D97-AF65-F5344CB8AC3E}">
        <p14:creationId xmlns:p14="http://schemas.microsoft.com/office/powerpoint/2010/main" val="963342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01">
          <p15:clr>
            <a:srgbClr val="FBAE40"/>
          </p15:clr>
        </p15:guide>
        <p15:guide id="2" pos="173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2175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Текст 38"/>
          <p:cNvSpPr>
            <a:spLocks noGrp="1"/>
          </p:cNvSpPr>
          <p:nvPr>
            <p:ph type="body" sz="quarter" idx="13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0" name="Текст 38"/>
          <p:cNvSpPr>
            <a:spLocks noGrp="1"/>
          </p:cNvSpPr>
          <p:nvPr>
            <p:ph type="body" sz="quarter" idx="14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4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7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51664"/>
            <a:ext cx="1130204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0869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photo">
    <p:bg>
      <p:bgPr>
        <a:solidFill>
          <a:srgbClr val="0B18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5367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Группа 2"/>
          <p:cNvGrpSpPr/>
          <p:nvPr/>
        </p:nvGrpSpPr>
        <p:grpSpPr>
          <a:xfrm>
            <a:off x="442913" y="1269752"/>
            <a:ext cx="2778486" cy="351556"/>
            <a:chOff x="442913" y="1097782"/>
            <a:chExt cx="2778486" cy="351556"/>
          </a:xfrm>
        </p:grpSpPr>
        <p:sp>
          <p:nvSpPr>
            <p:cNvPr id="244" name="Полилиния 243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2463670" y="1143117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5" name="Полилиния 244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2968372" y="1192746"/>
              <a:ext cx="104856" cy="165742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6" name="Полилиния 245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2768978" y="1188178"/>
              <a:ext cx="161005" cy="174813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7" name="Полилиния 246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3089154" y="1188887"/>
              <a:ext cx="132245" cy="17383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8" name="Полилиния 247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2589550" y="1188215"/>
              <a:ext cx="143546" cy="170273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1927238" y="1100289"/>
              <a:ext cx="204595" cy="258162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0" name="Полилиния 249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2129327" y="1188178"/>
              <a:ext cx="160712" cy="174813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1" name="Полилиния 250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2334896" y="1192746"/>
              <a:ext cx="104855" cy="165742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2" name="Полилиния 251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1137750" y="1143769"/>
              <a:ext cx="92646" cy="215334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3" name="Полилиния 252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442913" y="1097782"/>
              <a:ext cx="213286" cy="266466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694597" y="1143769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5" name="Полилиния 254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1247816" y="1188859"/>
              <a:ext cx="160901" cy="174813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6" name="Полилиния 255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932474" y="1188859"/>
              <a:ext cx="160324" cy="174813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7" name="Полилиния 256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820477" y="1193389"/>
              <a:ext cx="104856" cy="165742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8" name="Полилиния 257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1439777" y="1188859"/>
              <a:ext cx="160419" cy="260385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1643426" y="1193389"/>
              <a:ext cx="151207" cy="255949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60" name="Полилиния 259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1615829" y="1193389"/>
              <a:ext cx="75026" cy="126773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6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42913" y="2479066"/>
            <a:ext cx="5421906" cy="1077218"/>
          </a:xfrm>
          <a:prstGeom prst="rect">
            <a:avLst/>
          </a:prstGeom>
        </p:spPr>
        <p:txBody>
          <a:bodyPr vert="horz" wrap="square" lIns="0" tIns="45720" rIns="91440" bIns="45720" rtlCol="0" anchor="ctr">
            <a:spAutoFit/>
          </a:bodyPr>
          <a:lstStyle>
            <a:lvl1pPr>
              <a:lnSpc>
                <a:spcPct val="100000"/>
              </a:lnSpc>
              <a:defRPr sz="3200" b="1" baseline="0"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ашей</a:t>
            </a:r>
            <a:r>
              <a:rPr lang="en-US" dirty="0"/>
              <a:t> </a:t>
            </a:r>
            <a:r>
              <a:rPr lang="ru-RU" dirty="0"/>
              <a:t>презентации</a:t>
            </a:r>
          </a:p>
        </p:txBody>
      </p:sp>
      <p:sp>
        <p:nvSpPr>
          <p:cNvPr id="262" name="Текст 24"/>
          <p:cNvSpPr>
            <a:spLocks noGrp="1"/>
          </p:cNvSpPr>
          <p:nvPr>
            <p:ph type="body" sz="quarter" idx="10" hasCustomPrompt="1"/>
          </p:nvPr>
        </p:nvSpPr>
        <p:spPr>
          <a:xfrm>
            <a:off x="447992" y="4394178"/>
            <a:ext cx="5421906" cy="27699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63" name="Текст 24"/>
          <p:cNvSpPr>
            <a:spLocks noGrp="1"/>
          </p:cNvSpPr>
          <p:nvPr>
            <p:ph type="body" sz="quarter" idx="13" hasCustomPrompt="1"/>
          </p:nvPr>
        </p:nvSpPr>
        <p:spPr>
          <a:xfrm>
            <a:off x="447992" y="5949091"/>
            <a:ext cx="5421906" cy="215444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28" name="object 3"/>
          <p:cNvSpPr/>
          <p:nvPr/>
        </p:nvSpPr>
        <p:spPr>
          <a:xfrm>
            <a:off x="6101202" y="738692"/>
            <a:ext cx="6090798" cy="5427158"/>
          </a:xfrm>
          <a:custGeom>
            <a:avLst/>
            <a:gdLst/>
            <a:ahLst/>
            <a:cxnLst/>
            <a:rect l="l" t="t" r="r" b="b"/>
            <a:pathLst>
              <a:path w="6510655" h="5346065">
                <a:moveTo>
                  <a:pt x="6510058" y="0"/>
                </a:moveTo>
                <a:lnTo>
                  <a:pt x="0" y="0"/>
                </a:lnTo>
                <a:lnTo>
                  <a:pt x="0" y="5346001"/>
                </a:lnTo>
                <a:lnTo>
                  <a:pt x="6510058" y="5346001"/>
                </a:lnTo>
                <a:lnTo>
                  <a:pt x="651005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rgbClr val="2F8AED"/>
              </a:gs>
            </a:gsLst>
            <a:lin ang="0" scaled="1"/>
            <a:tileRect/>
          </a:gradFill>
        </p:spPr>
        <p:txBody>
          <a:bodyPr wrap="square" lIns="0" tIns="0" rIns="0" bIns="0" rtlCol="0"/>
          <a:lstStyle/>
          <a:p>
            <a:endParaRPr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9" name="Рисунок 22"/>
          <p:cNvSpPr>
            <a:spLocks noGrp="1"/>
          </p:cNvSpPr>
          <p:nvPr>
            <p:ph type="pic" sz="quarter" idx="12" hasCustomPrompt="1"/>
          </p:nvPr>
        </p:nvSpPr>
        <p:spPr>
          <a:xfrm>
            <a:off x="6340722" y="0"/>
            <a:ext cx="5851278" cy="59537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1981984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shape">
    <p:bg>
      <p:bgPr>
        <a:solidFill>
          <a:srgbClr val="0B18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092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0"/>
            <a:ext cx="8843643" cy="6833725"/>
          </a:xfrm>
          <a:prstGeom prst="rect">
            <a:avLst/>
          </a:prstGeom>
        </p:spPr>
      </p:pic>
      <p:grpSp>
        <p:nvGrpSpPr>
          <p:cNvPr id="3" name="Группа 2"/>
          <p:cNvGrpSpPr/>
          <p:nvPr/>
        </p:nvGrpSpPr>
        <p:grpSpPr>
          <a:xfrm>
            <a:off x="442913" y="1269752"/>
            <a:ext cx="2778486" cy="351556"/>
            <a:chOff x="442913" y="1097782"/>
            <a:chExt cx="2778486" cy="351556"/>
          </a:xfrm>
        </p:grpSpPr>
        <p:sp>
          <p:nvSpPr>
            <p:cNvPr id="244" name="Полилиния 243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2463670" y="1143117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5" name="Полилиния 244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2968372" y="1192746"/>
              <a:ext cx="104856" cy="165742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6" name="Полилиния 245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2768978" y="1188178"/>
              <a:ext cx="161005" cy="174813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7" name="Полилиния 246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3089154" y="1188887"/>
              <a:ext cx="132245" cy="17383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8" name="Полилиния 247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2589550" y="1188215"/>
              <a:ext cx="143546" cy="170273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1927238" y="1100289"/>
              <a:ext cx="204595" cy="258162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0" name="Полилиния 249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2129327" y="1188178"/>
              <a:ext cx="160712" cy="174813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1" name="Полилиния 250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2334896" y="1192746"/>
              <a:ext cx="104855" cy="165742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2" name="Полилиния 251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1137750" y="1143769"/>
              <a:ext cx="92646" cy="215334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3" name="Полилиния 252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442913" y="1097782"/>
              <a:ext cx="213286" cy="266466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694597" y="1143769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5" name="Полилиния 254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1247816" y="1188859"/>
              <a:ext cx="160901" cy="174813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6" name="Полилиния 255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932474" y="1188859"/>
              <a:ext cx="160324" cy="174813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7" name="Полилиния 256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820477" y="1193389"/>
              <a:ext cx="104856" cy="165742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8" name="Полилиния 257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1439777" y="1188859"/>
              <a:ext cx="160419" cy="260385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1643426" y="1193389"/>
              <a:ext cx="151207" cy="255949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60" name="Полилиния 259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1615829" y="1193389"/>
              <a:ext cx="75026" cy="126773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6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42913" y="2479066"/>
            <a:ext cx="5421906" cy="1077218"/>
          </a:xfrm>
          <a:prstGeom prst="rect">
            <a:avLst/>
          </a:prstGeom>
        </p:spPr>
        <p:txBody>
          <a:bodyPr vert="horz" wrap="square" lIns="0" tIns="45720" rIns="91440" bIns="45720" rtlCol="0" anchor="ctr">
            <a:spAutoFit/>
          </a:bodyPr>
          <a:lstStyle>
            <a:lvl1pPr>
              <a:lnSpc>
                <a:spcPct val="100000"/>
              </a:lnSpc>
              <a:defRPr sz="3200" b="1" baseline="0"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ашей</a:t>
            </a:r>
            <a:r>
              <a:rPr lang="en-US" dirty="0"/>
              <a:t> </a:t>
            </a:r>
            <a:r>
              <a:rPr lang="ru-RU" dirty="0"/>
              <a:t>презентации</a:t>
            </a:r>
          </a:p>
        </p:txBody>
      </p:sp>
      <p:sp>
        <p:nvSpPr>
          <p:cNvPr id="262" name="Текст 24"/>
          <p:cNvSpPr>
            <a:spLocks noGrp="1"/>
          </p:cNvSpPr>
          <p:nvPr>
            <p:ph type="body" sz="quarter" idx="10" hasCustomPrompt="1"/>
          </p:nvPr>
        </p:nvSpPr>
        <p:spPr>
          <a:xfrm>
            <a:off x="447992" y="4394178"/>
            <a:ext cx="5421906" cy="27699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63" name="Текст 24"/>
          <p:cNvSpPr>
            <a:spLocks noGrp="1"/>
          </p:cNvSpPr>
          <p:nvPr>
            <p:ph type="body" sz="quarter" idx="13" hasCustomPrompt="1"/>
          </p:nvPr>
        </p:nvSpPr>
        <p:spPr>
          <a:xfrm>
            <a:off x="447992" y="5949091"/>
            <a:ext cx="5421906" cy="215444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3238018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2"/>
          <p:cNvSpPr/>
          <p:nvPr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11324361" y="6517061"/>
            <a:ext cx="424728" cy="184669"/>
            <a:chOff x="6626594" y="3238091"/>
            <a:chExt cx="3421274" cy="1487547"/>
          </a:xfrm>
        </p:grpSpPr>
        <p:grpSp>
          <p:nvGrpSpPr>
            <p:cNvPr id="5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6626594" y="3238091"/>
              <a:ext cx="2540911" cy="1487547"/>
              <a:chOff x="6626594" y="3238091"/>
              <a:chExt cx="2540911" cy="1487547"/>
            </a:xfrm>
            <a:solidFill>
              <a:srgbClr val="171523"/>
            </a:solidFill>
          </p:grpSpPr>
          <p:sp>
            <p:nvSpPr>
              <p:cNvPr id="7" name="Полилиния 6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9" name="Полилиния 8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9196128" y="3261224"/>
              <a:ext cx="851740" cy="1441279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2113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Текст 38"/>
          <p:cNvSpPr>
            <a:spLocks noGrp="1"/>
          </p:cNvSpPr>
          <p:nvPr>
            <p:ph type="body" sz="quarter" idx="13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0" name="Текст 38"/>
          <p:cNvSpPr>
            <a:spLocks noGrp="1"/>
          </p:cNvSpPr>
          <p:nvPr>
            <p:ph type="body" sz="quarter" idx="14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4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4500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7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4500" y="444926"/>
            <a:ext cx="1130204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8451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436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2083509"/>
            <a:ext cx="5668327" cy="848300"/>
          </a:xfrm>
          <a:prstGeom prst="rect">
            <a:avLst/>
          </a:prstGeom>
        </p:spPr>
        <p:txBody>
          <a:bodyPr vert="horz" wrap="square" lIns="36000" tIns="36000" rIns="36000" bIns="36000" anchor="t" anchorCtr="0">
            <a:spAutoFit/>
          </a:bodyPr>
          <a:lstStyle>
            <a:lvl1pPr>
              <a:defRPr sz="2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Слайд</a:t>
            </a:r>
            <a:br>
              <a:rPr lang="ru-RU" dirty="0"/>
            </a:br>
            <a:r>
              <a:rPr lang="ru-RU" dirty="0"/>
              <a:t>разделитель</a:t>
            </a:r>
          </a:p>
        </p:txBody>
      </p:sp>
      <p:sp>
        <p:nvSpPr>
          <p:cNvPr id="13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2" y="243629"/>
            <a:ext cx="3245168" cy="176971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15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730925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132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2" y="449263"/>
            <a:ext cx="11306175" cy="2769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>
              <a:defRPr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14" name="Текст 24">
            <a:extLst>
              <a:ext uri="{FF2B5EF4-FFF2-40B4-BE49-F238E27FC236}">
                <a16:creationId xmlns:a16="http://schemas.microsoft.com/office/drawing/2014/main" id="{E05899F0-03F6-6B4C-BF0E-6A257DC766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1" y="1196975"/>
            <a:ext cx="7453314" cy="295465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342900" indent="-342900" algn="l" defTabSz="914400" rtl="0" eaLnBrk="1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lang="ru-RU" sz="1600" b="0" kern="1200" spc="-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>
                <a:effectLst/>
              </a:rPr>
              <a:t>Раздел 1</a:t>
            </a:r>
          </a:p>
          <a:p>
            <a:pPr lvl="0"/>
            <a:r>
              <a:rPr lang="ru-RU" dirty="0">
                <a:effectLst/>
              </a:rPr>
              <a:t>Раздел 2</a:t>
            </a:r>
          </a:p>
          <a:p>
            <a:pPr lvl="0"/>
            <a:r>
              <a:rPr lang="ru-RU" dirty="0">
                <a:effectLst/>
              </a:rPr>
              <a:t>Раздел 3</a:t>
            </a:r>
          </a:p>
          <a:p>
            <a:pPr lvl="0"/>
            <a:r>
              <a:rPr lang="ru-RU" dirty="0">
                <a:effectLst/>
              </a:rPr>
              <a:t>Раздел 4</a:t>
            </a:r>
          </a:p>
          <a:p>
            <a:pPr lvl="0"/>
            <a:r>
              <a:rPr lang="ru-RU" dirty="0">
                <a:effectLst/>
              </a:rPr>
              <a:t>Раздел 5</a:t>
            </a:r>
          </a:p>
          <a:p>
            <a:pPr lvl="0"/>
            <a:r>
              <a:rPr lang="ru-RU" dirty="0">
                <a:effectLst/>
              </a:rPr>
              <a:t>Раздел 6</a:t>
            </a:r>
            <a:endParaRPr lang="ru-RU" dirty="0"/>
          </a:p>
        </p:txBody>
      </p:sp>
      <p:sp>
        <p:nvSpPr>
          <p:cNvPr id="15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8737600" y="4690668"/>
            <a:ext cx="3175000" cy="176971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r">
              <a:buNone/>
              <a:defRPr sz="115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4003335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3106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9" name="Рисунок 49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2705100"/>
            <a:ext cx="5376156" cy="4154303"/>
          </a:xfrm>
          <a:prstGeom prst="rect">
            <a:avLst/>
          </a:prstGeom>
        </p:spPr>
      </p:pic>
      <p:grpSp>
        <p:nvGrpSpPr>
          <p:cNvPr id="2" name="Группа 1"/>
          <p:cNvGrpSpPr/>
          <p:nvPr/>
        </p:nvGrpSpPr>
        <p:grpSpPr>
          <a:xfrm>
            <a:off x="443791" y="755941"/>
            <a:ext cx="2931869" cy="381832"/>
            <a:chOff x="443791" y="377997"/>
            <a:chExt cx="3999467" cy="520871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1492644" y="456285"/>
              <a:ext cx="2950614" cy="364276"/>
            </a:xfrm>
            <a:prstGeom prst="rect">
              <a:avLst/>
            </a:prstGeom>
            <a:noFill/>
            <a:ln w="0" cap="flat">
              <a:noFill/>
              <a:prstDash val="solid"/>
              <a:miter/>
            </a:ln>
          </p:spPr>
          <p:txBody>
            <a:bodyPr lIns="324000" tIns="0" rIns="72000" bIns="0" rtlCol="0" anchor="ctr"/>
            <a:lstStyle/>
            <a:p>
              <a:pPr lvl="0" algn="l"/>
              <a:r>
                <a:rPr lang="ru-RU" sz="1400" dirty="0">
                  <a:solidFill>
                    <a:schemeClr val="bg1"/>
                  </a:solidFill>
                  <a:sym typeface="Verdana" panose="020B0604030504040204" pitchFamily="34" charset="0"/>
                </a:rPr>
                <a:t>Решения,</a:t>
              </a:r>
              <a:r>
                <a:rPr lang="ru-RU" sz="1400" baseline="0" dirty="0">
                  <a:solidFill>
                    <a:schemeClr val="bg1"/>
                  </a:solidFill>
                  <a:sym typeface="Verdana" panose="020B0604030504040204" pitchFamily="34" charset="0"/>
                </a:rPr>
                <a:t> </a:t>
              </a:r>
              <a:br>
                <a:rPr lang="ru-RU" sz="1400" baseline="0" dirty="0">
                  <a:solidFill>
                    <a:schemeClr val="bg1"/>
                  </a:solidFill>
                  <a:sym typeface="Verdana" panose="020B0604030504040204" pitchFamily="34" charset="0"/>
                </a:rPr>
              </a:br>
              <a:r>
                <a:rPr lang="ru-RU" sz="1400" baseline="0" dirty="0">
                  <a:solidFill>
                    <a:schemeClr val="bg1"/>
                  </a:solidFill>
                  <a:sym typeface="Verdana" panose="020B0604030504040204" pitchFamily="34" charset="0"/>
                </a:rPr>
                <a:t>которые работают</a:t>
              </a:r>
              <a:endParaRPr lang="ru-RU" sz="1400" dirty="0">
                <a:solidFill>
                  <a:schemeClr val="bg1"/>
                </a:solidFill>
                <a:sym typeface="Verdana" panose="020B0604030504040204" pitchFamily="34" charset="0"/>
              </a:endParaRPr>
            </a:p>
          </p:txBody>
        </p:sp>
        <p:grpSp>
          <p:nvGrpSpPr>
            <p:cNvPr id="13" name="Группа 12"/>
            <p:cNvGrpSpPr/>
            <p:nvPr/>
          </p:nvGrpSpPr>
          <p:grpSpPr>
            <a:xfrm>
              <a:off x="443791" y="377997"/>
              <a:ext cx="1197973" cy="520871"/>
              <a:chOff x="6626594" y="3238091"/>
              <a:chExt cx="3421274" cy="1487547"/>
            </a:xfrm>
          </p:grpSpPr>
          <p:grpSp>
            <p:nvGrpSpPr>
              <p:cNvPr id="14" name="Рисунок 48">
                <a:extLst>
                  <a:ext uri="{FF2B5EF4-FFF2-40B4-BE49-F238E27FC236}">
                    <a16:creationId xmlns:a16="http://schemas.microsoft.com/office/drawing/2014/main" id="{2253F4C3-1E1A-715B-101F-E0672B990835}"/>
                  </a:ext>
                </a:extLst>
              </p:cNvPr>
              <p:cNvGrpSpPr/>
              <p:nvPr/>
            </p:nvGrpSpPr>
            <p:grpSpPr>
              <a:xfrm>
                <a:off x="6626594" y="3238091"/>
                <a:ext cx="2540911" cy="1487547"/>
                <a:chOff x="6626594" y="3238091"/>
                <a:chExt cx="2540911" cy="1487547"/>
              </a:xfrm>
              <a:solidFill>
                <a:srgbClr val="171523"/>
              </a:solidFill>
            </p:grpSpPr>
            <p:sp>
              <p:nvSpPr>
                <p:cNvPr id="16" name="Полилиния 15">
                  <a:extLst>
                    <a:ext uri="{FF2B5EF4-FFF2-40B4-BE49-F238E27FC236}">
                      <a16:creationId xmlns:a16="http://schemas.microsoft.com/office/drawing/2014/main" id="{5C296971-CF47-8409-873C-77EAFBE6DEC3}"/>
                    </a:ext>
                  </a:extLst>
                </p:cNvPr>
                <p:cNvSpPr/>
                <p:nvPr/>
              </p:nvSpPr>
              <p:spPr>
                <a:xfrm>
                  <a:off x="8023634" y="3261224"/>
                  <a:ext cx="1143871" cy="1441226"/>
                </a:xfrm>
                <a:custGeom>
                  <a:avLst/>
                  <a:gdLst>
                    <a:gd name="connsiteX0" fmla="*/ 690277 w 1143870"/>
                    <a:gd name="connsiteY0" fmla="*/ 0 h 1441226"/>
                    <a:gd name="connsiteX1" fmla="*/ 0 w 1143870"/>
                    <a:gd name="connsiteY1" fmla="*/ 0 h 1441226"/>
                    <a:gd name="connsiteX2" fmla="*/ 0 w 1143870"/>
                    <a:gd name="connsiteY2" fmla="*/ 1441227 h 1441226"/>
                    <a:gd name="connsiteX3" fmla="*/ 160722 w 1143870"/>
                    <a:gd name="connsiteY3" fmla="*/ 1441227 h 1441226"/>
                    <a:gd name="connsiteX4" fmla="*/ 160722 w 1143870"/>
                    <a:gd name="connsiteY4" fmla="*/ 844461 h 1441226"/>
                    <a:gd name="connsiteX5" fmla="*/ 690330 w 1143870"/>
                    <a:gd name="connsiteY5" fmla="*/ 844461 h 1441226"/>
                    <a:gd name="connsiteX6" fmla="*/ 1143871 w 1143870"/>
                    <a:gd name="connsiteY6" fmla="*/ 421119 h 1441226"/>
                    <a:gd name="connsiteX7" fmla="*/ 690277 w 1143870"/>
                    <a:gd name="connsiteY7" fmla="*/ 0 h 1441226"/>
                    <a:gd name="connsiteX8" fmla="*/ 690277 w 1143870"/>
                    <a:gd name="connsiteY8" fmla="*/ 695336 h 1441226"/>
                    <a:gd name="connsiteX9" fmla="*/ 160669 w 1143870"/>
                    <a:gd name="connsiteY9" fmla="*/ 695336 h 1441226"/>
                    <a:gd name="connsiteX10" fmla="*/ 160669 w 1143870"/>
                    <a:gd name="connsiteY10" fmla="*/ 149178 h 1441226"/>
                    <a:gd name="connsiteX11" fmla="*/ 690277 w 1143870"/>
                    <a:gd name="connsiteY11" fmla="*/ 149178 h 1441226"/>
                    <a:gd name="connsiteX12" fmla="*/ 979862 w 1143870"/>
                    <a:gd name="connsiteY12" fmla="*/ 421172 h 1441226"/>
                    <a:gd name="connsiteX13" fmla="*/ 690277 w 1143870"/>
                    <a:gd name="connsiteY13" fmla="*/ 695283 h 1441226"/>
                    <a:gd name="connsiteX14" fmla="*/ 690277 w 1143870"/>
                    <a:gd name="connsiteY14" fmla="*/ 695283 h 1441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143870" h="1441226">
                      <a:moveTo>
                        <a:pt x="690277" y="0"/>
                      </a:moveTo>
                      <a:lnTo>
                        <a:pt x="0" y="0"/>
                      </a:lnTo>
                      <a:lnTo>
                        <a:pt x="0" y="1441227"/>
                      </a:lnTo>
                      <a:lnTo>
                        <a:pt x="160722" y="1441227"/>
                      </a:lnTo>
                      <a:lnTo>
                        <a:pt x="160722" y="844461"/>
                      </a:lnTo>
                      <a:lnTo>
                        <a:pt x="690330" y="844461"/>
                      </a:lnTo>
                      <a:cubicBezTo>
                        <a:pt x="982619" y="844461"/>
                        <a:pt x="1143871" y="694224"/>
                        <a:pt x="1143871" y="421119"/>
                      </a:cubicBezTo>
                      <a:cubicBezTo>
                        <a:pt x="1143871" y="148014"/>
                        <a:pt x="982619" y="0"/>
                        <a:pt x="690277" y="0"/>
                      </a:cubicBezTo>
                      <a:close/>
                      <a:moveTo>
                        <a:pt x="690277" y="695336"/>
                      </a:moveTo>
                      <a:lnTo>
                        <a:pt x="160669" y="695336"/>
                      </a:lnTo>
                      <a:lnTo>
                        <a:pt x="160669" y="149178"/>
                      </a:lnTo>
                      <a:lnTo>
                        <a:pt x="690277" y="149178"/>
                      </a:lnTo>
                      <a:cubicBezTo>
                        <a:pt x="893034" y="149178"/>
                        <a:pt x="979862" y="230490"/>
                        <a:pt x="979862" y="421172"/>
                      </a:cubicBezTo>
                      <a:cubicBezTo>
                        <a:pt x="979862" y="611853"/>
                        <a:pt x="893034" y="695283"/>
                        <a:pt x="690277" y="695283"/>
                      </a:cubicBezTo>
                      <a:lnTo>
                        <a:pt x="690277" y="695283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200"/>
                </a:p>
              </p:txBody>
            </p:sp>
            <p:sp>
              <p:nvSpPr>
                <p:cNvPr id="17" name="Полилиния 16">
                  <a:extLst>
                    <a:ext uri="{FF2B5EF4-FFF2-40B4-BE49-F238E27FC236}">
                      <a16:creationId xmlns:a16="http://schemas.microsoft.com/office/drawing/2014/main" id="{C1DD0239-D639-A576-9D72-0715C6869096}"/>
                    </a:ext>
                  </a:extLst>
                </p:cNvPr>
                <p:cNvSpPr/>
                <p:nvPr/>
              </p:nvSpPr>
              <p:spPr>
                <a:xfrm>
                  <a:off x="6626594" y="3238091"/>
                  <a:ext cx="1192373" cy="1487547"/>
                </a:xfrm>
                <a:custGeom>
                  <a:avLst/>
                  <a:gdLst>
                    <a:gd name="connsiteX0" fmla="*/ 1192373 w 1192373"/>
                    <a:gd name="connsiteY0" fmla="*/ 1053988 h 1487547"/>
                    <a:gd name="connsiteX1" fmla="*/ 605092 w 1192373"/>
                    <a:gd name="connsiteY1" fmla="*/ 1487547 h 1487547"/>
                    <a:gd name="connsiteX2" fmla="*/ 0 w 1192373"/>
                    <a:gd name="connsiteY2" fmla="*/ 1034084 h 1487547"/>
                    <a:gd name="connsiteX3" fmla="*/ 0 w 1192373"/>
                    <a:gd name="connsiteY3" fmla="*/ 997980 h 1487547"/>
                    <a:gd name="connsiteX4" fmla="*/ 160722 w 1192373"/>
                    <a:gd name="connsiteY4" fmla="*/ 997980 h 1487547"/>
                    <a:gd name="connsiteX5" fmla="*/ 160722 w 1192373"/>
                    <a:gd name="connsiteY5" fmla="*/ 1034084 h 1487547"/>
                    <a:gd name="connsiteX6" fmla="*/ 605092 w 1192373"/>
                    <a:gd name="connsiteY6" fmla="*/ 1338898 h 1487547"/>
                    <a:gd name="connsiteX7" fmla="*/ 1035468 w 1192373"/>
                    <a:gd name="connsiteY7" fmla="*/ 1053988 h 1487547"/>
                    <a:gd name="connsiteX8" fmla="*/ 803556 w 1192373"/>
                    <a:gd name="connsiteY8" fmla="*/ 796023 h 1487547"/>
                    <a:gd name="connsiteX9" fmla="*/ 379647 w 1192373"/>
                    <a:gd name="connsiteY9" fmla="*/ 786865 h 1487547"/>
                    <a:gd name="connsiteX10" fmla="*/ 14524 w 1192373"/>
                    <a:gd name="connsiteY10" fmla="*/ 415772 h 1487547"/>
                    <a:gd name="connsiteX11" fmla="*/ 605092 w 1192373"/>
                    <a:gd name="connsiteY11" fmla="*/ 0 h 1487547"/>
                    <a:gd name="connsiteX12" fmla="*/ 1174032 w 1192373"/>
                    <a:gd name="connsiteY12" fmla="*/ 430859 h 1487547"/>
                    <a:gd name="connsiteX13" fmla="*/ 1174563 w 1192373"/>
                    <a:gd name="connsiteY13" fmla="*/ 444888 h 1487547"/>
                    <a:gd name="connsiteX14" fmla="*/ 1013841 w 1192373"/>
                    <a:gd name="connsiteY14" fmla="*/ 444888 h 1487547"/>
                    <a:gd name="connsiteX15" fmla="*/ 1013311 w 1192373"/>
                    <a:gd name="connsiteY15" fmla="*/ 431971 h 1487547"/>
                    <a:gd name="connsiteX16" fmla="*/ 605039 w 1192373"/>
                    <a:gd name="connsiteY16" fmla="*/ 148702 h 1487547"/>
                    <a:gd name="connsiteX17" fmla="*/ 170899 w 1192373"/>
                    <a:gd name="connsiteY17" fmla="*/ 415825 h 1487547"/>
                    <a:gd name="connsiteX18" fmla="*/ 381767 w 1192373"/>
                    <a:gd name="connsiteY18" fmla="*/ 626940 h 1487547"/>
                    <a:gd name="connsiteX19" fmla="*/ 805676 w 1192373"/>
                    <a:gd name="connsiteY19" fmla="*/ 636098 h 1487547"/>
                    <a:gd name="connsiteX20" fmla="*/ 1192373 w 1192373"/>
                    <a:gd name="connsiteY20" fmla="*/ 1054041 h 1487547"/>
                    <a:gd name="connsiteX21" fmla="*/ 1192373 w 1192373"/>
                    <a:gd name="connsiteY21" fmla="*/ 1054041 h 1487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192373" h="1487547">
                      <a:moveTo>
                        <a:pt x="1192373" y="1053988"/>
                      </a:moveTo>
                      <a:cubicBezTo>
                        <a:pt x="1192373" y="1345886"/>
                        <a:pt x="1000377" y="1487547"/>
                        <a:pt x="605092" y="1487547"/>
                      </a:cubicBezTo>
                      <a:cubicBezTo>
                        <a:pt x="181183" y="1487547"/>
                        <a:pt x="0" y="1352345"/>
                        <a:pt x="0" y="1034084"/>
                      </a:cubicBezTo>
                      <a:lnTo>
                        <a:pt x="0" y="997980"/>
                      </a:lnTo>
                      <a:lnTo>
                        <a:pt x="160722" y="997980"/>
                      </a:lnTo>
                      <a:lnTo>
                        <a:pt x="160722" y="1034084"/>
                      </a:lnTo>
                      <a:cubicBezTo>
                        <a:pt x="160722" y="1267803"/>
                        <a:pt x="264831" y="1338898"/>
                        <a:pt x="605092" y="1338898"/>
                      </a:cubicBezTo>
                      <a:cubicBezTo>
                        <a:pt x="983149" y="1338898"/>
                        <a:pt x="1035468" y="1202108"/>
                        <a:pt x="1035468" y="1053988"/>
                      </a:cubicBezTo>
                      <a:cubicBezTo>
                        <a:pt x="1035468" y="874106"/>
                        <a:pt x="968041" y="799252"/>
                        <a:pt x="803556" y="796023"/>
                      </a:cubicBezTo>
                      <a:lnTo>
                        <a:pt x="379647" y="786865"/>
                      </a:lnTo>
                      <a:cubicBezTo>
                        <a:pt x="133740" y="780936"/>
                        <a:pt x="14524" y="659762"/>
                        <a:pt x="14524" y="415772"/>
                      </a:cubicBezTo>
                      <a:cubicBezTo>
                        <a:pt x="14577" y="124403"/>
                        <a:pt x="191467" y="0"/>
                        <a:pt x="605092" y="0"/>
                      </a:cubicBezTo>
                      <a:cubicBezTo>
                        <a:pt x="970215" y="0"/>
                        <a:pt x="1161628" y="145420"/>
                        <a:pt x="1174032" y="430859"/>
                      </a:cubicBezTo>
                      <a:lnTo>
                        <a:pt x="1174563" y="444888"/>
                      </a:lnTo>
                      <a:lnTo>
                        <a:pt x="1013841" y="444888"/>
                      </a:lnTo>
                      <a:lnTo>
                        <a:pt x="1013311" y="431971"/>
                      </a:lnTo>
                      <a:cubicBezTo>
                        <a:pt x="1003610" y="197140"/>
                        <a:pt x="842888" y="148702"/>
                        <a:pt x="605039" y="148702"/>
                      </a:cubicBezTo>
                      <a:cubicBezTo>
                        <a:pt x="238326" y="148702"/>
                        <a:pt x="170899" y="238643"/>
                        <a:pt x="170899" y="415825"/>
                      </a:cubicBezTo>
                      <a:cubicBezTo>
                        <a:pt x="170899" y="593007"/>
                        <a:pt x="232919" y="623711"/>
                        <a:pt x="381767" y="626940"/>
                      </a:cubicBezTo>
                      <a:lnTo>
                        <a:pt x="805676" y="636098"/>
                      </a:lnTo>
                      <a:cubicBezTo>
                        <a:pt x="1058633" y="641498"/>
                        <a:pt x="1192373" y="785806"/>
                        <a:pt x="1192373" y="1054041"/>
                      </a:cubicBezTo>
                      <a:lnTo>
                        <a:pt x="1192373" y="1054041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200"/>
                </a:p>
              </p:txBody>
            </p:sp>
          </p:grpSp>
          <p:sp>
            <p:nvSpPr>
              <p:cNvPr id="15" name="Полилиния 14">
                <a:extLst>
                  <a:ext uri="{FF2B5EF4-FFF2-40B4-BE49-F238E27FC236}">
                    <a16:creationId xmlns:a16="http://schemas.microsoft.com/office/drawing/2014/main" id="{426C0A8D-D200-9B5E-DE81-63CCB23992C3}"/>
                  </a:ext>
                </a:extLst>
              </p:cNvPr>
              <p:cNvSpPr/>
              <p:nvPr/>
            </p:nvSpPr>
            <p:spPr>
              <a:xfrm>
                <a:off x="9196128" y="3261224"/>
                <a:ext cx="851740" cy="1441279"/>
              </a:xfrm>
              <a:custGeom>
                <a:avLst/>
                <a:gdLst>
                  <a:gd name="connsiteX0" fmla="*/ 851741 w 851740"/>
                  <a:gd name="connsiteY0" fmla="*/ 0 h 1441279"/>
                  <a:gd name="connsiteX1" fmla="*/ 161146 w 851740"/>
                  <a:gd name="connsiteY1" fmla="*/ 1441280 h 1441279"/>
                  <a:gd name="connsiteX2" fmla="*/ 0 w 851740"/>
                  <a:gd name="connsiteY2" fmla="*/ 1441280 h 1441279"/>
                  <a:gd name="connsiteX3" fmla="*/ 690595 w 851740"/>
                  <a:gd name="connsiteY3" fmla="*/ 0 h 1441279"/>
                  <a:gd name="connsiteX4" fmla="*/ 851741 w 851740"/>
                  <a:gd name="connsiteY4" fmla="*/ 0 h 1441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1740" h="1441279">
                    <a:moveTo>
                      <a:pt x="851741" y="0"/>
                    </a:moveTo>
                    <a:lnTo>
                      <a:pt x="161146" y="1441280"/>
                    </a:lnTo>
                    <a:lnTo>
                      <a:pt x="0" y="1441280"/>
                    </a:lnTo>
                    <a:lnTo>
                      <a:pt x="690595" y="0"/>
                    </a:lnTo>
                    <a:lnTo>
                      <a:pt x="851741" y="0"/>
                    </a:lnTo>
                    <a:close/>
                  </a:path>
                </a:pathLst>
              </a:custGeom>
              <a:gradFill>
                <a:gsLst>
                  <a:gs pos="0">
                    <a:srgbClr val="2EEAEF"/>
                  </a:gs>
                  <a:gs pos="20000">
                    <a:srgbClr val="2EE5EE"/>
                  </a:gs>
                  <a:gs pos="41000">
                    <a:srgbClr val="2ED9EE"/>
                  </a:gs>
                  <a:gs pos="62000">
                    <a:srgbClr val="2EC4EE"/>
                  </a:gs>
                  <a:gs pos="83000">
                    <a:srgbClr val="2EA7ED"/>
                  </a:gs>
                  <a:gs pos="100000">
                    <a:srgbClr val="2F8AED"/>
                  </a:gs>
                </a:gsLst>
                <a:lin ang="6907745" scaled="1"/>
              </a:gra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200"/>
              </a:p>
            </p:txBody>
          </p:sp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AA6D197-F4AC-06D4-CE4C-CBE3CC719934}"/>
              </a:ext>
            </a:extLst>
          </p:cNvPr>
          <p:cNvSpPr txBox="1"/>
          <p:nvPr/>
        </p:nvSpPr>
        <p:spPr>
          <a:xfrm>
            <a:off x="435293" y="1435282"/>
            <a:ext cx="6096000" cy="4924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lIns="0" tIns="0" rIns="0" bIns="0">
            <a:noAutofit/>
          </a:bodyPr>
          <a:lstStyle/>
          <a:p>
            <a:pPr marL="0" indent="0"/>
            <a:r>
              <a:rPr lang="ru-RU" sz="2000" b="0" dirty="0">
                <a:latin typeface="Verdana" panose="020B0604030504040204" pitchFamily="34" charset="0"/>
                <a:ea typeface="Verdana" panose="020B0604030504040204" pitchFamily="34" charset="0"/>
                <a:cs typeface="SB Sans Text Semibold" panose="020B0503040504020204" pitchFamily="34" charset="0"/>
                <a:sym typeface="Verdana" panose="020B0604030504040204" pitchFamily="34" charset="0"/>
              </a:rPr>
              <a:t>Контакты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7850912" y="2102985"/>
            <a:ext cx="3428710" cy="580534"/>
            <a:chOff x="7850912" y="2102985"/>
            <a:chExt cx="3428710" cy="580534"/>
          </a:xfrm>
        </p:grpSpPr>
        <p:sp>
          <p:nvSpPr>
            <p:cNvPr id="21" name="Прямоугольник 20"/>
            <p:cNvSpPr>
              <a:spLocks/>
            </p:cNvSpPr>
            <p:nvPr/>
          </p:nvSpPr>
          <p:spPr>
            <a:xfrm>
              <a:off x="7850912" y="2102985"/>
              <a:ext cx="1443216" cy="395869"/>
            </a:xfrm>
            <a:prstGeom prst="rect">
              <a:avLst/>
            </a:prstGeom>
          </p:spPr>
          <p:txBody>
            <a:bodyPr wrap="none" tIns="72000">
              <a:spAutoFit/>
            </a:bodyPr>
            <a:lstStyle/>
            <a:p>
              <a:pPr algn="ctr" defTabSz="610845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n-US" sz="1800" spc="0" baseline="0" dirty="0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strategy.ru</a:t>
              </a:r>
              <a:endParaRPr lang="ru-RU" sz="1800" spc="0" baseline="0" dirty="0"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693847" y="2102985"/>
              <a:ext cx="1585775" cy="580534"/>
            </a:xfrm>
            <a:prstGeom prst="rect">
              <a:avLst/>
            </a:prstGeom>
          </p:spPr>
          <p:txBody>
            <a:bodyPr wrap="square" tIns="72000">
              <a:spAutoFit/>
            </a:bodyPr>
            <a:lstStyle/>
            <a:p>
              <a:pPr defTabSz="610845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n-US" sz="1500" dirty="0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t.me/</a:t>
              </a:r>
              <a:r>
                <a:rPr lang="en-US" sz="1500" dirty="0" err="1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strategypartners</a:t>
              </a:r>
              <a:endParaRPr lang="ru-RU" sz="1500" dirty="0"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6CDF8E49-BF2D-56AB-2CE5-49CC484DF1C9}"/>
              </a:ext>
            </a:extLst>
          </p:cNvPr>
          <p:cNvSpPr txBox="1"/>
          <p:nvPr/>
        </p:nvSpPr>
        <p:spPr bwMode="auto">
          <a:xfrm>
            <a:off x="5987482" y="5861806"/>
            <a:ext cx="5161505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Aft>
                <a:spcPts val="300"/>
              </a:spcAft>
            </a:pPr>
            <a:r>
              <a:rPr lang="ru-RU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121099, г. Москва, ул. Композиторская, д. 17</a:t>
            </a:r>
          </a:p>
          <a:p>
            <a:pPr algn="r" defTabSz="610845">
              <a:lnSpc>
                <a:spcPct val="100000"/>
              </a:lnSpc>
              <a:spcAft>
                <a:spcPts val="300"/>
              </a:spcAft>
              <a:defRPr/>
            </a:pPr>
            <a:r>
              <a:rPr lang="en-US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+7 (495) 730-77-47</a:t>
            </a:r>
            <a:r>
              <a:rPr lang="ru-RU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>
                <a:solidFill>
                  <a:schemeClr val="tx1">
                    <a:alpha val="7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|</a:t>
            </a:r>
            <a:r>
              <a:rPr lang="ru-RU" sz="1200" dirty="0">
                <a:solidFill>
                  <a:schemeClr val="tx1">
                    <a:alpha val="7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 </a:t>
            </a:r>
            <a:r>
              <a:rPr lang="en-US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inbox@strategy.ru</a:t>
            </a:r>
            <a:r>
              <a:rPr lang="ru-RU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 </a:t>
            </a:r>
          </a:p>
        </p:txBody>
      </p:sp>
      <p:grpSp>
        <p:nvGrpSpPr>
          <p:cNvPr id="29" name="Рисунок 4">
            <a:extLst>
              <a:ext uri="{FF2B5EF4-FFF2-40B4-BE49-F238E27FC236}">
                <a16:creationId xmlns:a16="http://schemas.microsoft.com/office/drawing/2014/main" id="{94082320-2525-B04E-C59B-FF0C15071698}"/>
              </a:ext>
            </a:extLst>
          </p:cNvPr>
          <p:cNvGrpSpPr/>
          <p:nvPr/>
        </p:nvGrpSpPr>
        <p:grpSpPr>
          <a:xfrm>
            <a:off x="9804398" y="813331"/>
            <a:ext cx="1248411" cy="1243681"/>
            <a:chOff x="6450353" y="2684481"/>
            <a:chExt cx="1473380" cy="1467798"/>
          </a:xfrm>
          <a:solidFill>
            <a:schemeClr val="bg1"/>
          </a:solidFill>
        </p:grpSpPr>
        <p:sp>
          <p:nvSpPr>
            <p:cNvPr id="30" name="Полилиния 29">
              <a:extLst>
                <a:ext uri="{FF2B5EF4-FFF2-40B4-BE49-F238E27FC236}">
                  <a16:creationId xmlns:a16="http://schemas.microsoft.com/office/drawing/2014/main" id="{26574203-C9FF-56CB-BD05-E58149F2AFB7}"/>
                </a:ext>
              </a:extLst>
            </p:cNvPr>
            <p:cNvSpPr/>
            <p:nvPr/>
          </p:nvSpPr>
          <p:spPr>
            <a:xfrm>
              <a:off x="6852106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A24D71F8-4027-5A39-55F7-A699BF43CB5E}"/>
                </a:ext>
              </a:extLst>
            </p:cNvPr>
            <p:cNvSpPr/>
            <p:nvPr/>
          </p:nvSpPr>
          <p:spPr>
            <a:xfrm>
              <a:off x="6941480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8DCB951D-1CD9-E835-FCA1-486D5405A754}"/>
                </a:ext>
              </a:extLst>
            </p:cNvPr>
            <p:cNvSpPr/>
            <p:nvPr/>
          </p:nvSpPr>
          <p:spPr>
            <a:xfrm>
              <a:off x="720931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45DFA8A6-3340-9D3D-0913-1EA19FA4C0E2}"/>
                </a:ext>
              </a:extLst>
            </p:cNvPr>
            <p:cNvSpPr/>
            <p:nvPr/>
          </p:nvSpPr>
          <p:spPr>
            <a:xfrm>
              <a:off x="725395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B0939566-AB1C-DC69-898D-3FD5A715A56C}"/>
                </a:ext>
              </a:extLst>
            </p:cNvPr>
            <p:cNvSpPr/>
            <p:nvPr/>
          </p:nvSpPr>
          <p:spPr>
            <a:xfrm>
              <a:off x="7298594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AFDC0A9B-E544-484B-E16E-1B9EBC827860}"/>
                </a:ext>
              </a:extLst>
            </p:cNvPr>
            <p:cNvSpPr/>
            <p:nvPr/>
          </p:nvSpPr>
          <p:spPr>
            <a:xfrm>
              <a:off x="738787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 35">
              <a:extLst>
                <a:ext uri="{FF2B5EF4-FFF2-40B4-BE49-F238E27FC236}">
                  <a16:creationId xmlns:a16="http://schemas.microsoft.com/office/drawing/2014/main" id="{54462312-B083-431E-5531-3F09386D2B4D}"/>
                </a:ext>
              </a:extLst>
            </p:cNvPr>
            <p:cNvSpPr/>
            <p:nvPr/>
          </p:nvSpPr>
          <p:spPr>
            <a:xfrm>
              <a:off x="743251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 36">
              <a:extLst>
                <a:ext uri="{FF2B5EF4-FFF2-40B4-BE49-F238E27FC236}">
                  <a16:creationId xmlns:a16="http://schemas.microsoft.com/office/drawing/2014/main" id="{BFCC57CD-4211-AB20-A66D-3865E654A0B2}"/>
                </a:ext>
              </a:extLst>
            </p:cNvPr>
            <p:cNvSpPr/>
            <p:nvPr/>
          </p:nvSpPr>
          <p:spPr>
            <a:xfrm>
              <a:off x="752188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9E2AC277-DE9E-E328-33A1-5E4739B1E0C6}"/>
                </a:ext>
              </a:extLst>
            </p:cNvPr>
            <p:cNvSpPr/>
            <p:nvPr/>
          </p:nvSpPr>
          <p:spPr>
            <a:xfrm>
              <a:off x="680746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13D4CB15-F2E3-3500-2B98-B4C6DA0BB557}"/>
                </a:ext>
              </a:extLst>
            </p:cNvPr>
            <p:cNvSpPr/>
            <p:nvPr/>
          </p:nvSpPr>
          <p:spPr>
            <a:xfrm>
              <a:off x="6986119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CD618E06-45DA-E5AE-12E4-3BF006655DAB}"/>
                </a:ext>
              </a:extLst>
            </p:cNvPr>
            <p:cNvSpPr/>
            <p:nvPr/>
          </p:nvSpPr>
          <p:spPr>
            <a:xfrm>
              <a:off x="712003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FDD141A2-5F70-6E73-AAE0-D7AE720DACEC}"/>
                </a:ext>
              </a:extLst>
            </p:cNvPr>
            <p:cNvSpPr/>
            <p:nvPr/>
          </p:nvSpPr>
          <p:spPr>
            <a:xfrm>
              <a:off x="720931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7FF78871-7679-EA3B-4C37-F8FB0CB7F74C}"/>
                </a:ext>
              </a:extLst>
            </p:cNvPr>
            <p:cNvSpPr/>
            <p:nvPr/>
          </p:nvSpPr>
          <p:spPr>
            <a:xfrm>
              <a:off x="725395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89544812-BDE0-EF1B-AFA2-56B5DE5069FB}"/>
                </a:ext>
              </a:extLst>
            </p:cNvPr>
            <p:cNvSpPr/>
            <p:nvPr/>
          </p:nvSpPr>
          <p:spPr>
            <a:xfrm>
              <a:off x="7298594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043617E0-5897-290C-5684-42666AB367DF}"/>
                </a:ext>
              </a:extLst>
            </p:cNvPr>
            <p:cNvSpPr/>
            <p:nvPr/>
          </p:nvSpPr>
          <p:spPr>
            <a:xfrm>
              <a:off x="7432512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3B0771E8-3887-9710-981A-01C72364DAEB}"/>
                </a:ext>
              </a:extLst>
            </p:cNvPr>
            <p:cNvSpPr/>
            <p:nvPr/>
          </p:nvSpPr>
          <p:spPr>
            <a:xfrm>
              <a:off x="680746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08139889-98BB-E336-01DA-4F85AF887AFF}"/>
                </a:ext>
              </a:extLst>
            </p:cNvPr>
            <p:cNvSpPr/>
            <p:nvPr/>
          </p:nvSpPr>
          <p:spPr>
            <a:xfrm>
              <a:off x="703075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B3DF69F5-AE01-7319-629F-6A17D1FEA8EB}"/>
                </a:ext>
              </a:extLst>
            </p:cNvPr>
            <p:cNvSpPr/>
            <p:nvPr/>
          </p:nvSpPr>
          <p:spPr>
            <a:xfrm>
              <a:off x="707539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57F32FC1-C8C1-C479-A6EE-FF10C94105EC}"/>
                </a:ext>
              </a:extLst>
            </p:cNvPr>
            <p:cNvSpPr/>
            <p:nvPr/>
          </p:nvSpPr>
          <p:spPr>
            <a:xfrm>
              <a:off x="712003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4A50B605-D0F8-BA8D-FEE0-F999843EF2AF}"/>
                </a:ext>
              </a:extLst>
            </p:cNvPr>
            <p:cNvSpPr/>
            <p:nvPr/>
          </p:nvSpPr>
          <p:spPr>
            <a:xfrm>
              <a:off x="720931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12EEBEB4-FCF2-F580-73C4-40EF76EF17CE}"/>
                </a:ext>
              </a:extLst>
            </p:cNvPr>
            <p:cNvSpPr/>
            <p:nvPr/>
          </p:nvSpPr>
          <p:spPr>
            <a:xfrm>
              <a:off x="725395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D2960D56-2087-2605-4994-3F2AFE199C36}"/>
                </a:ext>
              </a:extLst>
            </p:cNvPr>
            <p:cNvSpPr/>
            <p:nvPr/>
          </p:nvSpPr>
          <p:spPr>
            <a:xfrm>
              <a:off x="7298594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439FB4E0-FEB3-6B91-1133-CDB50749328E}"/>
                </a:ext>
              </a:extLst>
            </p:cNvPr>
            <p:cNvSpPr/>
            <p:nvPr/>
          </p:nvSpPr>
          <p:spPr>
            <a:xfrm>
              <a:off x="7343233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FF0B7FAA-9A11-AEF9-80FA-36A0923C7953}"/>
                </a:ext>
              </a:extLst>
            </p:cNvPr>
            <p:cNvSpPr/>
            <p:nvPr/>
          </p:nvSpPr>
          <p:spPr>
            <a:xfrm>
              <a:off x="738787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9397A71B-BD8B-8C1E-2CDC-765A7EDB0256}"/>
                </a:ext>
              </a:extLst>
            </p:cNvPr>
            <p:cNvSpPr/>
            <p:nvPr/>
          </p:nvSpPr>
          <p:spPr>
            <a:xfrm>
              <a:off x="743251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D58D2E34-7BBA-AE37-6E52-2B8F274074A7}"/>
                </a:ext>
              </a:extLst>
            </p:cNvPr>
            <p:cNvSpPr/>
            <p:nvPr/>
          </p:nvSpPr>
          <p:spPr>
            <a:xfrm>
              <a:off x="752188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4E8C5E1C-7CA5-A040-AC11-7D9473213E77}"/>
                </a:ext>
              </a:extLst>
            </p:cNvPr>
            <p:cNvSpPr/>
            <p:nvPr/>
          </p:nvSpPr>
          <p:spPr>
            <a:xfrm>
              <a:off x="6807467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49156D91-5FCB-E601-5552-6B15DAEA94AD}"/>
                </a:ext>
              </a:extLst>
            </p:cNvPr>
            <p:cNvSpPr/>
            <p:nvPr/>
          </p:nvSpPr>
          <p:spPr>
            <a:xfrm>
              <a:off x="689684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 57">
              <a:extLst>
                <a:ext uri="{FF2B5EF4-FFF2-40B4-BE49-F238E27FC236}">
                  <a16:creationId xmlns:a16="http://schemas.microsoft.com/office/drawing/2014/main" id="{F73A94B4-B222-3A5C-102A-2E368D4BBF55}"/>
                </a:ext>
              </a:extLst>
            </p:cNvPr>
            <p:cNvSpPr/>
            <p:nvPr/>
          </p:nvSpPr>
          <p:spPr>
            <a:xfrm>
              <a:off x="6986119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 58">
              <a:extLst>
                <a:ext uri="{FF2B5EF4-FFF2-40B4-BE49-F238E27FC236}">
                  <a16:creationId xmlns:a16="http://schemas.microsoft.com/office/drawing/2014/main" id="{343DD0CB-72E6-4563-AD20-CFC0E37F933A}"/>
                </a:ext>
              </a:extLst>
            </p:cNvPr>
            <p:cNvSpPr/>
            <p:nvPr/>
          </p:nvSpPr>
          <p:spPr>
            <a:xfrm>
              <a:off x="703075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 59">
              <a:extLst>
                <a:ext uri="{FF2B5EF4-FFF2-40B4-BE49-F238E27FC236}">
                  <a16:creationId xmlns:a16="http://schemas.microsoft.com/office/drawing/2014/main" id="{5BFA067A-3F9C-DF66-9DD0-C39740F49EC5}"/>
                </a:ext>
              </a:extLst>
            </p:cNvPr>
            <p:cNvSpPr/>
            <p:nvPr/>
          </p:nvSpPr>
          <p:spPr>
            <a:xfrm>
              <a:off x="707539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Полилиния 60">
              <a:extLst>
                <a:ext uri="{FF2B5EF4-FFF2-40B4-BE49-F238E27FC236}">
                  <a16:creationId xmlns:a16="http://schemas.microsoft.com/office/drawing/2014/main" id="{900F1D90-0A05-5AC8-EC7F-3AAAB532877B}"/>
                </a:ext>
              </a:extLst>
            </p:cNvPr>
            <p:cNvSpPr/>
            <p:nvPr/>
          </p:nvSpPr>
          <p:spPr>
            <a:xfrm>
              <a:off x="7164676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 61">
              <a:extLst>
                <a:ext uri="{FF2B5EF4-FFF2-40B4-BE49-F238E27FC236}">
                  <a16:creationId xmlns:a16="http://schemas.microsoft.com/office/drawing/2014/main" id="{F4018580-6F9A-9282-0961-FD05523841E3}"/>
                </a:ext>
              </a:extLst>
            </p:cNvPr>
            <p:cNvSpPr/>
            <p:nvPr/>
          </p:nvSpPr>
          <p:spPr>
            <a:xfrm>
              <a:off x="720931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 62">
              <a:extLst>
                <a:ext uri="{FF2B5EF4-FFF2-40B4-BE49-F238E27FC236}">
                  <a16:creationId xmlns:a16="http://schemas.microsoft.com/office/drawing/2014/main" id="{F8A929BC-8BBB-683B-7213-AA48184F5DDE}"/>
                </a:ext>
              </a:extLst>
            </p:cNvPr>
            <p:cNvSpPr/>
            <p:nvPr/>
          </p:nvSpPr>
          <p:spPr>
            <a:xfrm>
              <a:off x="725395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 63">
              <a:extLst>
                <a:ext uri="{FF2B5EF4-FFF2-40B4-BE49-F238E27FC236}">
                  <a16:creationId xmlns:a16="http://schemas.microsoft.com/office/drawing/2014/main" id="{23E492E5-8828-CF44-91CD-32CEE2B80ED3}"/>
                </a:ext>
              </a:extLst>
            </p:cNvPr>
            <p:cNvSpPr/>
            <p:nvPr/>
          </p:nvSpPr>
          <p:spPr>
            <a:xfrm>
              <a:off x="7298594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" name="Полилиния 64">
              <a:extLst>
                <a:ext uri="{FF2B5EF4-FFF2-40B4-BE49-F238E27FC236}">
                  <a16:creationId xmlns:a16="http://schemas.microsoft.com/office/drawing/2014/main" id="{89B43AF3-3CCA-FFA6-06BF-A8C57D235C6B}"/>
                </a:ext>
              </a:extLst>
            </p:cNvPr>
            <p:cNvSpPr/>
            <p:nvPr/>
          </p:nvSpPr>
          <p:spPr>
            <a:xfrm>
              <a:off x="738787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" name="Полилиния 65">
              <a:extLst>
                <a:ext uri="{FF2B5EF4-FFF2-40B4-BE49-F238E27FC236}">
                  <a16:creationId xmlns:a16="http://schemas.microsoft.com/office/drawing/2014/main" id="{48570E47-8F8F-82AD-0690-1C5F725D3127}"/>
                </a:ext>
              </a:extLst>
            </p:cNvPr>
            <p:cNvSpPr/>
            <p:nvPr/>
          </p:nvSpPr>
          <p:spPr>
            <a:xfrm>
              <a:off x="743251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" name="Полилиния 66">
              <a:extLst>
                <a:ext uri="{FF2B5EF4-FFF2-40B4-BE49-F238E27FC236}">
                  <a16:creationId xmlns:a16="http://schemas.microsoft.com/office/drawing/2014/main" id="{30362F07-BABC-F9B6-3B05-D102D5CCFD8F}"/>
                </a:ext>
              </a:extLst>
            </p:cNvPr>
            <p:cNvSpPr/>
            <p:nvPr/>
          </p:nvSpPr>
          <p:spPr>
            <a:xfrm>
              <a:off x="747715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" name="Полилиния 67">
              <a:extLst>
                <a:ext uri="{FF2B5EF4-FFF2-40B4-BE49-F238E27FC236}">
                  <a16:creationId xmlns:a16="http://schemas.microsoft.com/office/drawing/2014/main" id="{39E7C827-7D01-0129-F198-6A108365296E}"/>
                </a:ext>
              </a:extLst>
            </p:cNvPr>
            <p:cNvSpPr/>
            <p:nvPr/>
          </p:nvSpPr>
          <p:spPr>
            <a:xfrm>
              <a:off x="680746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" name="Полилиния 68">
              <a:extLst>
                <a:ext uri="{FF2B5EF4-FFF2-40B4-BE49-F238E27FC236}">
                  <a16:creationId xmlns:a16="http://schemas.microsoft.com/office/drawing/2014/main" id="{6D7E14D3-449F-40E8-C861-EC2831D8046B}"/>
                </a:ext>
              </a:extLst>
            </p:cNvPr>
            <p:cNvSpPr/>
            <p:nvPr/>
          </p:nvSpPr>
          <p:spPr>
            <a:xfrm>
              <a:off x="6852106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 69">
              <a:extLst>
                <a:ext uri="{FF2B5EF4-FFF2-40B4-BE49-F238E27FC236}">
                  <a16:creationId xmlns:a16="http://schemas.microsoft.com/office/drawing/2014/main" id="{5107E61F-6D09-9C35-F812-257C24E39FA7}"/>
                </a:ext>
              </a:extLst>
            </p:cNvPr>
            <p:cNvSpPr/>
            <p:nvPr/>
          </p:nvSpPr>
          <p:spPr>
            <a:xfrm>
              <a:off x="689684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C77735BA-988C-D444-DA7C-5116C93D4E54}"/>
                </a:ext>
              </a:extLst>
            </p:cNvPr>
            <p:cNvSpPr/>
            <p:nvPr/>
          </p:nvSpPr>
          <p:spPr>
            <a:xfrm>
              <a:off x="7030758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904F7A52-69E1-7222-132C-BF255B891B3D}"/>
                </a:ext>
              </a:extLst>
            </p:cNvPr>
            <p:cNvSpPr/>
            <p:nvPr/>
          </p:nvSpPr>
          <p:spPr>
            <a:xfrm>
              <a:off x="712003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80A7EB9A-512F-C4F4-C437-99CB238A8340}"/>
                </a:ext>
              </a:extLst>
            </p:cNvPr>
            <p:cNvSpPr/>
            <p:nvPr/>
          </p:nvSpPr>
          <p:spPr>
            <a:xfrm>
              <a:off x="720931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72C492C5-5A1F-63D1-6453-800AEACC690C}"/>
                </a:ext>
              </a:extLst>
            </p:cNvPr>
            <p:cNvSpPr/>
            <p:nvPr/>
          </p:nvSpPr>
          <p:spPr>
            <a:xfrm>
              <a:off x="725395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07DF7846-D1A3-BE76-A43A-81AA108E332B}"/>
                </a:ext>
              </a:extLst>
            </p:cNvPr>
            <p:cNvSpPr/>
            <p:nvPr/>
          </p:nvSpPr>
          <p:spPr>
            <a:xfrm>
              <a:off x="7387872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E782FFEB-14BC-03D7-E2EB-7387666481BA}"/>
                </a:ext>
              </a:extLst>
            </p:cNvPr>
            <p:cNvSpPr/>
            <p:nvPr/>
          </p:nvSpPr>
          <p:spPr>
            <a:xfrm>
              <a:off x="747715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6201762F-DDE4-04BC-FB83-5BBA33D00210}"/>
                </a:ext>
              </a:extLst>
            </p:cNvPr>
            <p:cNvSpPr/>
            <p:nvPr/>
          </p:nvSpPr>
          <p:spPr>
            <a:xfrm>
              <a:off x="680746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40B280E3-D6AC-E5E1-F97C-8A3296DCB85A}"/>
                </a:ext>
              </a:extLst>
            </p:cNvPr>
            <p:cNvSpPr/>
            <p:nvPr/>
          </p:nvSpPr>
          <p:spPr>
            <a:xfrm>
              <a:off x="689684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1C5593EB-1260-61B3-70BA-122160EBA894}"/>
                </a:ext>
              </a:extLst>
            </p:cNvPr>
            <p:cNvSpPr/>
            <p:nvPr/>
          </p:nvSpPr>
          <p:spPr>
            <a:xfrm>
              <a:off x="6941480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9395AC3-D72F-2E2A-3950-F9791DCF5750}"/>
                </a:ext>
              </a:extLst>
            </p:cNvPr>
            <p:cNvSpPr/>
            <p:nvPr/>
          </p:nvSpPr>
          <p:spPr>
            <a:xfrm>
              <a:off x="7075398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A9552098-6A7D-AAF4-FADE-5A359FDD77A6}"/>
                </a:ext>
              </a:extLst>
            </p:cNvPr>
            <p:cNvSpPr/>
            <p:nvPr/>
          </p:nvSpPr>
          <p:spPr>
            <a:xfrm>
              <a:off x="712003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FF0DA03E-4A16-08F1-61AE-4A9C343C37AF}"/>
                </a:ext>
              </a:extLst>
            </p:cNvPr>
            <p:cNvSpPr/>
            <p:nvPr/>
          </p:nvSpPr>
          <p:spPr>
            <a:xfrm>
              <a:off x="7164676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71A28393-CB8B-7BD2-3A45-E9823927332A}"/>
                </a:ext>
              </a:extLst>
            </p:cNvPr>
            <p:cNvSpPr/>
            <p:nvPr/>
          </p:nvSpPr>
          <p:spPr>
            <a:xfrm>
              <a:off x="7387872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7CD4909D-9AB0-964A-45E7-796DAF100769}"/>
                </a:ext>
              </a:extLst>
            </p:cNvPr>
            <p:cNvSpPr/>
            <p:nvPr/>
          </p:nvSpPr>
          <p:spPr>
            <a:xfrm>
              <a:off x="747715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485EFE18-1551-191B-03C5-14E6804D7180}"/>
                </a:ext>
              </a:extLst>
            </p:cNvPr>
            <p:cNvSpPr/>
            <p:nvPr/>
          </p:nvSpPr>
          <p:spPr>
            <a:xfrm>
              <a:off x="6807467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D2563A29-2FA5-B5B5-DCF7-FC45811983A2}"/>
                </a:ext>
              </a:extLst>
            </p:cNvPr>
            <p:cNvSpPr/>
            <p:nvPr/>
          </p:nvSpPr>
          <p:spPr>
            <a:xfrm>
              <a:off x="6896841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DD045CDE-24ED-979E-3546-F829E3714699}"/>
                </a:ext>
              </a:extLst>
            </p:cNvPr>
            <p:cNvSpPr/>
            <p:nvPr/>
          </p:nvSpPr>
          <p:spPr>
            <a:xfrm>
              <a:off x="6986119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685DEA47-FE37-B28A-0A31-57A7F7838021}"/>
                </a:ext>
              </a:extLst>
            </p:cNvPr>
            <p:cNvSpPr/>
            <p:nvPr/>
          </p:nvSpPr>
          <p:spPr>
            <a:xfrm>
              <a:off x="7075398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6CD824FA-B189-E68A-9F0C-5BD300678241}"/>
                </a:ext>
              </a:extLst>
            </p:cNvPr>
            <p:cNvSpPr/>
            <p:nvPr/>
          </p:nvSpPr>
          <p:spPr>
            <a:xfrm>
              <a:off x="7164676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A26A4093-61F3-7329-C236-2F5846E29D41}"/>
                </a:ext>
              </a:extLst>
            </p:cNvPr>
            <p:cNvSpPr/>
            <p:nvPr/>
          </p:nvSpPr>
          <p:spPr>
            <a:xfrm>
              <a:off x="725395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F13A0D70-7F42-6303-A5A7-DA70899354C2}"/>
                </a:ext>
              </a:extLst>
            </p:cNvPr>
            <p:cNvSpPr/>
            <p:nvPr/>
          </p:nvSpPr>
          <p:spPr>
            <a:xfrm>
              <a:off x="7343233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DAD0D5B3-C9E3-85B2-90D8-EE8A9B1E299F}"/>
                </a:ext>
              </a:extLst>
            </p:cNvPr>
            <p:cNvSpPr/>
            <p:nvPr/>
          </p:nvSpPr>
          <p:spPr>
            <a:xfrm>
              <a:off x="7432512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7527CFBA-F981-212B-8DF9-CA7C246C99DB}"/>
                </a:ext>
              </a:extLst>
            </p:cNvPr>
            <p:cNvSpPr/>
            <p:nvPr/>
          </p:nvSpPr>
          <p:spPr>
            <a:xfrm>
              <a:off x="752188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C633C890-FEA5-71AB-AE2C-7A1BFE914570}"/>
                </a:ext>
              </a:extLst>
            </p:cNvPr>
            <p:cNvSpPr/>
            <p:nvPr/>
          </p:nvSpPr>
          <p:spPr>
            <a:xfrm>
              <a:off x="685210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64F3635B-954C-B790-151B-515798854197}"/>
                </a:ext>
              </a:extLst>
            </p:cNvPr>
            <p:cNvSpPr/>
            <p:nvPr/>
          </p:nvSpPr>
          <p:spPr>
            <a:xfrm>
              <a:off x="689684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4688EFC3-7CB0-490F-7EC3-7C26CDC8638B}"/>
                </a:ext>
              </a:extLst>
            </p:cNvPr>
            <p:cNvSpPr/>
            <p:nvPr/>
          </p:nvSpPr>
          <p:spPr>
            <a:xfrm>
              <a:off x="7030758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0AE26F97-98D8-98CB-8FC9-332DDB825491}"/>
                </a:ext>
              </a:extLst>
            </p:cNvPr>
            <p:cNvSpPr/>
            <p:nvPr/>
          </p:nvSpPr>
          <p:spPr>
            <a:xfrm>
              <a:off x="716467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FD401CD6-8BEF-0D3D-90B8-1DE72EAE81F2}"/>
                </a:ext>
              </a:extLst>
            </p:cNvPr>
            <p:cNvSpPr/>
            <p:nvPr/>
          </p:nvSpPr>
          <p:spPr>
            <a:xfrm>
              <a:off x="747715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E965B668-DAC7-7FEF-EF26-71632A11900F}"/>
                </a:ext>
              </a:extLst>
            </p:cNvPr>
            <p:cNvSpPr/>
            <p:nvPr/>
          </p:nvSpPr>
          <p:spPr>
            <a:xfrm>
              <a:off x="7521885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176661F1-D8EB-FA6D-4DF5-6F491C89B86D}"/>
                </a:ext>
              </a:extLst>
            </p:cNvPr>
            <p:cNvSpPr/>
            <p:nvPr/>
          </p:nvSpPr>
          <p:spPr>
            <a:xfrm>
              <a:off x="653963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652D957F-FAC9-7FFC-B03A-98B3383FA630}"/>
                </a:ext>
              </a:extLst>
            </p:cNvPr>
            <p:cNvSpPr/>
            <p:nvPr/>
          </p:nvSpPr>
          <p:spPr>
            <a:xfrm>
              <a:off x="667354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5DC9D1A1-D776-66AC-D57B-302B297FAD1E}"/>
                </a:ext>
              </a:extLst>
            </p:cNvPr>
            <p:cNvSpPr/>
            <p:nvPr/>
          </p:nvSpPr>
          <p:spPr>
            <a:xfrm>
              <a:off x="671818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E8BFA029-8542-BBB5-5090-02FF7963C522}"/>
                </a:ext>
              </a:extLst>
            </p:cNvPr>
            <p:cNvSpPr/>
            <p:nvPr/>
          </p:nvSpPr>
          <p:spPr>
            <a:xfrm>
              <a:off x="676282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Полилиния 103">
              <a:extLst>
                <a:ext uri="{FF2B5EF4-FFF2-40B4-BE49-F238E27FC236}">
                  <a16:creationId xmlns:a16="http://schemas.microsoft.com/office/drawing/2014/main" id="{AB4AA159-6533-D322-C8CC-FC1F91B1EA44}"/>
                </a:ext>
              </a:extLst>
            </p:cNvPr>
            <p:cNvSpPr/>
            <p:nvPr/>
          </p:nvSpPr>
          <p:spPr>
            <a:xfrm>
              <a:off x="680746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" name="Полилиния 104">
              <a:extLst>
                <a:ext uri="{FF2B5EF4-FFF2-40B4-BE49-F238E27FC236}">
                  <a16:creationId xmlns:a16="http://schemas.microsoft.com/office/drawing/2014/main" id="{05BF4988-5D0C-6AF9-3AB1-9B74F64004B4}"/>
                </a:ext>
              </a:extLst>
            </p:cNvPr>
            <p:cNvSpPr/>
            <p:nvPr/>
          </p:nvSpPr>
          <p:spPr>
            <a:xfrm>
              <a:off x="689684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" name="Полилиния 105">
              <a:extLst>
                <a:ext uri="{FF2B5EF4-FFF2-40B4-BE49-F238E27FC236}">
                  <a16:creationId xmlns:a16="http://schemas.microsoft.com/office/drawing/2014/main" id="{754645E9-A58F-6E9A-1051-13322880A14A}"/>
                </a:ext>
              </a:extLst>
            </p:cNvPr>
            <p:cNvSpPr/>
            <p:nvPr/>
          </p:nvSpPr>
          <p:spPr>
            <a:xfrm>
              <a:off x="703075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" name="Полилиния 106">
              <a:extLst>
                <a:ext uri="{FF2B5EF4-FFF2-40B4-BE49-F238E27FC236}">
                  <a16:creationId xmlns:a16="http://schemas.microsoft.com/office/drawing/2014/main" id="{44AE3059-5919-62C4-144A-7201255FAA9B}"/>
                </a:ext>
              </a:extLst>
            </p:cNvPr>
            <p:cNvSpPr/>
            <p:nvPr/>
          </p:nvSpPr>
          <p:spPr>
            <a:xfrm>
              <a:off x="712003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" name="Полилиния 107">
              <a:extLst>
                <a:ext uri="{FF2B5EF4-FFF2-40B4-BE49-F238E27FC236}">
                  <a16:creationId xmlns:a16="http://schemas.microsoft.com/office/drawing/2014/main" id="{1BF1589F-676A-A714-78F6-3F22435DED82}"/>
                </a:ext>
              </a:extLst>
            </p:cNvPr>
            <p:cNvSpPr/>
            <p:nvPr/>
          </p:nvSpPr>
          <p:spPr>
            <a:xfrm>
              <a:off x="7164676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" name="Полилиния 108">
              <a:extLst>
                <a:ext uri="{FF2B5EF4-FFF2-40B4-BE49-F238E27FC236}">
                  <a16:creationId xmlns:a16="http://schemas.microsoft.com/office/drawing/2014/main" id="{E5D3A95E-D8CE-8B40-D5DA-CF1589EB2181}"/>
                </a:ext>
              </a:extLst>
            </p:cNvPr>
            <p:cNvSpPr/>
            <p:nvPr/>
          </p:nvSpPr>
          <p:spPr>
            <a:xfrm>
              <a:off x="720931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" name="Полилиния 109">
              <a:extLst>
                <a:ext uri="{FF2B5EF4-FFF2-40B4-BE49-F238E27FC236}">
                  <a16:creationId xmlns:a16="http://schemas.microsoft.com/office/drawing/2014/main" id="{20328D4E-9196-FC3D-94E9-7903317E2963}"/>
                </a:ext>
              </a:extLst>
            </p:cNvPr>
            <p:cNvSpPr/>
            <p:nvPr/>
          </p:nvSpPr>
          <p:spPr>
            <a:xfrm>
              <a:off x="725395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" name="Полилиния 110">
              <a:extLst>
                <a:ext uri="{FF2B5EF4-FFF2-40B4-BE49-F238E27FC236}">
                  <a16:creationId xmlns:a16="http://schemas.microsoft.com/office/drawing/2014/main" id="{05861AE1-98B2-D6DB-C1C4-26D298503A8A}"/>
                </a:ext>
              </a:extLst>
            </p:cNvPr>
            <p:cNvSpPr/>
            <p:nvPr/>
          </p:nvSpPr>
          <p:spPr>
            <a:xfrm>
              <a:off x="734323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" name="Полилиния 111">
              <a:extLst>
                <a:ext uri="{FF2B5EF4-FFF2-40B4-BE49-F238E27FC236}">
                  <a16:creationId xmlns:a16="http://schemas.microsoft.com/office/drawing/2014/main" id="{393C4112-AC62-934D-E668-AA1B5A4F3CCA}"/>
                </a:ext>
              </a:extLst>
            </p:cNvPr>
            <p:cNvSpPr/>
            <p:nvPr/>
          </p:nvSpPr>
          <p:spPr>
            <a:xfrm>
              <a:off x="7566524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" name="Полилиния 112">
              <a:extLst>
                <a:ext uri="{FF2B5EF4-FFF2-40B4-BE49-F238E27FC236}">
                  <a16:creationId xmlns:a16="http://schemas.microsoft.com/office/drawing/2014/main" id="{73A096AB-7010-FC80-ADB4-BB7ED2AD92C6}"/>
                </a:ext>
              </a:extLst>
            </p:cNvPr>
            <p:cNvSpPr/>
            <p:nvPr/>
          </p:nvSpPr>
          <p:spPr>
            <a:xfrm>
              <a:off x="765580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" name="Полилиния 113">
              <a:extLst>
                <a:ext uri="{FF2B5EF4-FFF2-40B4-BE49-F238E27FC236}">
                  <a16:creationId xmlns:a16="http://schemas.microsoft.com/office/drawing/2014/main" id="{3A785189-D0FB-B548-7393-F3D443FBECBB}"/>
                </a:ext>
              </a:extLst>
            </p:cNvPr>
            <p:cNvSpPr/>
            <p:nvPr/>
          </p:nvSpPr>
          <p:spPr>
            <a:xfrm>
              <a:off x="7700442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" name="Полилиния 114">
              <a:extLst>
                <a:ext uri="{FF2B5EF4-FFF2-40B4-BE49-F238E27FC236}">
                  <a16:creationId xmlns:a16="http://schemas.microsoft.com/office/drawing/2014/main" id="{8825FBE5-F988-15A5-9A99-291F74B3AA83}"/>
                </a:ext>
              </a:extLst>
            </p:cNvPr>
            <p:cNvSpPr/>
            <p:nvPr/>
          </p:nvSpPr>
          <p:spPr>
            <a:xfrm>
              <a:off x="774508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" name="Полилиния 115">
              <a:extLst>
                <a:ext uri="{FF2B5EF4-FFF2-40B4-BE49-F238E27FC236}">
                  <a16:creationId xmlns:a16="http://schemas.microsoft.com/office/drawing/2014/main" id="{A5FD7387-E0CC-4520-831A-B9A350370A5F}"/>
                </a:ext>
              </a:extLst>
            </p:cNvPr>
            <p:cNvSpPr/>
            <p:nvPr/>
          </p:nvSpPr>
          <p:spPr>
            <a:xfrm>
              <a:off x="778972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 116">
              <a:extLst>
                <a:ext uri="{FF2B5EF4-FFF2-40B4-BE49-F238E27FC236}">
                  <a16:creationId xmlns:a16="http://schemas.microsoft.com/office/drawing/2014/main" id="{E32EFB0C-E777-DCD7-1910-5BBEEEF748DC}"/>
                </a:ext>
              </a:extLst>
            </p:cNvPr>
            <p:cNvSpPr/>
            <p:nvPr/>
          </p:nvSpPr>
          <p:spPr>
            <a:xfrm>
              <a:off x="7834360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" name="Полилиния 117">
              <a:extLst>
                <a:ext uri="{FF2B5EF4-FFF2-40B4-BE49-F238E27FC236}">
                  <a16:creationId xmlns:a16="http://schemas.microsoft.com/office/drawing/2014/main" id="{A37C3103-445F-76E7-C110-DE718BA7886B}"/>
                </a:ext>
              </a:extLst>
            </p:cNvPr>
            <p:cNvSpPr/>
            <p:nvPr/>
          </p:nvSpPr>
          <p:spPr>
            <a:xfrm>
              <a:off x="649499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" name="Полилиния 118">
              <a:extLst>
                <a:ext uri="{FF2B5EF4-FFF2-40B4-BE49-F238E27FC236}">
                  <a16:creationId xmlns:a16="http://schemas.microsoft.com/office/drawing/2014/main" id="{E91CDF4B-5DF0-FA59-05CA-4CA9E998E1F1}"/>
                </a:ext>
              </a:extLst>
            </p:cNvPr>
            <p:cNvSpPr/>
            <p:nvPr/>
          </p:nvSpPr>
          <p:spPr>
            <a:xfrm>
              <a:off x="653963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" name="Полилиния 119">
              <a:extLst>
                <a:ext uri="{FF2B5EF4-FFF2-40B4-BE49-F238E27FC236}">
                  <a16:creationId xmlns:a16="http://schemas.microsoft.com/office/drawing/2014/main" id="{96AC3E34-BE5F-DBB9-202B-A09BE2AC5C01}"/>
                </a:ext>
              </a:extLst>
            </p:cNvPr>
            <p:cNvSpPr/>
            <p:nvPr/>
          </p:nvSpPr>
          <p:spPr>
            <a:xfrm>
              <a:off x="667354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" name="Полилиния 120">
              <a:extLst>
                <a:ext uri="{FF2B5EF4-FFF2-40B4-BE49-F238E27FC236}">
                  <a16:creationId xmlns:a16="http://schemas.microsoft.com/office/drawing/2014/main" id="{253BCCA3-44D5-A068-3D46-CB5803C037D7}"/>
                </a:ext>
              </a:extLst>
            </p:cNvPr>
            <p:cNvSpPr/>
            <p:nvPr/>
          </p:nvSpPr>
          <p:spPr>
            <a:xfrm>
              <a:off x="6852106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" name="Полилиния 121">
              <a:extLst>
                <a:ext uri="{FF2B5EF4-FFF2-40B4-BE49-F238E27FC236}">
                  <a16:creationId xmlns:a16="http://schemas.microsoft.com/office/drawing/2014/main" id="{10DCEF63-1601-EE77-F159-2CE408E2806F}"/>
                </a:ext>
              </a:extLst>
            </p:cNvPr>
            <p:cNvSpPr/>
            <p:nvPr/>
          </p:nvSpPr>
          <p:spPr>
            <a:xfrm>
              <a:off x="6941480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" name="Полилиния 122">
              <a:extLst>
                <a:ext uri="{FF2B5EF4-FFF2-40B4-BE49-F238E27FC236}">
                  <a16:creationId xmlns:a16="http://schemas.microsoft.com/office/drawing/2014/main" id="{348BEF39-51CE-A449-ECC2-B1FCBC670624}"/>
                </a:ext>
              </a:extLst>
            </p:cNvPr>
            <p:cNvSpPr/>
            <p:nvPr/>
          </p:nvSpPr>
          <p:spPr>
            <a:xfrm>
              <a:off x="7030758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" name="Полилиния 123">
              <a:extLst>
                <a:ext uri="{FF2B5EF4-FFF2-40B4-BE49-F238E27FC236}">
                  <a16:creationId xmlns:a16="http://schemas.microsoft.com/office/drawing/2014/main" id="{16DA196F-990D-46F0-0C51-12A205B6D812}"/>
                </a:ext>
              </a:extLst>
            </p:cNvPr>
            <p:cNvSpPr/>
            <p:nvPr/>
          </p:nvSpPr>
          <p:spPr>
            <a:xfrm>
              <a:off x="720931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" name="Полилиния 124">
              <a:extLst>
                <a:ext uri="{FF2B5EF4-FFF2-40B4-BE49-F238E27FC236}">
                  <a16:creationId xmlns:a16="http://schemas.microsoft.com/office/drawing/2014/main" id="{973A7080-9CB8-511A-3629-1A598831CA67}"/>
                </a:ext>
              </a:extLst>
            </p:cNvPr>
            <p:cNvSpPr/>
            <p:nvPr/>
          </p:nvSpPr>
          <p:spPr>
            <a:xfrm>
              <a:off x="725395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" name="Полилиния 125">
              <a:extLst>
                <a:ext uri="{FF2B5EF4-FFF2-40B4-BE49-F238E27FC236}">
                  <a16:creationId xmlns:a16="http://schemas.microsoft.com/office/drawing/2014/main" id="{09DBBB45-6442-C72B-377C-C5EEB2BF4056}"/>
                </a:ext>
              </a:extLst>
            </p:cNvPr>
            <p:cNvSpPr/>
            <p:nvPr/>
          </p:nvSpPr>
          <p:spPr>
            <a:xfrm>
              <a:off x="729859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" name="Полилиния 126">
              <a:extLst>
                <a:ext uri="{FF2B5EF4-FFF2-40B4-BE49-F238E27FC236}">
                  <a16:creationId xmlns:a16="http://schemas.microsoft.com/office/drawing/2014/main" id="{764C86E6-FD18-658E-E880-54AC0A02F78E}"/>
                </a:ext>
              </a:extLst>
            </p:cNvPr>
            <p:cNvSpPr/>
            <p:nvPr/>
          </p:nvSpPr>
          <p:spPr>
            <a:xfrm>
              <a:off x="7432512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" name="Полилиния 127">
              <a:extLst>
                <a:ext uri="{FF2B5EF4-FFF2-40B4-BE49-F238E27FC236}">
                  <a16:creationId xmlns:a16="http://schemas.microsoft.com/office/drawing/2014/main" id="{7E5A7A40-4D81-DA7A-4E1C-8026F6387F47}"/>
                </a:ext>
              </a:extLst>
            </p:cNvPr>
            <p:cNvSpPr/>
            <p:nvPr/>
          </p:nvSpPr>
          <p:spPr>
            <a:xfrm>
              <a:off x="747715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" name="Полилиния 128">
              <a:extLst>
                <a:ext uri="{FF2B5EF4-FFF2-40B4-BE49-F238E27FC236}">
                  <a16:creationId xmlns:a16="http://schemas.microsoft.com/office/drawing/2014/main" id="{55B36C43-9698-6F50-A863-ED38BB763E7D}"/>
                </a:ext>
              </a:extLst>
            </p:cNvPr>
            <p:cNvSpPr/>
            <p:nvPr/>
          </p:nvSpPr>
          <p:spPr>
            <a:xfrm>
              <a:off x="752188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" name="Полилиния 129">
              <a:extLst>
                <a:ext uri="{FF2B5EF4-FFF2-40B4-BE49-F238E27FC236}">
                  <a16:creationId xmlns:a16="http://schemas.microsoft.com/office/drawing/2014/main" id="{CB4C7803-5557-AC36-671F-DC6A81D56931}"/>
                </a:ext>
              </a:extLst>
            </p:cNvPr>
            <p:cNvSpPr/>
            <p:nvPr/>
          </p:nvSpPr>
          <p:spPr>
            <a:xfrm>
              <a:off x="756652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" name="Полилиния 130">
              <a:extLst>
                <a:ext uri="{FF2B5EF4-FFF2-40B4-BE49-F238E27FC236}">
                  <a16:creationId xmlns:a16="http://schemas.microsoft.com/office/drawing/2014/main" id="{CF4CE090-C845-C874-368D-FE01F9E6F8B5}"/>
                </a:ext>
              </a:extLst>
            </p:cNvPr>
            <p:cNvSpPr/>
            <p:nvPr/>
          </p:nvSpPr>
          <p:spPr>
            <a:xfrm>
              <a:off x="761116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" name="Полилиния 131">
              <a:extLst>
                <a:ext uri="{FF2B5EF4-FFF2-40B4-BE49-F238E27FC236}">
                  <a16:creationId xmlns:a16="http://schemas.microsoft.com/office/drawing/2014/main" id="{C32CA1FA-831E-BE25-8768-98F393AAE0E0}"/>
                </a:ext>
              </a:extLst>
            </p:cNvPr>
            <p:cNvSpPr/>
            <p:nvPr/>
          </p:nvSpPr>
          <p:spPr>
            <a:xfrm>
              <a:off x="765580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" name="Полилиния 132">
              <a:extLst>
                <a:ext uri="{FF2B5EF4-FFF2-40B4-BE49-F238E27FC236}">
                  <a16:creationId xmlns:a16="http://schemas.microsoft.com/office/drawing/2014/main" id="{EFFF860C-07B2-655D-B89C-40B69A1D58D4}"/>
                </a:ext>
              </a:extLst>
            </p:cNvPr>
            <p:cNvSpPr/>
            <p:nvPr/>
          </p:nvSpPr>
          <p:spPr>
            <a:xfrm>
              <a:off x="774508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" name="Полилиния 133">
              <a:extLst>
                <a:ext uri="{FF2B5EF4-FFF2-40B4-BE49-F238E27FC236}">
                  <a16:creationId xmlns:a16="http://schemas.microsoft.com/office/drawing/2014/main" id="{8D2F1159-D070-1DBA-4217-AC5FC8011E1F}"/>
                </a:ext>
              </a:extLst>
            </p:cNvPr>
            <p:cNvSpPr/>
            <p:nvPr/>
          </p:nvSpPr>
          <p:spPr>
            <a:xfrm>
              <a:off x="787899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" name="Полилиния 134">
              <a:extLst>
                <a:ext uri="{FF2B5EF4-FFF2-40B4-BE49-F238E27FC236}">
                  <a16:creationId xmlns:a16="http://schemas.microsoft.com/office/drawing/2014/main" id="{3C5E7457-133E-48B3-1809-CA1914EC9FE6}"/>
                </a:ext>
              </a:extLst>
            </p:cNvPr>
            <p:cNvSpPr/>
            <p:nvPr/>
          </p:nvSpPr>
          <p:spPr>
            <a:xfrm>
              <a:off x="671818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" name="Полилиния 135">
              <a:extLst>
                <a:ext uri="{FF2B5EF4-FFF2-40B4-BE49-F238E27FC236}">
                  <a16:creationId xmlns:a16="http://schemas.microsoft.com/office/drawing/2014/main" id="{62BAFD93-6172-D4AD-7A5B-E2226CEAAF83}"/>
                </a:ext>
              </a:extLst>
            </p:cNvPr>
            <p:cNvSpPr/>
            <p:nvPr/>
          </p:nvSpPr>
          <p:spPr>
            <a:xfrm>
              <a:off x="676282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" name="Полилиния 136">
              <a:extLst>
                <a:ext uri="{FF2B5EF4-FFF2-40B4-BE49-F238E27FC236}">
                  <a16:creationId xmlns:a16="http://schemas.microsoft.com/office/drawing/2014/main" id="{D9064AD5-686E-9D90-C412-1A71E0383775}"/>
                </a:ext>
              </a:extLst>
            </p:cNvPr>
            <p:cNvSpPr/>
            <p:nvPr/>
          </p:nvSpPr>
          <p:spPr>
            <a:xfrm>
              <a:off x="685210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" name="Полилиния 137">
              <a:extLst>
                <a:ext uri="{FF2B5EF4-FFF2-40B4-BE49-F238E27FC236}">
                  <a16:creationId xmlns:a16="http://schemas.microsoft.com/office/drawing/2014/main" id="{E2DEF5D6-4CD9-5544-B9C9-3FABB37F010F}"/>
                </a:ext>
              </a:extLst>
            </p:cNvPr>
            <p:cNvSpPr/>
            <p:nvPr/>
          </p:nvSpPr>
          <p:spPr>
            <a:xfrm>
              <a:off x="694148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" name="Полилиния 138">
              <a:extLst>
                <a:ext uri="{FF2B5EF4-FFF2-40B4-BE49-F238E27FC236}">
                  <a16:creationId xmlns:a16="http://schemas.microsoft.com/office/drawing/2014/main" id="{259D6511-F9C6-003E-2023-D73419BF80FD}"/>
                </a:ext>
              </a:extLst>
            </p:cNvPr>
            <p:cNvSpPr/>
            <p:nvPr/>
          </p:nvSpPr>
          <p:spPr>
            <a:xfrm>
              <a:off x="703075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" name="Полилиния 139">
              <a:extLst>
                <a:ext uri="{FF2B5EF4-FFF2-40B4-BE49-F238E27FC236}">
                  <a16:creationId xmlns:a16="http://schemas.microsoft.com/office/drawing/2014/main" id="{5C280713-6F1D-7334-EC09-D3FF77246591}"/>
                </a:ext>
              </a:extLst>
            </p:cNvPr>
            <p:cNvSpPr/>
            <p:nvPr/>
          </p:nvSpPr>
          <p:spPr>
            <a:xfrm>
              <a:off x="707539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" name="Полилиния 140">
              <a:extLst>
                <a:ext uri="{FF2B5EF4-FFF2-40B4-BE49-F238E27FC236}">
                  <a16:creationId xmlns:a16="http://schemas.microsoft.com/office/drawing/2014/main" id="{3DCD2A8D-DA55-4594-39A4-9DF3F549B20B}"/>
                </a:ext>
              </a:extLst>
            </p:cNvPr>
            <p:cNvSpPr/>
            <p:nvPr/>
          </p:nvSpPr>
          <p:spPr>
            <a:xfrm>
              <a:off x="7120037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" name="Полилиния 141">
              <a:extLst>
                <a:ext uri="{FF2B5EF4-FFF2-40B4-BE49-F238E27FC236}">
                  <a16:creationId xmlns:a16="http://schemas.microsoft.com/office/drawing/2014/main" id="{0B207389-5281-F539-B275-E23EE298D212}"/>
                </a:ext>
              </a:extLst>
            </p:cNvPr>
            <p:cNvSpPr/>
            <p:nvPr/>
          </p:nvSpPr>
          <p:spPr>
            <a:xfrm>
              <a:off x="716467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" name="Полилиния 142">
              <a:extLst>
                <a:ext uri="{FF2B5EF4-FFF2-40B4-BE49-F238E27FC236}">
                  <a16:creationId xmlns:a16="http://schemas.microsoft.com/office/drawing/2014/main" id="{7CCC54D2-A69E-3C17-EEC4-20295B08E67A}"/>
                </a:ext>
              </a:extLst>
            </p:cNvPr>
            <p:cNvSpPr/>
            <p:nvPr/>
          </p:nvSpPr>
          <p:spPr>
            <a:xfrm>
              <a:off x="7209315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" name="Полилиния 143">
              <a:extLst>
                <a:ext uri="{FF2B5EF4-FFF2-40B4-BE49-F238E27FC236}">
                  <a16:creationId xmlns:a16="http://schemas.microsoft.com/office/drawing/2014/main" id="{96723457-89AB-7D31-6532-E6E4A0A09E53}"/>
                </a:ext>
              </a:extLst>
            </p:cNvPr>
            <p:cNvSpPr/>
            <p:nvPr/>
          </p:nvSpPr>
          <p:spPr>
            <a:xfrm>
              <a:off x="729859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" name="Полилиния 144">
              <a:extLst>
                <a:ext uri="{FF2B5EF4-FFF2-40B4-BE49-F238E27FC236}">
                  <a16:creationId xmlns:a16="http://schemas.microsoft.com/office/drawing/2014/main" id="{BE2E41EE-92C0-26B6-1A1D-A67469F6CA07}"/>
                </a:ext>
              </a:extLst>
            </p:cNvPr>
            <p:cNvSpPr/>
            <p:nvPr/>
          </p:nvSpPr>
          <p:spPr>
            <a:xfrm>
              <a:off x="734323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" name="Полилиния 145">
              <a:extLst>
                <a:ext uri="{FF2B5EF4-FFF2-40B4-BE49-F238E27FC236}">
                  <a16:creationId xmlns:a16="http://schemas.microsoft.com/office/drawing/2014/main" id="{EEE8C9D9-940C-BE11-6B66-EC63A2552D1E}"/>
                </a:ext>
              </a:extLst>
            </p:cNvPr>
            <p:cNvSpPr/>
            <p:nvPr/>
          </p:nvSpPr>
          <p:spPr>
            <a:xfrm>
              <a:off x="738787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" name="Полилиния 146">
              <a:extLst>
                <a:ext uri="{FF2B5EF4-FFF2-40B4-BE49-F238E27FC236}">
                  <a16:creationId xmlns:a16="http://schemas.microsoft.com/office/drawing/2014/main" id="{E8734CF1-4B40-7CF9-839A-A2BCCD170D7C}"/>
                </a:ext>
              </a:extLst>
            </p:cNvPr>
            <p:cNvSpPr/>
            <p:nvPr/>
          </p:nvSpPr>
          <p:spPr>
            <a:xfrm>
              <a:off x="743251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" name="Полилиния 147">
              <a:extLst>
                <a:ext uri="{FF2B5EF4-FFF2-40B4-BE49-F238E27FC236}">
                  <a16:creationId xmlns:a16="http://schemas.microsoft.com/office/drawing/2014/main" id="{CBBDA2C7-75F2-9026-D0DB-B86E0DE8EE50}"/>
                </a:ext>
              </a:extLst>
            </p:cNvPr>
            <p:cNvSpPr/>
            <p:nvPr/>
          </p:nvSpPr>
          <p:spPr>
            <a:xfrm>
              <a:off x="747715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" name="Полилиния 148">
              <a:extLst>
                <a:ext uri="{FF2B5EF4-FFF2-40B4-BE49-F238E27FC236}">
                  <a16:creationId xmlns:a16="http://schemas.microsoft.com/office/drawing/2014/main" id="{81372B50-8191-3C5C-D661-2850D30F97F9}"/>
                </a:ext>
              </a:extLst>
            </p:cNvPr>
            <p:cNvSpPr/>
            <p:nvPr/>
          </p:nvSpPr>
          <p:spPr>
            <a:xfrm>
              <a:off x="761116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" name="Полилиния 149">
              <a:extLst>
                <a:ext uri="{FF2B5EF4-FFF2-40B4-BE49-F238E27FC236}">
                  <a16:creationId xmlns:a16="http://schemas.microsoft.com/office/drawing/2014/main" id="{CE656A6A-FF10-F2FD-7834-8D42DA052BDF}"/>
                </a:ext>
              </a:extLst>
            </p:cNvPr>
            <p:cNvSpPr/>
            <p:nvPr/>
          </p:nvSpPr>
          <p:spPr>
            <a:xfrm>
              <a:off x="765580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Полилиния 150">
              <a:extLst>
                <a:ext uri="{FF2B5EF4-FFF2-40B4-BE49-F238E27FC236}">
                  <a16:creationId xmlns:a16="http://schemas.microsoft.com/office/drawing/2014/main" id="{EE30700B-6F07-D0F1-FEBA-D9E97AB0F7D8}"/>
                </a:ext>
              </a:extLst>
            </p:cNvPr>
            <p:cNvSpPr/>
            <p:nvPr/>
          </p:nvSpPr>
          <p:spPr>
            <a:xfrm>
              <a:off x="770044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" name="Полилиния 151">
              <a:extLst>
                <a:ext uri="{FF2B5EF4-FFF2-40B4-BE49-F238E27FC236}">
                  <a16:creationId xmlns:a16="http://schemas.microsoft.com/office/drawing/2014/main" id="{AFBF9584-C0A9-42AE-54AA-76B4E56113B2}"/>
                </a:ext>
              </a:extLst>
            </p:cNvPr>
            <p:cNvSpPr/>
            <p:nvPr/>
          </p:nvSpPr>
          <p:spPr>
            <a:xfrm>
              <a:off x="774508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" name="Полилиния 152">
              <a:extLst>
                <a:ext uri="{FF2B5EF4-FFF2-40B4-BE49-F238E27FC236}">
                  <a16:creationId xmlns:a16="http://schemas.microsoft.com/office/drawing/2014/main" id="{D807A1C6-14FF-A588-A2F4-FD15632908FE}"/>
                </a:ext>
              </a:extLst>
            </p:cNvPr>
            <p:cNvSpPr/>
            <p:nvPr/>
          </p:nvSpPr>
          <p:spPr>
            <a:xfrm>
              <a:off x="778972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" name="Полилиния 153">
              <a:extLst>
                <a:ext uri="{FF2B5EF4-FFF2-40B4-BE49-F238E27FC236}">
                  <a16:creationId xmlns:a16="http://schemas.microsoft.com/office/drawing/2014/main" id="{50465C9A-6C0A-07C2-FB7D-B7CFF99E326A}"/>
                </a:ext>
              </a:extLst>
            </p:cNvPr>
            <p:cNvSpPr/>
            <p:nvPr/>
          </p:nvSpPr>
          <p:spPr>
            <a:xfrm>
              <a:off x="783436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" name="Полилиния 154">
              <a:extLst>
                <a:ext uri="{FF2B5EF4-FFF2-40B4-BE49-F238E27FC236}">
                  <a16:creationId xmlns:a16="http://schemas.microsoft.com/office/drawing/2014/main" id="{5776D4D3-D8E6-0199-4A4B-320287057ED4}"/>
                </a:ext>
              </a:extLst>
            </p:cNvPr>
            <p:cNvSpPr/>
            <p:nvPr/>
          </p:nvSpPr>
          <p:spPr>
            <a:xfrm>
              <a:off x="787899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" name="Полилиния 155">
              <a:extLst>
                <a:ext uri="{FF2B5EF4-FFF2-40B4-BE49-F238E27FC236}">
                  <a16:creationId xmlns:a16="http://schemas.microsoft.com/office/drawing/2014/main" id="{75C68EF0-4EC5-B389-532C-4E61E12C39AB}"/>
                </a:ext>
              </a:extLst>
            </p:cNvPr>
            <p:cNvSpPr/>
            <p:nvPr/>
          </p:nvSpPr>
          <p:spPr>
            <a:xfrm>
              <a:off x="649499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" name="Полилиния 156">
              <a:extLst>
                <a:ext uri="{FF2B5EF4-FFF2-40B4-BE49-F238E27FC236}">
                  <a16:creationId xmlns:a16="http://schemas.microsoft.com/office/drawing/2014/main" id="{4C6B3290-0827-6358-B2E3-5ABB5083497C}"/>
                </a:ext>
              </a:extLst>
            </p:cNvPr>
            <p:cNvSpPr/>
            <p:nvPr/>
          </p:nvSpPr>
          <p:spPr>
            <a:xfrm>
              <a:off x="653963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" name="Полилиния 157">
              <a:extLst>
                <a:ext uri="{FF2B5EF4-FFF2-40B4-BE49-F238E27FC236}">
                  <a16:creationId xmlns:a16="http://schemas.microsoft.com/office/drawing/2014/main" id="{92C7A409-0A61-C89C-9CF9-ED189AD0E729}"/>
                </a:ext>
              </a:extLst>
            </p:cNvPr>
            <p:cNvSpPr/>
            <p:nvPr/>
          </p:nvSpPr>
          <p:spPr>
            <a:xfrm>
              <a:off x="6628910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" name="Полилиния 158">
              <a:extLst>
                <a:ext uri="{FF2B5EF4-FFF2-40B4-BE49-F238E27FC236}">
                  <a16:creationId xmlns:a16="http://schemas.microsoft.com/office/drawing/2014/main" id="{D9C9FDBA-AA64-E084-00D0-F6342BEADF89}"/>
                </a:ext>
              </a:extLst>
            </p:cNvPr>
            <p:cNvSpPr/>
            <p:nvPr/>
          </p:nvSpPr>
          <p:spPr>
            <a:xfrm>
              <a:off x="667354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" name="Полилиния 159">
              <a:extLst>
                <a:ext uri="{FF2B5EF4-FFF2-40B4-BE49-F238E27FC236}">
                  <a16:creationId xmlns:a16="http://schemas.microsoft.com/office/drawing/2014/main" id="{D00AFAA6-1353-2B8B-9DD9-1E80436376E0}"/>
                </a:ext>
              </a:extLst>
            </p:cNvPr>
            <p:cNvSpPr/>
            <p:nvPr/>
          </p:nvSpPr>
          <p:spPr>
            <a:xfrm>
              <a:off x="685210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" name="Полилиния 160">
              <a:extLst>
                <a:ext uri="{FF2B5EF4-FFF2-40B4-BE49-F238E27FC236}">
                  <a16:creationId xmlns:a16="http://schemas.microsoft.com/office/drawing/2014/main" id="{F0D4895A-059E-87BB-DA9D-51711FB07321}"/>
                </a:ext>
              </a:extLst>
            </p:cNvPr>
            <p:cNvSpPr/>
            <p:nvPr/>
          </p:nvSpPr>
          <p:spPr>
            <a:xfrm>
              <a:off x="698611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" name="Полилиния 161">
              <a:extLst>
                <a:ext uri="{FF2B5EF4-FFF2-40B4-BE49-F238E27FC236}">
                  <a16:creationId xmlns:a16="http://schemas.microsoft.com/office/drawing/2014/main" id="{96B6FBDB-23B2-4930-5AF6-C4886BF9A64C}"/>
                </a:ext>
              </a:extLst>
            </p:cNvPr>
            <p:cNvSpPr/>
            <p:nvPr/>
          </p:nvSpPr>
          <p:spPr>
            <a:xfrm>
              <a:off x="7030758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" name="Полилиния 162">
              <a:extLst>
                <a:ext uri="{FF2B5EF4-FFF2-40B4-BE49-F238E27FC236}">
                  <a16:creationId xmlns:a16="http://schemas.microsoft.com/office/drawing/2014/main" id="{C0976B56-8B08-DFE9-3B98-CDD511FC4D61}"/>
                </a:ext>
              </a:extLst>
            </p:cNvPr>
            <p:cNvSpPr/>
            <p:nvPr/>
          </p:nvSpPr>
          <p:spPr>
            <a:xfrm>
              <a:off x="716467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" name="Полилиния 163">
              <a:extLst>
                <a:ext uri="{FF2B5EF4-FFF2-40B4-BE49-F238E27FC236}">
                  <a16:creationId xmlns:a16="http://schemas.microsoft.com/office/drawing/2014/main" id="{10BE8E9D-E8A1-27A0-8389-9801B5F9CB01}"/>
                </a:ext>
              </a:extLst>
            </p:cNvPr>
            <p:cNvSpPr/>
            <p:nvPr/>
          </p:nvSpPr>
          <p:spPr>
            <a:xfrm>
              <a:off x="720931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" name="Полилиния 164">
              <a:extLst>
                <a:ext uri="{FF2B5EF4-FFF2-40B4-BE49-F238E27FC236}">
                  <a16:creationId xmlns:a16="http://schemas.microsoft.com/office/drawing/2014/main" id="{1B402CEA-4A6A-828E-15E8-F5AE47126653}"/>
                </a:ext>
              </a:extLst>
            </p:cNvPr>
            <p:cNvSpPr/>
            <p:nvPr/>
          </p:nvSpPr>
          <p:spPr>
            <a:xfrm>
              <a:off x="725395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" name="Полилиния 165">
              <a:extLst>
                <a:ext uri="{FF2B5EF4-FFF2-40B4-BE49-F238E27FC236}">
                  <a16:creationId xmlns:a16="http://schemas.microsoft.com/office/drawing/2014/main" id="{86739307-9909-7B0D-F70D-BBE108EA8043}"/>
                </a:ext>
              </a:extLst>
            </p:cNvPr>
            <p:cNvSpPr/>
            <p:nvPr/>
          </p:nvSpPr>
          <p:spPr>
            <a:xfrm>
              <a:off x="729859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" name="Полилиния 166">
              <a:extLst>
                <a:ext uri="{FF2B5EF4-FFF2-40B4-BE49-F238E27FC236}">
                  <a16:creationId xmlns:a16="http://schemas.microsoft.com/office/drawing/2014/main" id="{2136FBEE-CEAC-986A-6BC7-002A8A5FD3F1}"/>
                </a:ext>
              </a:extLst>
            </p:cNvPr>
            <p:cNvSpPr/>
            <p:nvPr/>
          </p:nvSpPr>
          <p:spPr>
            <a:xfrm>
              <a:off x="734323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8" name="Полилиния 167">
              <a:extLst>
                <a:ext uri="{FF2B5EF4-FFF2-40B4-BE49-F238E27FC236}">
                  <a16:creationId xmlns:a16="http://schemas.microsoft.com/office/drawing/2014/main" id="{3378F68C-26DB-7C6A-5774-88DAD5766CEC}"/>
                </a:ext>
              </a:extLst>
            </p:cNvPr>
            <p:cNvSpPr/>
            <p:nvPr/>
          </p:nvSpPr>
          <p:spPr>
            <a:xfrm>
              <a:off x="7432512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9" name="Полилиния 168">
              <a:extLst>
                <a:ext uri="{FF2B5EF4-FFF2-40B4-BE49-F238E27FC236}">
                  <a16:creationId xmlns:a16="http://schemas.microsoft.com/office/drawing/2014/main" id="{4FB8F570-72EC-A69B-F910-92E7AC6766E3}"/>
                </a:ext>
              </a:extLst>
            </p:cNvPr>
            <p:cNvSpPr/>
            <p:nvPr/>
          </p:nvSpPr>
          <p:spPr>
            <a:xfrm>
              <a:off x="756652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0" name="Полилиния 169">
              <a:extLst>
                <a:ext uri="{FF2B5EF4-FFF2-40B4-BE49-F238E27FC236}">
                  <a16:creationId xmlns:a16="http://schemas.microsoft.com/office/drawing/2014/main" id="{93D006B0-B519-9D18-F4D6-5D7FF9344161}"/>
                </a:ext>
              </a:extLst>
            </p:cNvPr>
            <p:cNvSpPr/>
            <p:nvPr/>
          </p:nvSpPr>
          <p:spPr>
            <a:xfrm>
              <a:off x="765580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1" name="Полилиния 170">
              <a:extLst>
                <a:ext uri="{FF2B5EF4-FFF2-40B4-BE49-F238E27FC236}">
                  <a16:creationId xmlns:a16="http://schemas.microsoft.com/office/drawing/2014/main" id="{E1688A47-6600-9AEB-E2C3-BAFF46A44712}"/>
                </a:ext>
              </a:extLst>
            </p:cNvPr>
            <p:cNvSpPr/>
            <p:nvPr/>
          </p:nvSpPr>
          <p:spPr>
            <a:xfrm>
              <a:off x="774508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2" name="Полилиния 171">
              <a:extLst>
                <a:ext uri="{FF2B5EF4-FFF2-40B4-BE49-F238E27FC236}">
                  <a16:creationId xmlns:a16="http://schemas.microsoft.com/office/drawing/2014/main" id="{DFB65C79-1E28-80D7-C064-9E020E53E321}"/>
                </a:ext>
              </a:extLst>
            </p:cNvPr>
            <p:cNvSpPr/>
            <p:nvPr/>
          </p:nvSpPr>
          <p:spPr>
            <a:xfrm>
              <a:off x="649499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3" name="Полилиния 172">
              <a:extLst>
                <a:ext uri="{FF2B5EF4-FFF2-40B4-BE49-F238E27FC236}">
                  <a16:creationId xmlns:a16="http://schemas.microsoft.com/office/drawing/2014/main" id="{5688806E-EFD3-5F2E-E3CF-53381C13CCA8}"/>
                </a:ext>
              </a:extLst>
            </p:cNvPr>
            <p:cNvSpPr/>
            <p:nvPr/>
          </p:nvSpPr>
          <p:spPr>
            <a:xfrm>
              <a:off x="658427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4" name="Полилиния 173">
              <a:extLst>
                <a:ext uri="{FF2B5EF4-FFF2-40B4-BE49-F238E27FC236}">
                  <a16:creationId xmlns:a16="http://schemas.microsoft.com/office/drawing/2014/main" id="{0387C885-C534-4237-4187-F58D1384350D}"/>
                </a:ext>
              </a:extLst>
            </p:cNvPr>
            <p:cNvSpPr/>
            <p:nvPr/>
          </p:nvSpPr>
          <p:spPr>
            <a:xfrm>
              <a:off x="662891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5" name="Полилиния 174">
              <a:extLst>
                <a:ext uri="{FF2B5EF4-FFF2-40B4-BE49-F238E27FC236}">
                  <a16:creationId xmlns:a16="http://schemas.microsoft.com/office/drawing/2014/main" id="{F2B5746E-2410-BA3D-C160-AC1E49574E69}"/>
                </a:ext>
              </a:extLst>
            </p:cNvPr>
            <p:cNvSpPr/>
            <p:nvPr/>
          </p:nvSpPr>
          <p:spPr>
            <a:xfrm>
              <a:off x="667354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6" name="Полилиния 175">
              <a:extLst>
                <a:ext uri="{FF2B5EF4-FFF2-40B4-BE49-F238E27FC236}">
                  <a16:creationId xmlns:a16="http://schemas.microsoft.com/office/drawing/2014/main" id="{F96CC817-B386-74DF-25EE-8A26276681A7}"/>
                </a:ext>
              </a:extLst>
            </p:cNvPr>
            <p:cNvSpPr/>
            <p:nvPr/>
          </p:nvSpPr>
          <p:spPr>
            <a:xfrm>
              <a:off x="671818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7" name="Полилиния 176">
              <a:extLst>
                <a:ext uri="{FF2B5EF4-FFF2-40B4-BE49-F238E27FC236}">
                  <a16:creationId xmlns:a16="http://schemas.microsoft.com/office/drawing/2014/main" id="{958DDC3F-3485-E5A9-8461-52EEF2425AFE}"/>
                </a:ext>
              </a:extLst>
            </p:cNvPr>
            <p:cNvSpPr/>
            <p:nvPr/>
          </p:nvSpPr>
          <p:spPr>
            <a:xfrm>
              <a:off x="676282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8" name="Полилиния 177">
              <a:extLst>
                <a:ext uri="{FF2B5EF4-FFF2-40B4-BE49-F238E27FC236}">
                  <a16:creationId xmlns:a16="http://schemas.microsoft.com/office/drawing/2014/main" id="{099B7DB0-1D9F-2455-26A4-208B86B1C0FC}"/>
                </a:ext>
              </a:extLst>
            </p:cNvPr>
            <p:cNvSpPr/>
            <p:nvPr/>
          </p:nvSpPr>
          <p:spPr>
            <a:xfrm>
              <a:off x="694148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9" name="Полилиния 178">
              <a:extLst>
                <a:ext uri="{FF2B5EF4-FFF2-40B4-BE49-F238E27FC236}">
                  <a16:creationId xmlns:a16="http://schemas.microsoft.com/office/drawing/2014/main" id="{F4C67200-5C16-776D-60DA-9F88193DD135}"/>
                </a:ext>
              </a:extLst>
            </p:cNvPr>
            <p:cNvSpPr/>
            <p:nvPr/>
          </p:nvSpPr>
          <p:spPr>
            <a:xfrm>
              <a:off x="698611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0" name="Полилиния 179">
              <a:extLst>
                <a:ext uri="{FF2B5EF4-FFF2-40B4-BE49-F238E27FC236}">
                  <a16:creationId xmlns:a16="http://schemas.microsoft.com/office/drawing/2014/main" id="{FE98A9B2-1D99-81D2-91E7-40F21262215A}"/>
                </a:ext>
              </a:extLst>
            </p:cNvPr>
            <p:cNvSpPr/>
            <p:nvPr/>
          </p:nvSpPr>
          <p:spPr>
            <a:xfrm>
              <a:off x="703075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1" name="Полилиния 180">
              <a:extLst>
                <a:ext uri="{FF2B5EF4-FFF2-40B4-BE49-F238E27FC236}">
                  <a16:creationId xmlns:a16="http://schemas.microsoft.com/office/drawing/2014/main" id="{7A5CBED9-D735-B5DB-A2E4-0B0FD287FFC0}"/>
                </a:ext>
              </a:extLst>
            </p:cNvPr>
            <p:cNvSpPr/>
            <p:nvPr/>
          </p:nvSpPr>
          <p:spPr>
            <a:xfrm>
              <a:off x="7120037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2" name="Полилиния 181">
              <a:extLst>
                <a:ext uri="{FF2B5EF4-FFF2-40B4-BE49-F238E27FC236}">
                  <a16:creationId xmlns:a16="http://schemas.microsoft.com/office/drawing/2014/main" id="{4BC307EE-7B7A-C215-8ADF-16D50069D92C}"/>
                </a:ext>
              </a:extLst>
            </p:cNvPr>
            <p:cNvSpPr/>
            <p:nvPr/>
          </p:nvSpPr>
          <p:spPr>
            <a:xfrm>
              <a:off x="7209315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" name="Полилиния 182">
              <a:extLst>
                <a:ext uri="{FF2B5EF4-FFF2-40B4-BE49-F238E27FC236}">
                  <a16:creationId xmlns:a16="http://schemas.microsoft.com/office/drawing/2014/main" id="{62791FB7-B328-928E-BAB0-B2385B632B1B}"/>
                </a:ext>
              </a:extLst>
            </p:cNvPr>
            <p:cNvSpPr/>
            <p:nvPr/>
          </p:nvSpPr>
          <p:spPr>
            <a:xfrm>
              <a:off x="738787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4" name="Полилиния 183">
              <a:extLst>
                <a:ext uri="{FF2B5EF4-FFF2-40B4-BE49-F238E27FC236}">
                  <a16:creationId xmlns:a16="http://schemas.microsoft.com/office/drawing/2014/main" id="{5170AB40-2AC5-1869-911A-FBAF3825A98F}"/>
                </a:ext>
              </a:extLst>
            </p:cNvPr>
            <p:cNvSpPr/>
            <p:nvPr/>
          </p:nvSpPr>
          <p:spPr>
            <a:xfrm>
              <a:off x="743251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5" name="Полилиния 184">
              <a:extLst>
                <a:ext uri="{FF2B5EF4-FFF2-40B4-BE49-F238E27FC236}">
                  <a16:creationId xmlns:a16="http://schemas.microsoft.com/office/drawing/2014/main" id="{E8D5B912-58A6-178E-3429-701406F9A2EC}"/>
                </a:ext>
              </a:extLst>
            </p:cNvPr>
            <p:cNvSpPr/>
            <p:nvPr/>
          </p:nvSpPr>
          <p:spPr>
            <a:xfrm>
              <a:off x="747715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6" name="Полилиния 185">
              <a:extLst>
                <a:ext uri="{FF2B5EF4-FFF2-40B4-BE49-F238E27FC236}">
                  <a16:creationId xmlns:a16="http://schemas.microsoft.com/office/drawing/2014/main" id="{D0B5AB8C-F821-F204-CAB4-556807F376A9}"/>
                </a:ext>
              </a:extLst>
            </p:cNvPr>
            <p:cNvSpPr/>
            <p:nvPr/>
          </p:nvSpPr>
          <p:spPr>
            <a:xfrm>
              <a:off x="756652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7" name="Полилиния 186">
              <a:extLst>
                <a:ext uri="{FF2B5EF4-FFF2-40B4-BE49-F238E27FC236}">
                  <a16:creationId xmlns:a16="http://schemas.microsoft.com/office/drawing/2014/main" id="{3B7E88F4-32A1-0DC9-7E3E-74C577AFEB76}"/>
                </a:ext>
              </a:extLst>
            </p:cNvPr>
            <p:cNvSpPr/>
            <p:nvPr/>
          </p:nvSpPr>
          <p:spPr>
            <a:xfrm>
              <a:off x="761116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8" name="Полилиния 187">
              <a:extLst>
                <a:ext uri="{FF2B5EF4-FFF2-40B4-BE49-F238E27FC236}">
                  <a16:creationId xmlns:a16="http://schemas.microsoft.com/office/drawing/2014/main" id="{A1E7C260-F29F-62AD-9D55-5D2FCE3AB39F}"/>
                </a:ext>
              </a:extLst>
            </p:cNvPr>
            <p:cNvSpPr/>
            <p:nvPr/>
          </p:nvSpPr>
          <p:spPr>
            <a:xfrm>
              <a:off x="765580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9" name="Полилиния 188">
              <a:extLst>
                <a:ext uri="{FF2B5EF4-FFF2-40B4-BE49-F238E27FC236}">
                  <a16:creationId xmlns:a16="http://schemas.microsoft.com/office/drawing/2014/main" id="{C8AB9071-2C5E-ED43-760D-CD0877B16A2C}"/>
                </a:ext>
              </a:extLst>
            </p:cNvPr>
            <p:cNvSpPr/>
            <p:nvPr/>
          </p:nvSpPr>
          <p:spPr>
            <a:xfrm>
              <a:off x="770044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0" name="Полилиния 189">
              <a:extLst>
                <a:ext uri="{FF2B5EF4-FFF2-40B4-BE49-F238E27FC236}">
                  <a16:creationId xmlns:a16="http://schemas.microsoft.com/office/drawing/2014/main" id="{9EE3B8F9-8C3B-998C-7B3B-58BAB27238E5}"/>
                </a:ext>
              </a:extLst>
            </p:cNvPr>
            <p:cNvSpPr/>
            <p:nvPr/>
          </p:nvSpPr>
          <p:spPr>
            <a:xfrm>
              <a:off x="774508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1" name="Полилиния 190">
              <a:extLst>
                <a:ext uri="{FF2B5EF4-FFF2-40B4-BE49-F238E27FC236}">
                  <a16:creationId xmlns:a16="http://schemas.microsoft.com/office/drawing/2014/main" id="{0524E18B-DACE-13DB-8215-C3E6CAA68700}"/>
                </a:ext>
              </a:extLst>
            </p:cNvPr>
            <p:cNvSpPr/>
            <p:nvPr/>
          </p:nvSpPr>
          <p:spPr>
            <a:xfrm>
              <a:off x="787899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2" name="Полилиния 191">
              <a:extLst>
                <a:ext uri="{FF2B5EF4-FFF2-40B4-BE49-F238E27FC236}">
                  <a16:creationId xmlns:a16="http://schemas.microsoft.com/office/drawing/2014/main" id="{4BC13619-8F22-BE47-7356-7B2A479A5E83}"/>
                </a:ext>
              </a:extLst>
            </p:cNvPr>
            <p:cNvSpPr/>
            <p:nvPr/>
          </p:nvSpPr>
          <p:spPr>
            <a:xfrm>
              <a:off x="645035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3" name="Полилиния 192">
              <a:extLst>
                <a:ext uri="{FF2B5EF4-FFF2-40B4-BE49-F238E27FC236}">
                  <a16:creationId xmlns:a16="http://schemas.microsoft.com/office/drawing/2014/main" id="{57BAA716-0CF8-ABCD-AFD1-05AF0C52475A}"/>
                </a:ext>
              </a:extLst>
            </p:cNvPr>
            <p:cNvSpPr/>
            <p:nvPr/>
          </p:nvSpPr>
          <p:spPr>
            <a:xfrm>
              <a:off x="6941480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4" name="Полилиния 193">
              <a:extLst>
                <a:ext uri="{FF2B5EF4-FFF2-40B4-BE49-F238E27FC236}">
                  <a16:creationId xmlns:a16="http://schemas.microsoft.com/office/drawing/2014/main" id="{AE173D05-DFE5-A8A2-C267-494C3A33120D}"/>
                </a:ext>
              </a:extLst>
            </p:cNvPr>
            <p:cNvSpPr/>
            <p:nvPr/>
          </p:nvSpPr>
          <p:spPr>
            <a:xfrm>
              <a:off x="698611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5" name="Полилиния 194">
              <a:extLst>
                <a:ext uri="{FF2B5EF4-FFF2-40B4-BE49-F238E27FC236}">
                  <a16:creationId xmlns:a16="http://schemas.microsoft.com/office/drawing/2014/main" id="{2F77A747-A8B2-3493-D4E7-CFC26E8D6D63}"/>
                </a:ext>
              </a:extLst>
            </p:cNvPr>
            <p:cNvSpPr/>
            <p:nvPr/>
          </p:nvSpPr>
          <p:spPr>
            <a:xfrm>
              <a:off x="703075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6" name="Полилиния 195">
              <a:extLst>
                <a:ext uri="{FF2B5EF4-FFF2-40B4-BE49-F238E27FC236}">
                  <a16:creationId xmlns:a16="http://schemas.microsoft.com/office/drawing/2014/main" id="{7ABA9A1D-FD0C-83DF-1CFB-9AF56148AC5B}"/>
                </a:ext>
              </a:extLst>
            </p:cNvPr>
            <p:cNvSpPr/>
            <p:nvPr/>
          </p:nvSpPr>
          <p:spPr>
            <a:xfrm>
              <a:off x="707539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7" name="Полилиния 196">
              <a:extLst>
                <a:ext uri="{FF2B5EF4-FFF2-40B4-BE49-F238E27FC236}">
                  <a16:creationId xmlns:a16="http://schemas.microsoft.com/office/drawing/2014/main" id="{AFFF6306-7B4E-D27B-3445-1CA9796C8FAB}"/>
                </a:ext>
              </a:extLst>
            </p:cNvPr>
            <p:cNvSpPr/>
            <p:nvPr/>
          </p:nvSpPr>
          <p:spPr>
            <a:xfrm>
              <a:off x="7164676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8" name="Полилиния 197">
              <a:extLst>
                <a:ext uri="{FF2B5EF4-FFF2-40B4-BE49-F238E27FC236}">
                  <a16:creationId xmlns:a16="http://schemas.microsoft.com/office/drawing/2014/main" id="{21D1D9BB-3C00-1496-5A0A-CB3AA4259DAB}"/>
                </a:ext>
              </a:extLst>
            </p:cNvPr>
            <p:cNvSpPr/>
            <p:nvPr/>
          </p:nvSpPr>
          <p:spPr>
            <a:xfrm>
              <a:off x="720931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9" name="Полилиния 198">
              <a:extLst>
                <a:ext uri="{FF2B5EF4-FFF2-40B4-BE49-F238E27FC236}">
                  <a16:creationId xmlns:a16="http://schemas.microsoft.com/office/drawing/2014/main" id="{AB5F44F0-D14E-1EA2-D582-BE3521EA184D}"/>
                </a:ext>
              </a:extLst>
            </p:cNvPr>
            <p:cNvSpPr/>
            <p:nvPr/>
          </p:nvSpPr>
          <p:spPr>
            <a:xfrm>
              <a:off x="725395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0" name="Полилиния 199">
              <a:extLst>
                <a:ext uri="{FF2B5EF4-FFF2-40B4-BE49-F238E27FC236}">
                  <a16:creationId xmlns:a16="http://schemas.microsoft.com/office/drawing/2014/main" id="{BAA31D16-D3C9-B4A7-9BBE-EB8CCBE1F3AD}"/>
                </a:ext>
              </a:extLst>
            </p:cNvPr>
            <p:cNvSpPr/>
            <p:nvPr/>
          </p:nvSpPr>
          <p:spPr>
            <a:xfrm>
              <a:off x="729859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1" name="Полилиния 200">
              <a:extLst>
                <a:ext uri="{FF2B5EF4-FFF2-40B4-BE49-F238E27FC236}">
                  <a16:creationId xmlns:a16="http://schemas.microsoft.com/office/drawing/2014/main" id="{D320B377-FB95-9CFB-A59B-3EACF448868D}"/>
                </a:ext>
              </a:extLst>
            </p:cNvPr>
            <p:cNvSpPr/>
            <p:nvPr/>
          </p:nvSpPr>
          <p:spPr>
            <a:xfrm>
              <a:off x="734323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2" name="Полилиния 201">
              <a:extLst>
                <a:ext uri="{FF2B5EF4-FFF2-40B4-BE49-F238E27FC236}">
                  <a16:creationId xmlns:a16="http://schemas.microsoft.com/office/drawing/2014/main" id="{D2505CC1-F467-B3A5-5E38-A17570D73E7A}"/>
                </a:ext>
              </a:extLst>
            </p:cNvPr>
            <p:cNvSpPr/>
            <p:nvPr/>
          </p:nvSpPr>
          <p:spPr>
            <a:xfrm>
              <a:off x="738787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3" name="Полилиния 202">
              <a:extLst>
                <a:ext uri="{FF2B5EF4-FFF2-40B4-BE49-F238E27FC236}">
                  <a16:creationId xmlns:a16="http://schemas.microsoft.com/office/drawing/2014/main" id="{77FB350B-F9BF-4AE9-EE46-F8E493C89E64}"/>
                </a:ext>
              </a:extLst>
            </p:cNvPr>
            <p:cNvSpPr/>
            <p:nvPr/>
          </p:nvSpPr>
          <p:spPr>
            <a:xfrm>
              <a:off x="743251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4" name="Полилиния 203">
              <a:extLst>
                <a:ext uri="{FF2B5EF4-FFF2-40B4-BE49-F238E27FC236}">
                  <a16:creationId xmlns:a16="http://schemas.microsoft.com/office/drawing/2014/main" id="{C6862E07-936E-8B31-C006-703535E17B04}"/>
                </a:ext>
              </a:extLst>
            </p:cNvPr>
            <p:cNvSpPr/>
            <p:nvPr/>
          </p:nvSpPr>
          <p:spPr>
            <a:xfrm>
              <a:off x="747715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5" name="Полилиния 204">
              <a:extLst>
                <a:ext uri="{FF2B5EF4-FFF2-40B4-BE49-F238E27FC236}">
                  <a16:creationId xmlns:a16="http://schemas.microsoft.com/office/drawing/2014/main" id="{4D75FB46-5A81-2B71-75C2-E8175B811925}"/>
                </a:ext>
              </a:extLst>
            </p:cNvPr>
            <p:cNvSpPr/>
            <p:nvPr/>
          </p:nvSpPr>
          <p:spPr>
            <a:xfrm>
              <a:off x="752188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6" name="Полилиния 205">
              <a:extLst>
                <a:ext uri="{FF2B5EF4-FFF2-40B4-BE49-F238E27FC236}">
                  <a16:creationId xmlns:a16="http://schemas.microsoft.com/office/drawing/2014/main" id="{5E58B157-12E1-E818-74E3-0FB3E755938F}"/>
                </a:ext>
              </a:extLst>
            </p:cNvPr>
            <p:cNvSpPr/>
            <p:nvPr/>
          </p:nvSpPr>
          <p:spPr>
            <a:xfrm>
              <a:off x="761116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7" name="Полилиния 206">
              <a:extLst>
                <a:ext uri="{FF2B5EF4-FFF2-40B4-BE49-F238E27FC236}">
                  <a16:creationId xmlns:a16="http://schemas.microsoft.com/office/drawing/2014/main" id="{EA6CAEF7-D3CC-3976-5F18-EF4492EE96B7}"/>
                </a:ext>
              </a:extLst>
            </p:cNvPr>
            <p:cNvSpPr/>
            <p:nvPr/>
          </p:nvSpPr>
          <p:spPr>
            <a:xfrm>
              <a:off x="774508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8" name="Полилиния 207">
              <a:extLst>
                <a:ext uri="{FF2B5EF4-FFF2-40B4-BE49-F238E27FC236}">
                  <a16:creationId xmlns:a16="http://schemas.microsoft.com/office/drawing/2014/main" id="{DABB295D-A09A-40BC-EC16-535B48EF16B2}"/>
                </a:ext>
              </a:extLst>
            </p:cNvPr>
            <p:cNvSpPr/>
            <p:nvPr/>
          </p:nvSpPr>
          <p:spPr>
            <a:xfrm>
              <a:off x="787899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9" name="Полилиния 208">
              <a:extLst>
                <a:ext uri="{FF2B5EF4-FFF2-40B4-BE49-F238E27FC236}">
                  <a16:creationId xmlns:a16="http://schemas.microsoft.com/office/drawing/2014/main" id="{44C01F2C-778B-FBFA-CE29-FCFE94BA8F8C}"/>
                </a:ext>
              </a:extLst>
            </p:cNvPr>
            <p:cNvSpPr/>
            <p:nvPr/>
          </p:nvSpPr>
          <p:spPr>
            <a:xfrm>
              <a:off x="649499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0" name="Полилиния 209">
              <a:extLst>
                <a:ext uri="{FF2B5EF4-FFF2-40B4-BE49-F238E27FC236}">
                  <a16:creationId xmlns:a16="http://schemas.microsoft.com/office/drawing/2014/main" id="{BEA11414-7F52-47D7-3A22-65631170CF9A}"/>
                </a:ext>
              </a:extLst>
            </p:cNvPr>
            <p:cNvSpPr/>
            <p:nvPr/>
          </p:nvSpPr>
          <p:spPr>
            <a:xfrm>
              <a:off x="653963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1" name="Полилиния 210">
              <a:extLst>
                <a:ext uri="{FF2B5EF4-FFF2-40B4-BE49-F238E27FC236}">
                  <a16:creationId xmlns:a16="http://schemas.microsoft.com/office/drawing/2014/main" id="{72407101-2706-A001-A664-E3E4EF8ED531}"/>
                </a:ext>
              </a:extLst>
            </p:cNvPr>
            <p:cNvSpPr/>
            <p:nvPr/>
          </p:nvSpPr>
          <p:spPr>
            <a:xfrm>
              <a:off x="658427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2" name="Полилиния 211">
              <a:extLst>
                <a:ext uri="{FF2B5EF4-FFF2-40B4-BE49-F238E27FC236}">
                  <a16:creationId xmlns:a16="http://schemas.microsoft.com/office/drawing/2014/main" id="{43FB7881-681B-251C-8C82-999532E04E8A}"/>
                </a:ext>
              </a:extLst>
            </p:cNvPr>
            <p:cNvSpPr/>
            <p:nvPr/>
          </p:nvSpPr>
          <p:spPr>
            <a:xfrm>
              <a:off x="6628910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3" name="Полилиния 212">
              <a:extLst>
                <a:ext uri="{FF2B5EF4-FFF2-40B4-BE49-F238E27FC236}">
                  <a16:creationId xmlns:a16="http://schemas.microsoft.com/office/drawing/2014/main" id="{26511C41-5B94-F6F7-337B-5CD00E85475E}"/>
                </a:ext>
              </a:extLst>
            </p:cNvPr>
            <p:cNvSpPr/>
            <p:nvPr/>
          </p:nvSpPr>
          <p:spPr>
            <a:xfrm>
              <a:off x="671818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4" name="Полилиния 213">
              <a:extLst>
                <a:ext uri="{FF2B5EF4-FFF2-40B4-BE49-F238E27FC236}">
                  <a16:creationId xmlns:a16="http://schemas.microsoft.com/office/drawing/2014/main" id="{D334D12A-5AA5-DCA2-559D-8D5EC664B5C1}"/>
                </a:ext>
              </a:extLst>
            </p:cNvPr>
            <p:cNvSpPr/>
            <p:nvPr/>
          </p:nvSpPr>
          <p:spPr>
            <a:xfrm>
              <a:off x="676282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5" name="Полилиния 214">
              <a:extLst>
                <a:ext uri="{FF2B5EF4-FFF2-40B4-BE49-F238E27FC236}">
                  <a16:creationId xmlns:a16="http://schemas.microsoft.com/office/drawing/2014/main" id="{A0D3FA9F-6399-2545-2331-BDCE16DBED84}"/>
                </a:ext>
              </a:extLst>
            </p:cNvPr>
            <p:cNvSpPr/>
            <p:nvPr/>
          </p:nvSpPr>
          <p:spPr>
            <a:xfrm>
              <a:off x="698611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6" name="Полилиния 215">
              <a:extLst>
                <a:ext uri="{FF2B5EF4-FFF2-40B4-BE49-F238E27FC236}">
                  <a16:creationId xmlns:a16="http://schemas.microsoft.com/office/drawing/2014/main" id="{F5FD6456-158C-D169-0265-5A98B2329EA7}"/>
                </a:ext>
              </a:extLst>
            </p:cNvPr>
            <p:cNvSpPr/>
            <p:nvPr/>
          </p:nvSpPr>
          <p:spPr>
            <a:xfrm>
              <a:off x="707539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7" name="Полилиния 216">
              <a:extLst>
                <a:ext uri="{FF2B5EF4-FFF2-40B4-BE49-F238E27FC236}">
                  <a16:creationId xmlns:a16="http://schemas.microsoft.com/office/drawing/2014/main" id="{A8DB75FC-D3CB-2629-4538-7B08669A75ED}"/>
                </a:ext>
              </a:extLst>
            </p:cNvPr>
            <p:cNvSpPr/>
            <p:nvPr/>
          </p:nvSpPr>
          <p:spPr>
            <a:xfrm>
              <a:off x="7120037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8" name="Полилиния 217">
              <a:extLst>
                <a:ext uri="{FF2B5EF4-FFF2-40B4-BE49-F238E27FC236}">
                  <a16:creationId xmlns:a16="http://schemas.microsoft.com/office/drawing/2014/main" id="{9EECB70B-A297-E1C0-7BEE-CFDAEE5E3B0F}"/>
                </a:ext>
              </a:extLst>
            </p:cNvPr>
            <p:cNvSpPr/>
            <p:nvPr/>
          </p:nvSpPr>
          <p:spPr>
            <a:xfrm>
              <a:off x="7164676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9" name="Полилиния 218">
              <a:extLst>
                <a:ext uri="{FF2B5EF4-FFF2-40B4-BE49-F238E27FC236}">
                  <a16:creationId xmlns:a16="http://schemas.microsoft.com/office/drawing/2014/main" id="{D2CEC86A-F82F-5600-CCBC-F014003EAD16}"/>
                </a:ext>
              </a:extLst>
            </p:cNvPr>
            <p:cNvSpPr/>
            <p:nvPr/>
          </p:nvSpPr>
          <p:spPr>
            <a:xfrm>
              <a:off x="720931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0" name="Полилиния 219">
              <a:extLst>
                <a:ext uri="{FF2B5EF4-FFF2-40B4-BE49-F238E27FC236}">
                  <a16:creationId xmlns:a16="http://schemas.microsoft.com/office/drawing/2014/main" id="{344BF45B-1E00-7E5F-557D-DC1C1567405D}"/>
                </a:ext>
              </a:extLst>
            </p:cNvPr>
            <p:cNvSpPr/>
            <p:nvPr/>
          </p:nvSpPr>
          <p:spPr>
            <a:xfrm>
              <a:off x="725395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1" name="Полилиния 220">
              <a:extLst>
                <a:ext uri="{FF2B5EF4-FFF2-40B4-BE49-F238E27FC236}">
                  <a16:creationId xmlns:a16="http://schemas.microsoft.com/office/drawing/2014/main" id="{2EBBC00F-0C15-B376-B4CD-74126CB983DA}"/>
                </a:ext>
              </a:extLst>
            </p:cNvPr>
            <p:cNvSpPr/>
            <p:nvPr/>
          </p:nvSpPr>
          <p:spPr>
            <a:xfrm>
              <a:off x="734323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2" name="Полилиния 221">
              <a:extLst>
                <a:ext uri="{FF2B5EF4-FFF2-40B4-BE49-F238E27FC236}">
                  <a16:creationId xmlns:a16="http://schemas.microsoft.com/office/drawing/2014/main" id="{6AE8D584-DB17-7338-9A3E-F9887332999A}"/>
                </a:ext>
              </a:extLst>
            </p:cNvPr>
            <p:cNvSpPr/>
            <p:nvPr/>
          </p:nvSpPr>
          <p:spPr>
            <a:xfrm>
              <a:off x="747715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3" name="Полилиния 222">
              <a:extLst>
                <a:ext uri="{FF2B5EF4-FFF2-40B4-BE49-F238E27FC236}">
                  <a16:creationId xmlns:a16="http://schemas.microsoft.com/office/drawing/2014/main" id="{9DE64A35-9E19-8E73-0912-CB8902CC778F}"/>
                </a:ext>
              </a:extLst>
            </p:cNvPr>
            <p:cNvSpPr/>
            <p:nvPr/>
          </p:nvSpPr>
          <p:spPr>
            <a:xfrm>
              <a:off x="7566524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4" name="Полилиния 223">
              <a:extLst>
                <a:ext uri="{FF2B5EF4-FFF2-40B4-BE49-F238E27FC236}">
                  <a16:creationId xmlns:a16="http://schemas.microsoft.com/office/drawing/2014/main" id="{537C2437-9424-8F4B-9E04-D6F93B67B757}"/>
                </a:ext>
              </a:extLst>
            </p:cNvPr>
            <p:cNvSpPr/>
            <p:nvPr/>
          </p:nvSpPr>
          <p:spPr>
            <a:xfrm>
              <a:off x="778972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5" name="Полилиния 224">
              <a:extLst>
                <a:ext uri="{FF2B5EF4-FFF2-40B4-BE49-F238E27FC236}">
                  <a16:creationId xmlns:a16="http://schemas.microsoft.com/office/drawing/2014/main" id="{104151B3-606E-EB61-EB87-7007923E1F56}"/>
                </a:ext>
              </a:extLst>
            </p:cNvPr>
            <p:cNvSpPr/>
            <p:nvPr/>
          </p:nvSpPr>
          <p:spPr>
            <a:xfrm>
              <a:off x="787899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6" name="Полилиния 225">
              <a:extLst>
                <a:ext uri="{FF2B5EF4-FFF2-40B4-BE49-F238E27FC236}">
                  <a16:creationId xmlns:a16="http://schemas.microsoft.com/office/drawing/2014/main" id="{E7ACC6BE-304E-15F9-D47A-9F53906C2829}"/>
                </a:ext>
              </a:extLst>
            </p:cNvPr>
            <p:cNvSpPr/>
            <p:nvPr/>
          </p:nvSpPr>
          <p:spPr>
            <a:xfrm>
              <a:off x="645035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7" name="Полилиния 226">
              <a:extLst>
                <a:ext uri="{FF2B5EF4-FFF2-40B4-BE49-F238E27FC236}">
                  <a16:creationId xmlns:a16="http://schemas.microsoft.com/office/drawing/2014/main" id="{AC6390AD-2178-ED39-173A-45845F7812BF}"/>
                </a:ext>
              </a:extLst>
            </p:cNvPr>
            <p:cNvSpPr/>
            <p:nvPr/>
          </p:nvSpPr>
          <p:spPr>
            <a:xfrm>
              <a:off x="649499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8" name="Полилиния 227">
              <a:extLst>
                <a:ext uri="{FF2B5EF4-FFF2-40B4-BE49-F238E27FC236}">
                  <a16:creationId xmlns:a16="http://schemas.microsoft.com/office/drawing/2014/main" id="{F95F8BE8-F25D-8FB9-3602-4882820B17D8}"/>
                </a:ext>
              </a:extLst>
            </p:cNvPr>
            <p:cNvSpPr/>
            <p:nvPr/>
          </p:nvSpPr>
          <p:spPr>
            <a:xfrm>
              <a:off x="653963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9" name="Полилиния 228">
              <a:extLst>
                <a:ext uri="{FF2B5EF4-FFF2-40B4-BE49-F238E27FC236}">
                  <a16:creationId xmlns:a16="http://schemas.microsoft.com/office/drawing/2014/main" id="{B756CF05-39D0-05C8-1D36-101F04C3E666}"/>
                </a:ext>
              </a:extLst>
            </p:cNvPr>
            <p:cNvSpPr/>
            <p:nvPr/>
          </p:nvSpPr>
          <p:spPr>
            <a:xfrm>
              <a:off x="658427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0" name="Полилиния 229">
              <a:extLst>
                <a:ext uri="{FF2B5EF4-FFF2-40B4-BE49-F238E27FC236}">
                  <a16:creationId xmlns:a16="http://schemas.microsoft.com/office/drawing/2014/main" id="{3B1B314B-E48F-6415-8273-E01F1BC4F9E7}"/>
                </a:ext>
              </a:extLst>
            </p:cNvPr>
            <p:cNvSpPr/>
            <p:nvPr/>
          </p:nvSpPr>
          <p:spPr>
            <a:xfrm>
              <a:off x="662891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1" name="Полилиния 230">
              <a:extLst>
                <a:ext uri="{FF2B5EF4-FFF2-40B4-BE49-F238E27FC236}">
                  <a16:creationId xmlns:a16="http://schemas.microsoft.com/office/drawing/2014/main" id="{ADE858D7-AB68-4E47-71A4-6B3EC4A1315F}"/>
                </a:ext>
              </a:extLst>
            </p:cNvPr>
            <p:cNvSpPr/>
            <p:nvPr/>
          </p:nvSpPr>
          <p:spPr>
            <a:xfrm>
              <a:off x="676282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2" name="Полилиния 231">
              <a:extLst>
                <a:ext uri="{FF2B5EF4-FFF2-40B4-BE49-F238E27FC236}">
                  <a16:creationId xmlns:a16="http://schemas.microsoft.com/office/drawing/2014/main" id="{2C6F10E5-6907-D466-6C97-C83C200949B4}"/>
                </a:ext>
              </a:extLst>
            </p:cNvPr>
            <p:cNvSpPr/>
            <p:nvPr/>
          </p:nvSpPr>
          <p:spPr>
            <a:xfrm>
              <a:off x="680746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3" name="Полилиния 232">
              <a:extLst>
                <a:ext uri="{FF2B5EF4-FFF2-40B4-BE49-F238E27FC236}">
                  <a16:creationId xmlns:a16="http://schemas.microsoft.com/office/drawing/2014/main" id="{CC2C53B7-95D4-F851-410E-7F702FBECEAB}"/>
                </a:ext>
              </a:extLst>
            </p:cNvPr>
            <p:cNvSpPr/>
            <p:nvPr/>
          </p:nvSpPr>
          <p:spPr>
            <a:xfrm>
              <a:off x="689684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4" name="Полилиния 233">
              <a:extLst>
                <a:ext uri="{FF2B5EF4-FFF2-40B4-BE49-F238E27FC236}">
                  <a16:creationId xmlns:a16="http://schemas.microsoft.com/office/drawing/2014/main" id="{AABA3CE8-B0A8-7488-2F1F-AF4B66C5DE6B}"/>
                </a:ext>
              </a:extLst>
            </p:cNvPr>
            <p:cNvSpPr/>
            <p:nvPr/>
          </p:nvSpPr>
          <p:spPr>
            <a:xfrm>
              <a:off x="703075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5" name="Полилиния 234">
              <a:extLst>
                <a:ext uri="{FF2B5EF4-FFF2-40B4-BE49-F238E27FC236}">
                  <a16:creationId xmlns:a16="http://schemas.microsoft.com/office/drawing/2014/main" id="{FD46958A-5172-FEAA-1B4D-C2CA64E4F8A2}"/>
                </a:ext>
              </a:extLst>
            </p:cNvPr>
            <p:cNvSpPr/>
            <p:nvPr/>
          </p:nvSpPr>
          <p:spPr>
            <a:xfrm>
              <a:off x="712003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6" name="Полилиния 235">
              <a:extLst>
                <a:ext uri="{FF2B5EF4-FFF2-40B4-BE49-F238E27FC236}">
                  <a16:creationId xmlns:a16="http://schemas.microsoft.com/office/drawing/2014/main" id="{4BBA19C9-F20B-D134-37C4-FCDDFECBD706}"/>
                </a:ext>
              </a:extLst>
            </p:cNvPr>
            <p:cNvSpPr/>
            <p:nvPr/>
          </p:nvSpPr>
          <p:spPr>
            <a:xfrm>
              <a:off x="720931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7" name="Полилиния 236">
              <a:extLst>
                <a:ext uri="{FF2B5EF4-FFF2-40B4-BE49-F238E27FC236}">
                  <a16:creationId xmlns:a16="http://schemas.microsoft.com/office/drawing/2014/main" id="{05B72AC1-8F03-000F-3E5C-8A2E43F73E9E}"/>
                </a:ext>
              </a:extLst>
            </p:cNvPr>
            <p:cNvSpPr/>
            <p:nvPr/>
          </p:nvSpPr>
          <p:spPr>
            <a:xfrm>
              <a:off x="725395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8" name="Полилиния 237">
              <a:extLst>
                <a:ext uri="{FF2B5EF4-FFF2-40B4-BE49-F238E27FC236}">
                  <a16:creationId xmlns:a16="http://schemas.microsoft.com/office/drawing/2014/main" id="{0500F979-8B20-9A42-1BAC-3A754A20A31B}"/>
                </a:ext>
              </a:extLst>
            </p:cNvPr>
            <p:cNvSpPr/>
            <p:nvPr/>
          </p:nvSpPr>
          <p:spPr>
            <a:xfrm>
              <a:off x="729859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9" name="Полилиния 238">
              <a:extLst>
                <a:ext uri="{FF2B5EF4-FFF2-40B4-BE49-F238E27FC236}">
                  <a16:creationId xmlns:a16="http://schemas.microsoft.com/office/drawing/2014/main" id="{B1DAFB58-A51F-DD05-1F51-46600EB34A57}"/>
                </a:ext>
              </a:extLst>
            </p:cNvPr>
            <p:cNvSpPr/>
            <p:nvPr/>
          </p:nvSpPr>
          <p:spPr>
            <a:xfrm>
              <a:off x="7432512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0" name="Полилиния 239">
              <a:extLst>
                <a:ext uri="{FF2B5EF4-FFF2-40B4-BE49-F238E27FC236}">
                  <a16:creationId xmlns:a16="http://schemas.microsoft.com/office/drawing/2014/main" id="{59273736-9760-79BD-11D8-6CBE219829DE}"/>
                </a:ext>
              </a:extLst>
            </p:cNvPr>
            <p:cNvSpPr/>
            <p:nvPr/>
          </p:nvSpPr>
          <p:spPr>
            <a:xfrm>
              <a:off x="747715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1" name="Полилиния 240">
              <a:extLst>
                <a:ext uri="{FF2B5EF4-FFF2-40B4-BE49-F238E27FC236}">
                  <a16:creationId xmlns:a16="http://schemas.microsoft.com/office/drawing/2014/main" id="{9732A1E7-E311-E12A-EB87-4EC3DCF60DC3}"/>
                </a:ext>
              </a:extLst>
            </p:cNvPr>
            <p:cNvSpPr/>
            <p:nvPr/>
          </p:nvSpPr>
          <p:spPr>
            <a:xfrm>
              <a:off x="756652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2" name="Полилиния 241">
              <a:extLst>
                <a:ext uri="{FF2B5EF4-FFF2-40B4-BE49-F238E27FC236}">
                  <a16:creationId xmlns:a16="http://schemas.microsoft.com/office/drawing/2014/main" id="{6B8B44D5-057B-F514-FA63-915572785A7B}"/>
                </a:ext>
              </a:extLst>
            </p:cNvPr>
            <p:cNvSpPr/>
            <p:nvPr/>
          </p:nvSpPr>
          <p:spPr>
            <a:xfrm>
              <a:off x="774508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3" name="Полилиния 242">
              <a:extLst>
                <a:ext uri="{FF2B5EF4-FFF2-40B4-BE49-F238E27FC236}">
                  <a16:creationId xmlns:a16="http://schemas.microsoft.com/office/drawing/2014/main" id="{EF46FAA5-BDFE-9459-C1D9-C43E96BC4C2E}"/>
                </a:ext>
              </a:extLst>
            </p:cNvPr>
            <p:cNvSpPr/>
            <p:nvPr/>
          </p:nvSpPr>
          <p:spPr>
            <a:xfrm>
              <a:off x="783436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4" name="Полилиния 243">
              <a:extLst>
                <a:ext uri="{FF2B5EF4-FFF2-40B4-BE49-F238E27FC236}">
                  <a16:creationId xmlns:a16="http://schemas.microsoft.com/office/drawing/2014/main" id="{7FD4A76F-6B11-91AA-216B-D60C1F084BE4}"/>
                </a:ext>
              </a:extLst>
            </p:cNvPr>
            <p:cNvSpPr/>
            <p:nvPr/>
          </p:nvSpPr>
          <p:spPr>
            <a:xfrm>
              <a:off x="653963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5" name="Полилиния 244">
              <a:extLst>
                <a:ext uri="{FF2B5EF4-FFF2-40B4-BE49-F238E27FC236}">
                  <a16:creationId xmlns:a16="http://schemas.microsoft.com/office/drawing/2014/main" id="{AF50FBF3-F5D6-AEA2-2752-E9E19BF93704}"/>
                </a:ext>
              </a:extLst>
            </p:cNvPr>
            <p:cNvSpPr/>
            <p:nvPr/>
          </p:nvSpPr>
          <p:spPr>
            <a:xfrm>
              <a:off x="6628910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6" name="Полилиния 245">
              <a:extLst>
                <a:ext uri="{FF2B5EF4-FFF2-40B4-BE49-F238E27FC236}">
                  <a16:creationId xmlns:a16="http://schemas.microsoft.com/office/drawing/2014/main" id="{4E7C4459-33DD-D2B3-DA7B-738EEEFA9D3A}"/>
                </a:ext>
              </a:extLst>
            </p:cNvPr>
            <p:cNvSpPr/>
            <p:nvPr/>
          </p:nvSpPr>
          <p:spPr>
            <a:xfrm>
              <a:off x="667354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7" name="Полилиния 246">
              <a:extLst>
                <a:ext uri="{FF2B5EF4-FFF2-40B4-BE49-F238E27FC236}">
                  <a16:creationId xmlns:a16="http://schemas.microsoft.com/office/drawing/2014/main" id="{059FCA12-EDEF-87F3-5BEC-5C22165C5C19}"/>
                </a:ext>
              </a:extLst>
            </p:cNvPr>
            <p:cNvSpPr/>
            <p:nvPr/>
          </p:nvSpPr>
          <p:spPr>
            <a:xfrm>
              <a:off x="671818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8" name="Полилиния 247">
              <a:extLst>
                <a:ext uri="{FF2B5EF4-FFF2-40B4-BE49-F238E27FC236}">
                  <a16:creationId xmlns:a16="http://schemas.microsoft.com/office/drawing/2014/main" id="{183983F3-014D-7AB7-41F7-6D02053AFABD}"/>
                </a:ext>
              </a:extLst>
            </p:cNvPr>
            <p:cNvSpPr/>
            <p:nvPr/>
          </p:nvSpPr>
          <p:spPr>
            <a:xfrm>
              <a:off x="6852106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35FC6A1E-7A44-DBE6-1D09-119454D1689E}"/>
                </a:ext>
              </a:extLst>
            </p:cNvPr>
            <p:cNvSpPr/>
            <p:nvPr/>
          </p:nvSpPr>
          <p:spPr>
            <a:xfrm>
              <a:off x="7253955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0" name="Полилиния 249">
              <a:extLst>
                <a:ext uri="{FF2B5EF4-FFF2-40B4-BE49-F238E27FC236}">
                  <a16:creationId xmlns:a16="http://schemas.microsoft.com/office/drawing/2014/main" id="{524126F1-325C-03D4-C1E7-15E695D3FD50}"/>
                </a:ext>
              </a:extLst>
            </p:cNvPr>
            <p:cNvSpPr/>
            <p:nvPr/>
          </p:nvSpPr>
          <p:spPr>
            <a:xfrm>
              <a:off x="7432512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1" name="Полилиния 250">
              <a:extLst>
                <a:ext uri="{FF2B5EF4-FFF2-40B4-BE49-F238E27FC236}">
                  <a16:creationId xmlns:a16="http://schemas.microsoft.com/office/drawing/2014/main" id="{7F41BAD4-779E-CC6F-1DD1-B5A7D32E03E2}"/>
                </a:ext>
              </a:extLst>
            </p:cNvPr>
            <p:cNvSpPr/>
            <p:nvPr/>
          </p:nvSpPr>
          <p:spPr>
            <a:xfrm>
              <a:off x="747715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2" name="Полилиния 251">
              <a:extLst>
                <a:ext uri="{FF2B5EF4-FFF2-40B4-BE49-F238E27FC236}">
                  <a16:creationId xmlns:a16="http://schemas.microsoft.com/office/drawing/2014/main" id="{60039CEB-D415-48F4-4D07-40617F9E4421}"/>
                </a:ext>
              </a:extLst>
            </p:cNvPr>
            <p:cNvSpPr/>
            <p:nvPr/>
          </p:nvSpPr>
          <p:spPr>
            <a:xfrm>
              <a:off x="7611164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3" name="Полилиния 252">
              <a:extLst>
                <a:ext uri="{FF2B5EF4-FFF2-40B4-BE49-F238E27FC236}">
                  <a16:creationId xmlns:a16="http://schemas.microsoft.com/office/drawing/2014/main" id="{AC065DEE-F192-D388-0A75-C476B546E838}"/>
                </a:ext>
              </a:extLst>
            </p:cNvPr>
            <p:cNvSpPr/>
            <p:nvPr/>
          </p:nvSpPr>
          <p:spPr>
            <a:xfrm>
              <a:off x="649499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90DC3D24-7D2A-8823-5C27-FD29AD5F7CB8}"/>
                </a:ext>
              </a:extLst>
            </p:cNvPr>
            <p:cNvSpPr/>
            <p:nvPr/>
          </p:nvSpPr>
          <p:spPr>
            <a:xfrm>
              <a:off x="6628910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5" name="Полилиния 254">
              <a:extLst>
                <a:ext uri="{FF2B5EF4-FFF2-40B4-BE49-F238E27FC236}">
                  <a16:creationId xmlns:a16="http://schemas.microsoft.com/office/drawing/2014/main" id="{E838DC94-DAB5-5842-0E5B-78E3C2BD8003}"/>
                </a:ext>
              </a:extLst>
            </p:cNvPr>
            <p:cNvSpPr/>
            <p:nvPr/>
          </p:nvSpPr>
          <p:spPr>
            <a:xfrm>
              <a:off x="667354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6" name="Полилиния 255">
              <a:extLst>
                <a:ext uri="{FF2B5EF4-FFF2-40B4-BE49-F238E27FC236}">
                  <a16:creationId xmlns:a16="http://schemas.microsoft.com/office/drawing/2014/main" id="{32E90591-8E35-C875-70BF-2E3F9EF5B07D}"/>
                </a:ext>
              </a:extLst>
            </p:cNvPr>
            <p:cNvSpPr/>
            <p:nvPr/>
          </p:nvSpPr>
          <p:spPr>
            <a:xfrm>
              <a:off x="685210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7" name="Полилиния 256">
              <a:extLst>
                <a:ext uri="{FF2B5EF4-FFF2-40B4-BE49-F238E27FC236}">
                  <a16:creationId xmlns:a16="http://schemas.microsoft.com/office/drawing/2014/main" id="{8DB18D4E-8564-E1C5-DD45-8475306F6598}"/>
                </a:ext>
              </a:extLst>
            </p:cNvPr>
            <p:cNvSpPr/>
            <p:nvPr/>
          </p:nvSpPr>
          <p:spPr>
            <a:xfrm>
              <a:off x="689684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8" name="Полилиния 257">
              <a:extLst>
                <a:ext uri="{FF2B5EF4-FFF2-40B4-BE49-F238E27FC236}">
                  <a16:creationId xmlns:a16="http://schemas.microsoft.com/office/drawing/2014/main" id="{51C197F2-EBE9-F6CB-64F8-9D67A411A151}"/>
                </a:ext>
              </a:extLst>
            </p:cNvPr>
            <p:cNvSpPr/>
            <p:nvPr/>
          </p:nvSpPr>
          <p:spPr>
            <a:xfrm>
              <a:off x="7075398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53458AC1-9D90-E5D2-1793-1367D89FB8E7}"/>
                </a:ext>
              </a:extLst>
            </p:cNvPr>
            <p:cNvSpPr/>
            <p:nvPr/>
          </p:nvSpPr>
          <p:spPr>
            <a:xfrm>
              <a:off x="716467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0" name="Полилиния 259">
              <a:extLst>
                <a:ext uri="{FF2B5EF4-FFF2-40B4-BE49-F238E27FC236}">
                  <a16:creationId xmlns:a16="http://schemas.microsoft.com/office/drawing/2014/main" id="{5A361043-605C-B74D-C8AE-FB873770DE41}"/>
                </a:ext>
              </a:extLst>
            </p:cNvPr>
            <p:cNvSpPr/>
            <p:nvPr/>
          </p:nvSpPr>
          <p:spPr>
            <a:xfrm>
              <a:off x="7209315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" name="Полилиния 260">
              <a:extLst>
                <a:ext uri="{FF2B5EF4-FFF2-40B4-BE49-F238E27FC236}">
                  <a16:creationId xmlns:a16="http://schemas.microsoft.com/office/drawing/2014/main" id="{7EECA926-E9C3-672F-D4F0-CB459F154CC0}"/>
                </a:ext>
              </a:extLst>
            </p:cNvPr>
            <p:cNvSpPr/>
            <p:nvPr/>
          </p:nvSpPr>
          <p:spPr>
            <a:xfrm>
              <a:off x="734323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" name="Полилиния 261">
              <a:extLst>
                <a:ext uri="{FF2B5EF4-FFF2-40B4-BE49-F238E27FC236}">
                  <a16:creationId xmlns:a16="http://schemas.microsoft.com/office/drawing/2014/main" id="{49E80F46-D50B-C3FF-EEDE-8B75CC37DE0E}"/>
                </a:ext>
              </a:extLst>
            </p:cNvPr>
            <p:cNvSpPr/>
            <p:nvPr/>
          </p:nvSpPr>
          <p:spPr>
            <a:xfrm>
              <a:off x="747715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" name="Полилиния 262">
              <a:extLst>
                <a:ext uri="{FF2B5EF4-FFF2-40B4-BE49-F238E27FC236}">
                  <a16:creationId xmlns:a16="http://schemas.microsoft.com/office/drawing/2014/main" id="{AE115DB8-056E-2D5C-76CE-5B3501CBB7A4}"/>
                </a:ext>
              </a:extLst>
            </p:cNvPr>
            <p:cNvSpPr/>
            <p:nvPr/>
          </p:nvSpPr>
          <p:spPr>
            <a:xfrm>
              <a:off x="7566524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" name="Полилиния 263">
              <a:extLst>
                <a:ext uri="{FF2B5EF4-FFF2-40B4-BE49-F238E27FC236}">
                  <a16:creationId xmlns:a16="http://schemas.microsoft.com/office/drawing/2014/main" id="{79E1BD6B-3691-990A-D8E4-43DF7B27ADB4}"/>
                </a:ext>
              </a:extLst>
            </p:cNvPr>
            <p:cNvSpPr/>
            <p:nvPr/>
          </p:nvSpPr>
          <p:spPr>
            <a:xfrm>
              <a:off x="765580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" name="Полилиния 264">
              <a:extLst>
                <a:ext uri="{FF2B5EF4-FFF2-40B4-BE49-F238E27FC236}">
                  <a16:creationId xmlns:a16="http://schemas.microsoft.com/office/drawing/2014/main" id="{85135A52-11C1-9032-AB41-49F1EFAD6FBE}"/>
                </a:ext>
              </a:extLst>
            </p:cNvPr>
            <p:cNvSpPr/>
            <p:nvPr/>
          </p:nvSpPr>
          <p:spPr>
            <a:xfrm>
              <a:off x="778972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" name="Полилиния 265">
              <a:extLst>
                <a:ext uri="{FF2B5EF4-FFF2-40B4-BE49-F238E27FC236}">
                  <a16:creationId xmlns:a16="http://schemas.microsoft.com/office/drawing/2014/main" id="{73BB7657-5F35-E3CC-3F90-1A53544B2211}"/>
                </a:ext>
              </a:extLst>
            </p:cNvPr>
            <p:cNvSpPr/>
            <p:nvPr/>
          </p:nvSpPr>
          <p:spPr>
            <a:xfrm>
              <a:off x="787899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" name="Полилиния 266">
              <a:extLst>
                <a:ext uri="{FF2B5EF4-FFF2-40B4-BE49-F238E27FC236}">
                  <a16:creationId xmlns:a16="http://schemas.microsoft.com/office/drawing/2014/main" id="{81C60136-6303-2E3B-1957-411F250B6BCB}"/>
                </a:ext>
              </a:extLst>
            </p:cNvPr>
            <p:cNvSpPr/>
            <p:nvPr/>
          </p:nvSpPr>
          <p:spPr>
            <a:xfrm>
              <a:off x="645035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" name="Полилиния 268">
              <a:extLst>
                <a:ext uri="{FF2B5EF4-FFF2-40B4-BE49-F238E27FC236}">
                  <a16:creationId xmlns:a16="http://schemas.microsoft.com/office/drawing/2014/main" id="{6E40ECCF-545A-6F8C-B6EE-5B16F682C98A}"/>
                </a:ext>
              </a:extLst>
            </p:cNvPr>
            <p:cNvSpPr/>
            <p:nvPr/>
          </p:nvSpPr>
          <p:spPr>
            <a:xfrm>
              <a:off x="653963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" name="Полилиния 269">
              <a:extLst>
                <a:ext uri="{FF2B5EF4-FFF2-40B4-BE49-F238E27FC236}">
                  <a16:creationId xmlns:a16="http://schemas.microsoft.com/office/drawing/2014/main" id="{2FE0B9DA-B7E1-B6D8-BA81-89420AC64F41}"/>
                </a:ext>
              </a:extLst>
            </p:cNvPr>
            <p:cNvSpPr/>
            <p:nvPr/>
          </p:nvSpPr>
          <p:spPr>
            <a:xfrm>
              <a:off x="658427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" name="Полилиния 270">
              <a:extLst>
                <a:ext uri="{FF2B5EF4-FFF2-40B4-BE49-F238E27FC236}">
                  <a16:creationId xmlns:a16="http://schemas.microsoft.com/office/drawing/2014/main" id="{5EAAFC26-E1C9-A55E-800A-69E941B5DD17}"/>
                </a:ext>
              </a:extLst>
            </p:cNvPr>
            <p:cNvSpPr/>
            <p:nvPr/>
          </p:nvSpPr>
          <p:spPr>
            <a:xfrm>
              <a:off x="662891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" name="Полилиния 271">
              <a:extLst>
                <a:ext uri="{FF2B5EF4-FFF2-40B4-BE49-F238E27FC236}">
                  <a16:creationId xmlns:a16="http://schemas.microsoft.com/office/drawing/2014/main" id="{E6FBDAD6-F532-A406-D2D4-370D1EEEA63C}"/>
                </a:ext>
              </a:extLst>
            </p:cNvPr>
            <p:cNvSpPr/>
            <p:nvPr/>
          </p:nvSpPr>
          <p:spPr>
            <a:xfrm>
              <a:off x="667354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3" name="Полилиния 272">
              <a:extLst>
                <a:ext uri="{FF2B5EF4-FFF2-40B4-BE49-F238E27FC236}">
                  <a16:creationId xmlns:a16="http://schemas.microsoft.com/office/drawing/2014/main" id="{C0A5DBDB-8510-4AC1-B8FB-D18EF5BDFCE3}"/>
                </a:ext>
              </a:extLst>
            </p:cNvPr>
            <p:cNvSpPr/>
            <p:nvPr/>
          </p:nvSpPr>
          <p:spPr>
            <a:xfrm>
              <a:off x="671818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" name="Полилиния 273">
              <a:extLst>
                <a:ext uri="{FF2B5EF4-FFF2-40B4-BE49-F238E27FC236}">
                  <a16:creationId xmlns:a16="http://schemas.microsoft.com/office/drawing/2014/main" id="{84D4ECA7-2A6F-4754-FC8C-6A19F5DA7D8A}"/>
                </a:ext>
              </a:extLst>
            </p:cNvPr>
            <p:cNvSpPr/>
            <p:nvPr/>
          </p:nvSpPr>
          <p:spPr>
            <a:xfrm>
              <a:off x="6762828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" name="Полилиния 274">
              <a:extLst>
                <a:ext uri="{FF2B5EF4-FFF2-40B4-BE49-F238E27FC236}">
                  <a16:creationId xmlns:a16="http://schemas.microsoft.com/office/drawing/2014/main" id="{45B9FFBA-5F8A-9238-D438-3608178154DC}"/>
                </a:ext>
              </a:extLst>
            </p:cNvPr>
            <p:cNvSpPr/>
            <p:nvPr/>
          </p:nvSpPr>
          <p:spPr>
            <a:xfrm>
              <a:off x="680746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" name="Полилиния 275">
              <a:extLst>
                <a:ext uri="{FF2B5EF4-FFF2-40B4-BE49-F238E27FC236}">
                  <a16:creationId xmlns:a16="http://schemas.microsoft.com/office/drawing/2014/main" id="{5F35FE0A-6CCD-BD53-F291-6D75D3534A95}"/>
                </a:ext>
              </a:extLst>
            </p:cNvPr>
            <p:cNvSpPr/>
            <p:nvPr/>
          </p:nvSpPr>
          <p:spPr>
            <a:xfrm>
              <a:off x="6852106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7" name="Полилиния 276">
              <a:extLst>
                <a:ext uri="{FF2B5EF4-FFF2-40B4-BE49-F238E27FC236}">
                  <a16:creationId xmlns:a16="http://schemas.microsoft.com/office/drawing/2014/main" id="{A388393E-E985-1853-0D1D-6CE8481CCFDE}"/>
                </a:ext>
              </a:extLst>
            </p:cNvPr>
            <p:cNvSpPr/>
            <p:nvPr/>
          </p:nvSpPr>
          <p:spPr>
            <a:xfrm>
              <a:off x="689684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8" name="Полилиния 277">
              <a:extLst>
                <a:ext uri="{FF2B5EF4-FFF2-40B4-BE49-F238E27FC236}">
                  <a16:creationId xmlns:a16="http://schemas.microsoft.com/office/drawing/2014/main" id="{CFD71F9A-1995-86A0-54E8-1BDA41362F4C}"/>
                </a:ext>
              </a:extLst>
            </p:cNvPr>
            <p:cNvSpPr/>
            <p:nvPr/>
          </p:nvSpPr>
          <p:spPr>
            <a:xfrm>
              <a:off x="694148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" name="Полилиния 278">
              <a:extLst>
                <a:ext uri="{FF2B5EF4-FFF2-40B4-BE49-F238E27FC236}">
                  <a16:creationId xmlns:a16="http://schemas.microsoft.com/office/drawing/2014/main" id="{E7D393AF-B993-F1AB-33AD-FA256DE5936B}"/>
                </a:ext>
              </a:extLst>
            </p:cNvPr>
            <p:cNvSpPr/>
            <p:nvPr/>
          </p:nvSpPr>
          <p:spPr>
            <a:xfrm>
              <a:off x="712003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" name="Полилиния 279">
              <a:extLst>
                <a:ext uri="{FF2B5EF4-FFF2-40B4-BE49-F238E27FC236}">
                  <a16:creationId xmlns:a16="http://schemas.microsoft.com/office/drawing/2014/main" id="{69D7C069-4768-D88B-C1E5-C5F5C70B141A}"/>
                </a:ext>
              </a:extLst>
            </p:cNvPr>
            <p:cNvSpPr/>
            <p:nvPr/>
          </p:nvSpPr>
          <p:spPr>
            <a:xfrm>
              <a:off x="734323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" name="Полилиния 280">
              <a:extLst>
                <a:ext uri="{FF2B5EF4-FFF2-40B4-BE49-F238E27FC236}">
                  <a16:creationId xmlns:a16="http://schemas.microsoft.com/office/drawing/2014/main" id="{3EC1055A-22D1-AB4D-5396-725649AC965A}"/>
                </a:ext>
              </a:extLst>
            </p:cNvPr>
            <p:cNvSpPr/>
            <p:nvPr/>
          </p:nvSpPr>
          <p:spPr>
            <a:xfrm>
              <a:off x="7432512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2" name="Полилиния 281">
              <a:extLst>
                <a:ext uri="{FF2B5EF4-FFF2-40B4-BE49-F238E27FC236}">
                  <a16:creationId xmlns:a16="http://schemas.microsoft.com/office/drawing/2014/main" id="{2E6BE152-02DF-4543-A164-E65F8BD5D4BE}"/>
                </a:ext>
              </a:extLst>
            </p:cNvPr>
            <p:cNvSpPr/>
            <p:nvPr/>
          </p:nvSpPr>
          <p:spPr>
            <a:xfrm>
              <a:off x="747715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3" name="Полилиния 282">
              <a:extLst>
                <a:ext uri="{FF2B5EF4-FFF2-40B4-BE49-F238E27FC236}">
                  <a16:creationId xmlns:a16="http://schemas.microsoft.com/office/drawing/2014/main" id="{0163304B-D849-C2C3-85F4-D89F649F75D5}"/>
                </a:ext>
              </a:extLst>
            </p:cNvPr>
            <p:cNvSpPr/>
            <p:nvPr/>
          </p:nvSpPr>
          <p:spPr>
            <a:xfrm>
              <a:off x="774508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" name="Полилиния 283">
              <a:extLst>
                <a:ext uri="{FF2B5EF4-FFF2-40B4-BE49-F238E27FC236}">
                  <a16:creationId xmlns:a16="http://schemas.microsoft.com/office/drawing/2014/main" id="{152DFD4B-A198-29DD-9B00-DBA612EC2F1A}"/>
                </a:ext>
              </a:extLst>
            </p:cNvPr>
            <p:cNvSpPr/>
            <p:nvPr/>
          </p:nvSpPr>
          <p:spPr>
            <a:xfrm>
              <a:off x="778972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" name="Полилиния 284">
              <a:extLst>
                <a:ext uri="{FF2B5EF4-FFF2-40B4-BE49-F238E27FC236}">
                  <a16:creationId xmlns:a16="http://schemas.microsoft.com/office/drawing/2014/main" id="{AD5697D2-95DD-12EF-160F-F6E1F3D5406E}"/>
                </a:ext>
              </a:extLst>
            </p:cNvPr>
            <p:cNvSpPr/>
            <p:nvPr/>
          </p:nvSpPr>
          <p:spPr>
            <a:xfrm>
              <a:off x="787899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" name="Полилиния 285">
              <a:extLst>
                <a:ext uri="{FF2B5EF4-FFF2-40B4-BE49-F238E27FC236}">
                  <a16:creationId xmlns:a16="http://schemas.microsoft.com/office/drawing/2014/main" id="{60C2B5A1-B702-61AE-2354-902612AB9B49}"/>
                </a:ext>
              </a:extLst>
            </p:cNvPr>
            <p:cNvSpPr/>
            <p:nvPr/>
          </p:nvSpPr>
          <p:spPr>
            <a:xfrm>
              <a:off x="649499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7" name="Полилиния 286">
              <a:extLst>
                <a:ext uri="{FF2B5EF4-FFF2-40B4-BE49-F238E27FC236}">
                  <a16:creationId xmlns:a16="http://schemas.microsoft.com/office/drawing/2014/main" id="{21C29BC4-81C2-0679-8AB6-087DCADE4BEB}"/>
                </a:ext>
              </a:extLst>
            </p:cNvPr>
            <p:cNvSpPr/>
            <p:nvPr/>
          </p:nvSpPr>
          <p:spPr>
            <a:xfrm>
              <a:off x="653963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8" name="Полилиния 287">
              <a:extLst>
                <a:ext uri="{FF2B5EF4-FFF2-40B4-BE49-F238E27FC236}">
                  <a16:creationId xmlns:a16="http://schemas.microsoft.com/office/drawing/2014/main" id="{22991EDE-592B-892D-80DB-16694D1FB74F}"/>
                </a:ext>
              </a:extLst>
            </p:cNvPr>
            <p:cNvSpPr/>
            <p:nvPr/>
          </p:nvSpPr>
          <p:spPr>
            <a:xfrm>
              <a:off x="667354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" name="Полилиния 288">
              <a:extLst>
                <a:ext uri="{FF2B5EF4-FFF2-40B4-BE49-F238E27FC236}">
                  <a16:creationId xmlns:a16="http://schemas.microsoft.com/office/drawing/2014/main" id="{17CA6753-ECF2-1545-31E6-75112DC5F3F3}"/>
                </a:ext>
              </a:extLst>
            </p:cNvPr>
            <p:cNvSpPr/>
            <p:nvPr/>
          </p:nvSpPr>
          <p:spPr>
            <a:xfrm>
              <a:off x="676282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" name="Полилиния 289">
              <a:extLst>
                <a:ext uri="{FF2B5EF4-FFF2-40B4-BE49-F238E27FC236}">
                  <a16:creationId xmlns:a16="http://schemas.microsoft.com/office/drawing/2014/main" id="{99CC0304-2A93-3D8A-46FE-6268A5929EE7}"/>
                </a:ext>
              </a:extLst>
            </p:cNvPr>
            <p:cNvSpPr/>
            <p:nvPr/>
          </p:nvSpPr>
          <p:spPr>
            <a:xfrm>
              <a:off x="689684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" name="Полилиния 290">
              <a:extLst>
                <a:ext uri="{FF2B5EF4-FFF2-40B4-BE49-F238E27FC236}">
                  <a16:creationId xmlns:a16="http://schemas.microsoft.com/office/drawing/2014/main" id="{C9B55BE2-33A5-8ACB-3A42-F4EAA316A4FC}"/>
                </a:ext>
              </a:extLst>
            </p:cNvPr>
            <p:cNvSpPr/>
            <p:nvPr/>
          </p:nvSpPr>
          <p:spPr>
            <a:xfrm>
              <a:off x="6941480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" name="Полилиния 291">
              <a:extLst>
                <a:ext uri="{FF2B5EF4-FFF2-40B4-BE49-F238E27FC236}">
                  <a16:creationId xmlns:a16="http://schemas.microsoft.com/office/drawing/2014/main" id="{2A7DBB42-4D3E-C3C5-C873-0750BE5CDF79}"/>
                </a:ext>
              </a:extLst>
            </p:cNvPr>
            <p:cNvSpPr/>
            <p:nvPr/>
          </p:nvSpPr>
          <p:spPr>
            <a:xfrm>
              <a:off x="707539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3" name="Полилиния 292">
              <a:extLst>
                <a:ext uri="{FF2B5EF4-FFF2-40B4-BE49-F238E27FC236}">
                  <a16:creationId xmlns:a16="http://schemas.microsoft.com/office/drawing/2014/main" id="{F976CED7-F5CF-5B71-6025-B17B79B7436C}"/>
                </a:ext>
              </a:extLst>
            </p:cNvPr>
            <p:cNvSpPr/>
            <p:nvPr/>
          </p:nvSpPr>
          <p:spPr>
            <a:xfrm>
              <a:off x="7120037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" name="Полилиния 293">
              <a:extLst>
                <a:ext uri="{FF2B5EF4-FFF2-40B4-BE49-F238E27FC236}">
                  <a16:creationId xmlns:a16="http://schemas.microsoft.com/office/drawing/2014/main" id="{13D6E029-BB33-3B26-3112-AC1F1DD8233E}"/>
                </a:ext>
              </a:extLst>
            </p:cNvPr>
            <p:cNvSpPr/>
            <p:nvPr/>
          </p:nvSpPr>
          <p:spPr>
            <a:xfrm>
              <a:off x="7209315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" name="Полилиния 294">
              <a:extLst>
                <a:ext uri="{FF2B5EF4-FFF2-40B4-BE49-F238E27FC236}">
                  <a16:creationId xmlns:a16="http://schemas.microsoft.com/office/drawing/2014/main" id="{FCFA5420-DF70-1189-D06A-D5451C4257E7}"/>
                </a:ext>
              </a:extLst>
            </p:cNvPr>
            <p:cNvSpPr/>
            <p:nvPr/>
          </p:nvSpPr>
          <p:spPr>
            <a:xfrm>
              <a:off x="734323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" name="Полилиния 295">
              <a:extLst>
                <a:ext uri="{FF2B5EF4-FFF2-40B4-BE49-F238E27FC236}">
                  <a16:creationId xmlns:a16="http://schemas.microsoft.com/office/drawing/2014/main" id="{047DF1E4-2A83-4CFB-8CEB-555EBA002D87}"/>
                </a:ext>
              </a:extLst>
            </p:cNvPr>
            <p:cNvSpPr/>
            <p:nvPr/>
          </p:nvSpPr>
          <p:spPr>
            <a:xfrm>
              <a:off x="747715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" name="Полилиния 296">
              <a:extLst>
                <a:ext uri="{FF2B5EF4-FFF2-40B4-BE49-F238E27FC236}">
                  <a16:creationId xmlns:a16="http://schemas.microsoft.com/office/drawing/2014/main" id="{531174F2-7A12-E986-CD67-5F59506F95B3}"/>
                </a:ext>
              </a:extLst>
            </p:cNvPr>
            <p:cNvSpPr/>
            <p:nvPr/>
          </p:nvSpPr>
          <p:spPr>
            <a:xfrm>
              <a:off x="7611164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" name="Полилиния 297">
              <a:extLst>
                <a:ext uri="{FF2B5EF4-FFF2-40B4-BE49-F238E27FC236}">
                  <a16:creationId xmlns:a16="http://schemas.microsoft.com/office/drawing/2014/main" id="{A95E30B6-7B6A-87D0-74BA-46C02616F307}"/>
                </a:ext>
              </a:extLst>
            </p:cNvPr>
            <p:cNvSpPr/>
            <p:nvPr/>
          </p:nvSpPr>
          <p:spPr>
            <a:xfrm>
              <a:off x="765580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" name="Полилиния 298">
              <a:extLst>
                <a:ext uri="{FF2B5EF4-FFF2-40B4-BE49-F238E27FC236}">
                  <a16:creationId xmlns:a16="http://schemas.microsoft.com/office/drawing/2014/main" id="{CD107D46-05A2-B366-3B34-921C34720A90}"/>
                </a:ext>
              </a:extLst>
            </p:cNvPr>
            <p:cNvSpPr/>
            <p:nvPr/>
          </p:nvSpPr>
          <p:spPr>
            <a:xfrm>
              <a:off x="774508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" name="Полилиния 299">
              <a:extLst>
                <a:ext uri="{FF2B5EF4-FFF2-40B4-BE49-F238E27FC236}">
                  <a16:creationId xmlns:a16="http://schemas.microsoft.com/office/drawing/2014/main" id="{6D8193DE-DE73-DAF5-01C2-73B9CEC34E06}"/>
                </a:ext>
              </a:extLst>
            </p:cNvPr>
            <p:cNvSpPr/>
            <p:nvPr/>
          </p:nvSpPr>
          <p:spPr>
            <a:xfrm>
              <a:off x="787899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" name="Полилиния 300">
              <a:extLst>
                <a:ext uri="{FF2B5EF4-FFF2-40B4-BE49-F238E27FC236}">
                  <a16:creationId xmlns:a16="http://schemas.microsoft.com/office/drawing/2014/main" id="{B9FB7AD4-D396-9277-9413-36336499C727}"/>
                </a:ext>
              </a:extLst>
            </p:cNvPr>
            <p:cNvSpPr/>
            <p:nvPr/>
          </p:nvSpPr>
          <p:spPr>
            <a:xfrm>
              <a:off x="645035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" name="Полилиния 301">
              <a:extLst>
                <a:ext uri="{FF2B5EF4-FFF2-40B4-BE49-F238E27FC236}">
                  <a16:creationId xmlns:a16="http://schemas.microsoft.com/office/drawing/2014/main" id="{CBCA8733-5354-C4DB-F412-7479A7E83432}"/>
                </a:ext>
              </a:extLst>
            </p:cNvPr>
            <p:cNvSpPr/>
            <p:nvPr/>
          </p:nvSpPr>
          <p:spPr>
            <a:xfrm>
              <a:off x="649499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" name="Полилиния 302">
              <a:extLst>
                <a:ext uri="{FF2B5EF4-FFF2-40B4-BE49-F238E27FC236}">
                  <a16:creationId xmlns:a16="http://schemas.microsoft.com/office/drawing/2014/main" id="{F67D543E-51F2-1FEC-5EB1-C97E43B2B74A}"/>
                </a:ext>
              </a:extLst>
            </p:cNvPr>
            <p:cNvSpPr/>
            <p:nvPr/>
          </p:nvSpPr>
          <p:spPr>
            <a:xfrm>
              <a:off x="658427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" name="Полилиния 303">
              <a:extLst>
                <a:ext uri="{FF2B5EF4-FFF2-40B4-BE49-F238E27FC236}">
                  <a16:creationId xmlns:a16="http://schemas.microsoft.com/office/drawing/2014/main" id="{98D01845-0925-1657-D5B6-F2EEC3DB2E75}"/>
                </a:ext>
              </a:extLst>
            </p:cNvPr>
            <p:cNvSpPr/>
            <p:nvPr/>
          </p:nvSpPr>
          <p:spPr>
            <a:xfrm>
              <a:off x="662891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" name="Полилиния 304">
              <a:extLst>
                <a:ext uri="{FF2B5EF4-FFF2-40B4-BE49-F238E27FC236}">
                  <a16:creationId xmlns:a16="http://schemas.microsoft.com/office/drawing/2014/main" id="{DF832845-A475-B3B0-21C4-745C1BF5E251}"/>
                </a:ext>
              </a:extLst>
            </p:cNvPr>
            <p:cNvSpPr/>
            <p:nvPr/>
          </p:nvSpPr>
          <p:spPr>
            <a:xfrm>
              <a:off x="667354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" name="Полилиния 305">
              <a:extLst>
                <a:ext uri="{FF2B5EF4-FFF2-40B4-BE49-F238E27FC236}">
                  <a16:creationId xmlns:a16="http://schemas.microsoft.com/office/drawing/2014/main" id="{5D492ADB-14B4-E2FF-9586-84B64F665DAF}"/>
                </a:ext>
              </a:extLst>
            </p:cNvPr>
            <p:cNvSpPr/>
            <p:nvPr/>
          </p:nvSpPr>
          <p:spPr>
            <a:xfrm>
              <a:off x="671818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" name="Полилиния 306">
              <a:extLst>
                <a:ext uri="{FF2B5EF4-FFF2-40B4-BE49-F238E27FC236}">
                  <a16:creationId xmlns:a16="http://schemas.microsoft.com/office/drawing/2014/main" id="{807693DE-4EED-1619-7112-78C59E94B6F3}"/>
                </a:ext>
              </a:extLst>
            </p:cNvPr>
            <p:cNvSpPr/>
            <p:nvPr/>
          </p:nvSpPr>
          <p:spPr>
            <a:xfrm>
              <a:off x="680746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" name="Полилиния 307">
              <a:extLst>
                <a:ext uri="{FF2B5EF4-FFF2-40B4-BE49-F238E27FC236}">
                  <a16:creationId xmlns:a16="http://schemas.microsoft.com/office/drawing/2014/main" id="{3034FD9F-2167-6065-A890-F63DFC2495C2}"/>
                </a:ext>
              </a:extLst>
            </p:cNvPr>
            <p:cNvSpPr/>
            <p:nvPr/>
          </p:nvSpPr>
          <p:spPr>
            <a:xfrm>
              <a:off x="689684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" name="Полилиния 308">
              <a:extLst>
                <a:ext uri="{FF2B5EF4-FFF2-40B4-BE49-F238E27FC236}">
                  <a16:creationId xmlns:a16="http://schemas.microsoft.com/office/drawing/2014/main" id="{B1A238E2-ACA8-0CF6-0508-BA65A8AF1DD8}"/>
                </a:ext>
              </a:extLst>
            </p:cNvPr>
            <p:cNvSpPr/>
            <p:nvPr/>
          </p:nvSpPr>
          <p:spPr>
            <a:xfrm>
              <a:off x="694148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" name="Полилиния 309">
              <a:extLst>
                <a:ext uri="{FF2B5EF4-FFF2-40B4-BE49-F238E27FC236}">
                  <a16:creationId xmlns:a16="http://schemas.microsoft.com/office/drawing/2014/main" id="{73384646-97A8-21BB-09D4-06E15B19C016}"/>
                </a:ext>
              </a:extLst>
            </p:cNvPr>
            <p:cNvSpPr/>
            <p:nvPr/>
          </p:nvSpPr>
          <p:spPr>
            <a:xfrm>
              <a:off x="7030758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" name="Полилиния 310">
              <a:extLst>
                <a:ext uri="{FF2B5EF4-FFF2-40B4-BE49-F238E27FC236}">
                  <a16:creationId xmlns:a16="http://schemas.microsoft.com/office/drawing/2014/main" id="{443670A1-57DD-30EE-51D2-8C324608873D}"/>
                </a:ext>
              </a:extLst>
            </p:cNvPr>
            <p:cNvSpPr/>
            <p:nvPr/>
          </p:nvSpPr>
          <p:spPr>
            <a:xfrm>
              <a:off x="712003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" name="Полилиния 311">
              <a:extLst>
                <a:ext uri="{FF2B5EF4-FFF2-40B4-BE49-F238E27FC236}">
                  <a16:creationId xmlns:a16="http://schemas.microsoft.com/office/drawing/2014/main" id="{BF05D027-10B4-A9DD-F31C-7BD77BAFA800}"/>
                </a:ext>
              </a:extLst>
            </p:cNvPr>
            <p:cNvSpPr/>
            <p:nvPr/>
          </p:nvSpPr>
          <p:spPr>
            <a:xfrm>
              <a:off x="7253955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" name="Полилиния 312">
              <a:extLst>
                <a:ext uri="{FF2B5EF4-FFF2-40B4-BE49-F238E27FC236}">
                  <a16:creationId xmlns:a16="http://schemas.microsoft.com/office/drawing/2014/main" id="{681F96B3-EC74-1A50-6FD5-95558101E376}"/>
                </a:ext>
              </a:extLst>
            </p:cNvPr>
            <p:cNvSpPr/>
            <p:nvPr/>
          </p:nvSpPr>
          <p:spPr>
            <a:xfrm>
              <a:off x="7298594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" name="Полилиния 313">
              <a:extLst>
                <a:ext uri="{FF2B5EF4-FFF2-40B4-BE49-F238E27FC236}">
                  <a16:creationId xmlns:a16="http://schemas.microsoft.com/office/drawing/2014/main" id="{4E324197-4564-6C30-B4D4-78560504C6C4}"/>
                </a:ext>
              </a:extLst>
            </p:cNvPr>
            <p:cNvSpPr/>
            <p:nvPr/>
          </p:nvSpPr>
          <p:spPr>
            <a:xfrm>
              <a:off x="734323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" name="Полилиния 314">
              <a:extLst>
                <a:ext uri="{FF2B5EF4-FFF2-40B4-BE49-F238E27FC236}">
                  <a16:creationId xmlns:a16="http://schemas.microsoft.com/office/drawing/2014/main" id="{F90F2086-7FB1-BF37-FC25-ED1F64ACE0EB}"/>
                </a:ext>
              </a:extLst>
            </p:cNvPr>
            <p:cNvSpPr/>
            <p:nvPr/>
          </p:nvSpPr>
          <p:spPr>
            <a:xfrm>
              <a:off x="747715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" name="Полилиния 315">
              <a:extLst>
                <a:ext uri="{FF2B5EF4-FFF2-40B4-BE49-F238E27FC236}">
                  <a16:creationId xmlns:a16="http://schemas.microsoft.com/office/drawing/2014/main" id="{A902C540-54A0-D19D-CE99-7DF900B61BDE}"/>
                </a:ext>
              </a:extLst>
            </p:cNvPr>
            <p:cNvSpPr/>
            <p:nvPr/>
          </p:nvSpPr>
          <p:spPr>
            <a:xfrm>
              <a:off x="765580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" name="Полилиния 316">
              <a:extLst>
                <a:ext uri="{FF2B5EF4-FFF2-40B4-BE49-F238E27FC236}">
                  <a16:creationId xmlns:a16="http://schemas.microsoft.com/office/drawing/2014/main" id="{394D5420-A563-14FA-63A6-639F7B8ED4AC}"/>
                </a:ext>
              </a:extLst>
            </p:cNvPr>
            <p:cNvSpPr/>
            <p:nvPr/>
          </p:nvSpPr>
          <p:spPr>
            <a:xfrm>
              <a:off x="649499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" name="Полилиния 317">
              <a:extLst>
                <a:ext uri="{FF2B5EF4-FFF2-40B4-BE49-F238E27FC236}">
                  <a16:creationId xmlns:a16="http://schemas.microsoft.com/office/drawing/2014/main" id="{EF7C7AEE-66AD-62AD-A4EA-91DC6B8F2154}"/>
                </a:ext>
              </a:extLst>
            </p:cNvPr>
            <p:cNvSpPr/>
            <p:nvPr/>
          </p:nvSpPr>
          <p:spPr>
            <a:xfrm>
              <a:off x="653963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" name="Полилиния 318">
              <a:extLst>
                <a:ext uri="{FF2B5EF4-FFF2-40B4-BE49-F238E27FC236}">
                  <a16:creationId xmlns:a16="http://schemas.microsoft.com/office/drawing/2014/main" id="{4E9897C5-5E83-C727-732E-A4BAC99C2449}"/>
                </a:ext>
              </a:extLst>
            </p:cNvPr>
            <p:cNvSpPr/>
            <p:nvPr/>
          </p:nvSpPr>
          <p:spPr>
            <a:xfrm>
              <a:off x="658427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" name="Полилиния 319">
              <a:extLst>
                <a:ext uri="{FF2B5EF4-FFF2-40B4-BE49-F238E27FC236}">
                  <a16:creationId xmlns:a16="http://schemas.microsoft.com/office/drawing/2014/main" id="{6587FBF1-6216-F1C9-90AD-566807CD375B}"/>
                </a:ext>
              </a:extLst>
            </p:cNvPr>
            <p:cNvSpPr/>
            <p:nvPr/>
          </p:nvSpPr>
          <p:spPr>
            <a:xfrm>
              <a:off x="667354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" name="Полилиния 320">
              <a:extLst>
                <a:ext uri="{FF2B5EF4-FFF2-40B4-BE49-F238E27FC236}">
                  <a16:creationId xmlns:a16="http://schemas.microsoft.com/office/drawing/2014/main" id="{02660714-21A6-A613-910A-57FA15EBF3A9}"/>
                </a:ext>
              </a:extLst>
            </p:cNvPr>
            <p:cNvSpPr/>
            <p:nvPr/>
          </p:nvSpPr>
          <p:spPr>
            <a:xfrm>
              <a:off x="676282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" name="Полилиния 321">
              <a:extLst>
                <a:ext uri="{FF2B5EF4-FFF2-40B4-BE49-F238E27FC236}">
                  <a16:creationId xmlns:a16="http://schemas.microsoft.com/office/drawing/2014/main" id="{2ECA0B2F-3FFB-2E56-A719-9AEF8D09C369}"/>
                </a:ext>
              </a:extLst>
            </p:cNvPr>
            <p:cNvSpPr/>
            <p:nvPr/>
          </p:nvSpPr>
          <p:spPr>
            <a:xfrm>
              <a:off x="6807467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" name="Полилиния 322">
              <a:extLst>
                <a:ext uri="{FF2B5EF4-FFF2-40B4-BE49-F238E27FC236}">
                  <a16:creationId xmlns:a16="http://schemas.microsoft.com/office/drawing/2014/main" id="{3E8FD7AE-BEBF-2CD9-7B1E-9E3E8A4D5DA3}"/>
                </a:ext>
              </a:extLst>
            </p:cNvPr>
            <p:cNvSpPr/>
            <p:nvPr/>
          </p:nvSpPr>
          <p:spPr>
            <a:xfrm>
              <a:off x="685210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" name="Полилиния 323">
              <a:extLst>
                <a:ext uri="{FF2B5EF4-FFF2-40B4-BE49-F238E27FC236}">
                  <a16:creationId xmlns:a16="http://schemas.microsoft.com/office/drawing/2014/main" id="{218E5B38-AE6D-1BB5-6C38-000EFA7535EA}"/>
                </a:ext>
              </a:extLst>
            </p:cNvPr>
            <p:cNvSpPr/>
            <p:nvPr/>
          </p:nvSpPr>
          <p:spPr>
            <a:xfrm>
              <a:off x="703075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" name="Полилиния 324">
              <a:extLst>
                <a:ext uri="{FF2B5EF4-FFF2-40B4-BE49-F238E27FC236}">
                  <a16:creationId xmlns:a16="http://schemas.microsoft.com/office/drawing/2014/main" id="{A0C4D864-0421-1C1E-577A-A08FBBF8D108}"/>
                </a:ext>
              </a:extLst>
            </p:cNvPr>
            <p:cNvSpPr/>
            <p:nvPr/>
          </p:nvSpPr>
          <p:spPr>
            <a:xfrm>
              <a:off x="707539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" name="Полилиния 325">
              <a:extLst>
                <a:ext uri="{FF2B5EF4-FFF2-40B4-BE49-F238E27FC236}">
                  <a16:creationId xmlns:a16="http://schemas.microsoft.com/office/drawing/2014/main" id="{EE443848-11C4-F80D-13D5-05448B9FEE95}"/>
                </a:ext>
              </a:extLst>
            </p:cNvPr>
            <p:cNvSpPr/>
            <p:nvPr/>
          </p:nvSpPr>
          <p:spPr>
            <a:xfrm>
              <a:off x="716467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" name="Полилиния 326">
              <a:extLst>
                <a:ext uri="{FF2B5EF4-FFF2-40B4-BE49-F238E27FC236}">
                  <a16:creationId xmlns:a16="http://schemas.microsoft.com/office/drawing/2014/main" id="{314501DA-B082-2549-7137-A1F1E9306AFE}"/>
                </a:ext>
              </a:extLst>
            </p:cNvPr>
            <p:cNvSpPr/>
            <p:nvPr/>
          </p:nvSpPr>
          <p:spPr>
            <a:xfrm>
              <a:off x="720931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" name="Полилиния 327">
              <a:extLst>
                <a:ext uri="{FF2B5EF4-FFF2-40B4-BE49-F238E27FC236}">
                  <a16:creationId xmlns:a16="http://schemas.microsoft.com/office/drawing/2014/main" id="{2012FEFE-BD26-BA99-B108-3736AE6CFF10}"/>
                </a:ext>
              </a:extLst>
            </p:cNvPr>
            <p:cNvSpPr/>
            <p:nvPr/>
          </p:nvSpPr>
          <p:spPr>
            <a:xfrm>
              <a:off x="725395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" name="Полилиния 328">
              <a:extLst>
                <a:ext uri="{FF2B5EF4-FFF2-40B4-BE49-F238E27FC236}">
                  <a16:creationId xmlns:a16="http://schemas.microsoft.com/office/drawing/2014/main" id="{CD0C4F9C-B916-7AE6-1FF5-FFE99DEB08E6}"/>
                </a:ext>
              </a:extLst>
            </p:cNvPr>
            <p:cNvSpPr/>
            <p:nvPr/>
          </p:nvSpPr>
          <p:spPr>
            <a:xfrm>
              <a:off x="765580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" name="Полилиния 329">
              <a:extLst>
                <a:ext uri="{FF2B5EF4-FFF2-40B4-BE49-F238E27FC236}">
                  <a16:creationId xmlns:a16="http://schemas.microsoft.com/office/drawing/2014/main" id="{43D048B3-9390-21FC-0A94-5F4D221CDA43}"/>
                </a:ext>
              </a:extLst>
            </p:cNvPr>
            <p:cNvSpPr/>
            <p:nvPr/>
          </p:nvSpPr>
          <p:spPr>
            <a:xfrm>
              <a:off x="774508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" name="Полилиния 330">
              <a:extLst>
                <a:ext uri="{FF2B5EF4-FFF2-40B4-BE49-F238E27FC236}">
                  <a16:creationId xmlns:a16="http://schemas.microsoft.com/office/drawing/2014/main" id="{B1C063D4-D982-5FC7-FDEC-268E79514ABE}"/>
                </a:ext>
              </a:extLst>
            </p:cNvPr>
            <p:cNvSpPr/>
            <p:nvPr/>
          </p:nvSpPr>
          <p:spPr>
            <a:xfrm>
              <a:off x="778972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" name="Полилиния 331">
              <a:extLst>
                <a:ext uri="{FF2B5EF4-FFF2-40B4-BE49-F238E27FC236}">
                  <a16:creationId xmlns:a16="http://schemas.microsoft.com/office/drawing/2014/main" id="{AEF038B3-025D-5779-611B-4E13B1A9B8CE}"/>
                </a:ext>
              </a:extLst>
            </p:cNvPr>
            <p:cNvSpPr/>
            <p:nvPr/>
          </p:nvSpPr>
          <p:spPr>
            <a:xfrm>
              <a:off x="7834360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" name="Полилиния 332">
              <a:extLst>
                <a:ext uri="{FF2B5EF4-FFF2-40B4-BE49-F238E27FC236}">
                  <a16:creationId xmlns:a16="http://schemas.microsoft.com/office/drawing/2014/main" id="{2DB6B9D0-5C2D-4D71-E3FC-F0D881A446E4}"/>
                </a:ext>
              </a:extLst>
            </p:cNvPr>
            <p:cNvSpPr/>
            <p:nvPr/>
          </p:nvSpPr>
          <p:spPr>
            <a:xfrm>
              <a:off x="787899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" name="Полилиния 333">
              <a:extLst>
                <a:ext uri="{FF2B5EF4-FFF2-40B4-BE49-F238E27FC236}">
                  <a16:creationId xmlns:a16="http://schemas.microsoft.com/office/drawing/2014/main" id="{41B367E5-4CE1-6BA6-D4F3-2FF9661E742A}"/>
                </a:ext>
              </a:extLst>
            </p:cNvPr>
            <p:cNvSpPr/>
            <p:nvPr/>
          </p:nvSpPr>
          <p:spPr>
            <a:xfrm>
              <a:off x="645035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" name="Полилиния 334">
              <a:extLst>
                <a:ext uri="{FF2B5EF4-FFF2-40B4-BE49-F238E27FC236}">
                  <a16:creationId xmlns:a16="http://schemas.microsoft.com/office/drawing/2014/main" id="{6E0B7A81-0D2B-1D37-6475-34E08304019B}"/>
                </a:ext>
              </a:extLst>
            </p:cNvPr>
            <p:cNvSpPr/>
            <p:nvPr/>
          </p:nvSpPr>
          <p:spPr>
            <a:xfrm>
              <a:off x="649499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" name="Полилиния 335">
              <a:extLst>
                <a:ext uri="{FF2B5EF4-FFF2-40B4-BE49-F238E27FC236}">
                  <a16:creationId xmlns:a16="http://schemas.microsoft.com/office/drawing/2014/main" id="{494AB906-EACA-A4C7-2861-2C93736D58F3}"/>
                </a:ext>
              </a:extLst>
            </p:cNvPr>
            <p:cNvSpPr/>
            <p:nvPr/>
          </p:nvSpPr>
          <p:spPr>
            <a:xfrm>
              <a:off x="658427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" name="Полилиния 336">
              <a:extLst>
                <a:ext uri="{FF2B5EF4-FFF2-40B4-BE49-F238E27FC236}">
                  <a16:creationId xmlns:a16="http://schemas.microsoft.com/office/drawing/2014/main" id="{E996BAD6-6E6C-AC78-6CBE-9ADC531329E1}"/>
                </a:ext>
              </a:extLst>
            </p:cNvPr>
            <p:cNvSpPr/>
            <p:nvPr/>
          </p:nvSpPr>
          <p:spPr>
            <a:xfrm>
              <a:off x="667354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" name="Полилиния 337">
              <a:extLst>
                <a:ext uri="{FF2B5EF4-FFF2-40B4-BE49-F238E27FC236}">
                  <a16:creationId xmlns:a16="http://schemas.microsoft.com/office/drawing/2014/main" id="{8047F53A-C018-BC98-D2C3-CF7404DD7654}"/>
                </a:ext>
              </a:extLst>
            </p:cNvPr>
            <p:cNvSpPr/>
            <p:nvPr/>
          </p:nvSpPr>
          <p:spPr>
            <a:xfrm>
              <a:off x="671818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" name="Полилиния 338">
              <a:extLst>
                <a:ext uri="{FF2B5EF4-FFF2-40B4-BE49-F238E27FC236}">
                  <a16:creationId xmlns:a16="http://schemas.microsoft.com/office/drawing/2014/main" id="{DDDA5FF5-845B-9934-2887-221D2E7F96CA}"/>
                </a:ext>
              </a:extLst>
            </p:cNvPr>
            <p:cNvSpPr/>
            <p:nvPr/>
          </p:nvSpPr>
          <p:spPr>
            <a:xfrm>
              <a:off x="685210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" name="Полилиния 339">
              <a:extLst>
                <a:ext uri="{FF2B5EF4-FFF2-40B4-BE49-F238E27FC236}">
                  <a16:creationId xmlns:a16="http://schemas.microsoft.com/office/drawing/2014/main" id="{D71998AF-51B1-B901-51AF-388C36D546DE}"/>
                </a:ext>
              </a:extLst>
            </p:cNvPr>
            <p:cNvSpPr/>
            <p:nvPr/>
          </p:nvSpPr>
          <p:spPr>
            <a:xfrm>
              <a:off x="689684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" name="Полилиния 340">
              <a:extLst>
                <a:ext uri="{FF2B5EF4-FFF2-40B4-BE49-F238E27FC236}">
                  <a16:creationId xmlns:a16="http://schemas.microsoft.com/office/drawing/2014/main" id="{8B02C068-9722-7C6A-DE8F-ACC6B55E2F8B}"/>
                </a:ext>
              </a:extLst>
            </p:cNvPr>
            <p:cNvSpPr/>
            <p:nvPr/>
          </p:nvSpPr>
          <p:spPr>
            <a:xfrm>
              <a:off x="716467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" name="Полилиния 341">
              <a:extLst>
                <a:ext uri="{FF2B5EF4-FFF2-40B4-BE49-F238E27FC236}">
                  <a16:creationId xmlns:a16="http://schemas.microsoft.com/office/drawing/2014/main" id="{5AEA93B7-F875-CE45-289C-0FDD7C7B7378}"/>
                </a:ext>
              </a:extLst>
            </p:cNvPr>
            <p:cNvSpPr/>
            <p:nvPr/>
          </p:nvSpPr>
          <p:spPr>
            <a:xfrm>
              <a:off x="7253955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" name="Полилиния 342">
              <a:extLst>
                <a:ext uri="{FF2B5EF4-FFF2-40B4-BE49-F238E27FC236}">
                  <a16:creationId xmlns:a16="http://schemas.microsoft.com/office/drawing/2014/main" id="{166620B7-DE1C-9DD8-D412-0E2807179B91}"/>
                </a:ext>
              </a:extLst>
            </p:cNvPr>
            <p:cNvSpPr/>
            <p:nvPr/>
          </p:nvSpPr>
          <p:spPr>
            <a:xfrm>
              <a:off x="734323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" name="Полилиния 343">
              <a:extLst>
                <a:ext uri="{FF2B5EF4-FFF2-40B4-BE49-F238E27FC236}">
                  <a16:creationId xmlns:a16="http://schemas.microsoft.com/office/drawing/2014/main" id="{D878C388-9103-E06F-81FA-B103825EE02A}"/>
                </a:ext>
              </a:extLst>
            </p:cNvPr>
            <p:cNvSpPr/>
            <p:nvPr/>
          </p:nvSpPr>
          <p:spPr>
            <a:xfrm>
              <a:off x="738787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" name="Полилиния 344">
              <a:extLst>
                <a:ext uri="{FF2B5EF4-FFF2-40B4-BE49-F238E27FC236}">
                  <a16:creationId xmlns:a16="http://schemas.microsoft.com/office/drawing/2014/main" id="{1C7DD5D7-B0EC-BDBE-BB81-03BC9E4C11E9}"/>
                </a:ext>
              </a:extLst>
            </p:cNvPr>
            <p:cNvSpPr/>
            <p:nvPr/>
          </p:nvSpPr>
          <p:spPr>
            <a:xfrm>
              <a:off x="747715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" name="Полилиния 345">
              <a:extLst>
                <a:ext uri="{FF2B5EF4-FFF2-40B4-BE49-F238E27FC236}">
                  <a16:creationId xmlns:a16="http://schemas.microsoft.com/office/drawing/2014/main" id="{36EE600D-E5AA-E647-24C5-3C4E9DC1F21E}"/>
                </a:ext>
              </a:extLst>
            </p:cNvPr>
            <p:cNvSpPr/>
            <p:nvPr/>
          </p:nvSpPr>
          <p:spPr>
            <a:xfrm>
              <a:off x="756652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" name="Полилиния 346">
              <a:extLst>
                <a:ext uri="{FF2B5EF4-FFF2-40B4-BE49-F238E27FC236}">
                  <a16:creationId xmlns:a16="http://schemas.microsoft.com/office/drawing/2014/main" id="{896E09F0-9F4B-E025-67A2-C37732EA536A}"/>
                </a:ext>
              </a:extLst>
            </p:cNvPr>
            <p:cNvSpPr/>
            <p:nvPr/>
          </p:nvSpPr>
          <p:spPr>
            <a:xfrm>
              <a:off x="761116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" name="Полилиния 347">
              <a:extLst>
                <a:ext uri="{FF2B5EF4-FFF2-40B4-BE49-F238E27FC236}">
                  <a16:creationId xmlns:a16="http://schemas.microsoft.com/office/drawing/2014/main" id="{B48046FA-20FC-BC59-7719-E8CBB83EE42E}"/>
                </a:ext>
              </a:extLst>
            </p:cNvPr>
            <p:cNvSpPr/>
            <p:nvPr/>
          </p:nvSpPr>
          <p:spPr>
            <a:xfrm>
              <a:off x="770044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" name="Полилиния 348">
              <a:extLst>
                <a:ext uri="{FF2B5EF4-FFF2-40B4-BE49-F238E27FC236}">
                  <a16:creationId xmlns:a16="http://schemas.microsoft.com/office/drawing/2014/main" id="{AA53CC91-FA1C-E222-3070-CC9F8B154BAD}"/>
                </a:ext>
              </a:extLst>
            </p:cNvPr>
            <p:cNvSpPr/>
            <p:nvPr/>
          </p:nvSpPr>
          <p:spPr>
            <a:xfrm>
              <a:off x="774508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" name="Полилиния 349">
              <a:extLst>
                <a:ext uri="{FF2B5EF4-FFF2-40B4-BE49-F238E27FC236}">
                  <a16:creationId xmlns:a16="http://schemas.microsoft.com/office/drawing/2014/main" id="{32A097AC-D2D9-7FFE-F8AC-6D057BCFC01D}"/>
                </a:ext>
              </a:extLst>
            </p:cNvPr>
            <p:cNvSpPr/>
            <p:nvPr/>
          </p:nvSpPr>
          <p:spPr>
            <a:xfrm>
              <a:off x="787899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" name="Полилиния 350">
              <a:extLst>
                <a:ext uri="{FF2B5EF4-FFF2-40B4-BE49-F238E27FC236}">
                  <a16:creationId xmlns:a16="http://schemas.microsoft.com/office/drawing/2014/main" id="{E0AED521-08F3-FEF2-CE07-DE29984916C5}"/>
                </a:ext>
              </a:extLst>
            </p:cNvPr>
            <p:cNvSpPr/>
            <p:nvPr/>
          </p:nvSpPr>
          <p:spPr>
            <a:xfrm>
              <a:off x="658427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" name="Полилиния 351">
              <a:extLst>
                <a:ext uri="{FF2B5EF4-FFF2-40B4-BE49-F238E27FC236}">
                  <a16:creationId xmlns:a16="http://schemas.microsoft.com/office/drawing/2014/main" id="{99EB6489-1222-C58A-1271-611BF657A822}"/>
                </a:ext>
              </a:extLst>
            </p:cNvPr>
            <p:cNvSpPr/>
            <p:nvPr/>
          </p:nvSpPr>
          <p:spPr>
            <a:xfrm>
              <a:off x="662891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" name="Полилиния 352">
              <a:extLst>
                <a:ext uri="{FF2B5EF4-FFF2-40B4-BE49-F238E27FC236}">
                  <a16:creationId xmlns:a16="http://schemas.microsoft.com/office/drawing/2014/main" id="{E4698306-7133-3553-2A53-0EE323123E40}"/>
                </a:ext>
              </a:extLst>
            </p:cNvPr>
            <p:cNvSpPr/>
            <p:nvPr/>
          </p:nvSpPr>
          <p:spPr>
            <a:xfrm>
              <a:off x="667354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" name="Полилиния 353">
              <a:extLst>
                <a:ext uri="{FF2B5EF4-FFF2-40B4-BE49-F238E27FC236}">
                  <a16:creationId xmlns:a16="http://schemas.microsoft.com/office/drawing/2014/main" id="{5FCC14CC-2B77-9323-1FA1-9DB6C321DD2C}"/>
                </a:ext>
              </a:extLst>
            </p:cNvPr>
            <p:cNvSpPr/>
            <p:nvPr/>
          </p:nvSpPr>
          <p:spPr>
            <a:xfrm>
              <a:off x="676282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" name="Полилиния 354">
              <a:extLst>
                <a:ext uri="{FF2B5EF4-FFF2-40B4-BE49-F238E27FC236}">
                  <a16:creationId xmlns:a16="http://schemas.microsoft.com/office/drawing/2014/main" id="{7570B6F6-E2BC-2E41-39DF-B1D70FA70237}"/>
                </a:ext>
              </a:extLst>
            </p:cNvPr>
            <p:cNvSpPr/>
            <p:nvPr/>
          </p:nvSpPr>
          <p:spPr>
            <a:xfrm>
              <a:off x="685210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" name="Полилиния 355">
              <a:extLst>
                <a:ext uri="{FF2B5EF4-FFF2-40B4-BE49-F238E27FC236}">
                  <a16:creationId xmlns:a16="http://schemas.microsoft.com/office/drawing/2014/main" id="{5901828D-70DC-B686-9803-AA3721253AFF}"/>
                </a:ext>
              </a:extLst>
            </p:cNvPr>
            <p:cNvSpPr/>
            <p:nvPr/>
          </p:nvSpPr>
          <p:spPr>
            <a:xfrm>
              <a:off x="694148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" name="Полилиния 356">
              <a:extLst>
                <a:ext uri="{FF2B5EF4-FFF2-40B4-BE49-F238E27FC236}">
                  <a16:creationId xmlns:a16="http://schemas.microsoft.com/office/drawing/2014/main" id="{D94CE48B-A278-6303-D34D-878DF1ABAF6A}"/>
                </a:ext>
              </a:extLst>
            </p:cNvPr>
            <p:cNvSpPr/>
            <p:nvPr/>
          </p:nvSpPr>
          <p:spPr>
            <a:xfrm>
              <a:off x="698611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" name="Полилиния 357">
              <a:extLst>
                <a:ext uri="{FF2B5EF4-FFF2-40B4-BE49-F238E27FC236}">
                  <a16:creationId xmlns:a16="http://schemas.microsoft.com/office/drawing/2014/main" id="{9BF8E8E3-19B2-DF1D-ABCB-AB85C2D080DB}"/>
                </a:ext>
              </a:extLst>
            </p:cNvPr>
            <p:cNvSpPr/>
            <p:nvPr/>
          </p:nvSpPr>
          <p:spPr>
            <a:xfrm>
              <a:off x="703075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" name="Полилиния 358">
              <a:extLst>
                <a:ext uri="{FF2B5EF4-FFF2-40B4-BE49-F238E27FC236}">
                  <a16:creationId xmlns:a16="http://schemas.microsoft.com/office/drawing/2014/main" id="{E1816DC2-578B-C588-E97E-4AE0AA0A797E}"/>
                </a:ext>
              </a:extLst>
            </p:cNvPr>
            <p:cNvSpPr/>
            <p:nvPr/>
          </p:nvSpPr>
          <p:spPr>
            <a:xfrm>
              <a:off x="707539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" name="Полилиния 359">
              <a:extLst>
                <a:ext uri="{FF2B5EF4-FFF2-40B4-BE49-F238E27FC236}">
                  <a16:creationId xmlns:a16="http://schemas.microsoft.com/office/drawing/2014/main" id="{E816D02B-79AE-A9C9-AFEC-7B6C4BB040D1}"/>
                </a:ext>
              </a:extLst>
            </p:cNvPr>
            <p:cNvSpPr/>
            <p:nvPr/>
          </p:nvSpPr>
          <p:spPr>
            <a:xfrm>
              <a:off x="7120037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" name="Полилиния 360">
              <a:extLst>
                <a:ext uri="{FF2B5EF4-FFF2-40B4-BE49-F238E27FC236}">
                  <a16:creationId xmlns:a16="http://schemas.microsoft.com/office/drawing/2014/main" id="{B4ACABDD-858B-152C-2B8D-9231867AB767}"/>
                </a:ext>
              </a:extLst>
            </p:cNvPr>
            <p:cNvSpPr/>
            <p:nvPr/>
          </p:nvSpPr>
          <p:spPr>
            <a:xfrm>
              <a:off x="716467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" name="Полилиния 361">
              <a:extLst>
                <a:ext uri="{FF2B5EF4-FFF2-40B4-BE49-F238E27FC236}">
                  <a16:creationId xmlns:a16="http://schemas.microsoft.com/office/drawing/2014/main" id="{AC7B1919-854F-28F3-5A93-B7F377999494}"/>
                </a:ext>
              </a:extLst>
            </p:cNvPr>
            <p:cNvSpPr/>
            <p:nvPr/>
          </p:nvSpPr>
          <p:spPr>
            <a:xfrm>
              <a:off x="7209315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" name="Полилиния 362">
              <a:extLst>
                <a:ext uri="{FF2B5EF4-FFF2-40B4-BE49-F238E27FC236}">
                  <a16:creationId xmlns:a16="http://schemas.microsoft.com/office/drawing/2014/main" id="{865D53BE-3423-936A-5853-A5116AB4FA06}"/>
                </a:ext>
              </a:extLst>
            </p:cNvPr>
            <p:cNvSpPr/>
            <p:nvPr/>
          </p:nvSpPr>
          <p:spPr>
            <a:xfrm>
              <a:off x="7298594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" name="Полилиния 363">
              <a:extLst>
                <a:ext uri="{FF2B5EF4-FFF2-40B4-BE49-F238E27FC236}">
                  <a16:creationId xmlns:a16="http://schemas.microsoft.com/office/drawing/2014/main" id="{978E287E-ED42-5532-61E9-41F166AEBE73}"/>
                </a:ext>
              </a:extLst>
            </p:cNvPr>
            <p:cNvSpPr/>
            <p:nvPr/>
          </p:nvSpPr>
          <p:spPr>
            <a:xfrm>
              <a:off x="7655803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" name="Полилиния 364">
              <a:extLst>
                <a:ext uri="{FF2B5EF4-FFF2-40B4-BE49-F238E27FC236}">
                  <a16:creationId xmlns:a16="http://schemas.microsoft.com/office/drawing/2014/main" id="{329B87C4-5F62-131F-E2DF-3B29750C68DC}"/>
                </a:ext>
              </a:extLst>
            </p:cNvPr>
            <p:cNvSpPr/>
            <p:nvPr/>
          </p:nvSpPr>
          <p:spPr>
            <a:xfrm>
              <a:off x="7700442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" name="Полилиния 365">
              <a:extLst>
                <a:ext uri="{FF2B5EF4-FFF2-40B4-BE49-F238E27FC236}">
                  <a16:creationId xmlns:a16="http://schemas.microsoft.com/office/drawing/2014/main" id="{F8F2B30F-C3C8-41D0-F89E-DDDD2E6E1515}"/>
                </a:ext>
              </a:extLst>
            </p:cNvPr>
            <p:cNvSpPr/>
            <p:nvPr/>
          </p:nvSpPr>
          <p:spPr>
            <a:xfrm>
              <a:off x="774508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" name="Полилиния 366">
              <a:extLst>
                <a:ext uri="{FF2B5EF4-FFF2-40B4-BE49-F238E27FC236}">
                  <a16:creationId xmlns:a16="http://schemas.microsoft.com/office/drawing/2014/main" id="{B1BA1014-91B3-6CAF-2250-C83ABE205740}"/>
                </a:ext>
              </a:extLst>
            </p:cNvPr>
            <p:cNvSpPr/>
            <p:nvPr/>
          </p:nvSpPr>
          <p:spPr>
            <a:xfrm>
              <a:off x="783436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" name="Полилиния 367">
              <a:extLst>
                <a:ext uri="{FF2B5EF4-FFF2-40B4-BE49-F238E27FC236}">
                  <a16:creationId xmlns:a16="http://schemas.microsoft.com/office/drawing/2014/main" id="{9F0C03A4-FD7A-8274-15F2-7D4839F658E0}"/>
                </a:ext>
              </a:extLst>
            </p:cNvPr>
            <p:cNvSpPr/>
            <p:nvPr/>
          </p:nvSpPr>
          <p:spPr>
            <a:xfrm>
              <a:off x="645035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" name="Полилиния 368">
              <a:extLst>
                <a:ext uri="{FF2B5EF4-FFF2-40B4-BE49-F238E27FC236}">
                  <a16:creationId xmlns:a16="http://schemas.microsoft.com/office/drawing/2014/main" id="{670BBCDC-2AE4-4740-DFB4-FD813B1289B7}"/>
                </a:ext>
              </a:extLst>
            </p:cNvPr>
            <p:cNvSpPr/>
            <p:nvPr/>
          </p:nvSpPr>
          <p:spPr>
            <a:xfrm>
              <a:off x="649499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" name="Полилиния 369">
              <a:extLst>
                <a:ext uri="{FF2B5EF4-FFF2-40B4-BE49-F238E27FC236}">
                  <a16:creationId xmlns:a16="http://schemas.microsoft.com/office/drawing/2014/main" id="{DA3DFCD5-FD22-7D08-E548-45D030BD57CF}"/>
                </a:ext>
              </a:extLst>
            </p:cNvPr>
            <p:cNvSpPr/>
            <p:nvPr/>
          </p:nvSpPr>
          <p:spPr>
            <a:xfrm>
              <a:off x="653963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" name="Полилиния 370">
              <a:extLst>
                <a:ext uri="{FF2B5EF4-FFF2-40B4-BE49-F238E27FC236}">
                  <a16:creationId xmlns:a16="http://schemas.microsoft.com/office/drawing/2014/main" id="{8BFDBA06-E4F1-67A7-CAF2-101FD3A8272C}"/>
                </a:ext>
              </a:extLst>
            </p:cNvPr>
            <p:cNvSpPr/>
            <p:nvPr/>
          </p:nvSpPr>
          <p:spPr>
            <a:xfrm>
              <a:off x="658427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" name="Полилиния 371">
              <a:extLst>
                <a:ext uri="{FF2B5EF4-FFF2-40B4-BE49-F238E27FC236}">
                  <a16:creationId xmlns:a16="http://schemas.microsoft.com/office/drawing/2014/main" id="{9EF1F016-659D-3A3E-2830-3936A883ECC8}"/>
                </a:ext>
              </a:extLst>
            </p:cNvPr>
            <p:cNvSpPr/>
            <p:nvPr/>
          </p:nvSpPr>
          <p:spPr>
            <a:xfrm>
              <a:off x="662891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" name="Полилиния 372">
              <a:extLst>
                <a:ext uri="{FF2B5EF4-FFF2-40B4-BE49-F238E27FC236}">
                  <a16:creationId xmlns:a16="http://schemas.microsoft.com/office/drawing/2014/main" id="{F2804DB5-445B-F2C1-9727-546BD51DD1E6}"/>
                </a:ext>
              </a:extLst>
            </p:cNvPr>
            <p:cNvSpPr/>
            <p:nvPr/>
          </p:nvSpPr>
          <p:spPr>
            <a:xfrm>
              <a:off x="671818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" name="Полилиния 373">
              <a:extLst>
                <a:ext uri="{FF2B5EF4-FFF2-40B4-BE49-F238E27FC236}">
                  <a16:creationId xmlns:a16="http://schemas.microsoft.com/office/drawing/2014/main" id="{6802C9D1-ED8D-DA60-635C-1E3AB009ECD1}"/>
                </a:ext>
              </a:extLst>
            </p:cNvPr>
            <p:cNvSpPr/>
            <p:nvPr/>
          </p:nvSpPr>
          <p:spPr>
            <a:xfrm>
              <a:off x="698611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" name="Полилиния 374">
              <a:extLst>
                <a:ext uri="{FF2B5EF4-FFF2-40B4-BE49-F238E27FC236}">
                  <a16:creationId xmlns:a16="http://schemas.microsoft.com/office/drawing/2014/main" id="{C651B77D-A241-209F-E96F-A30912741620}"/>
                </a:ext>
              </a:extLst>
            </p:cNvPr>
            <p:cNvSpPr/>
            <p:nvPr/>
          </p:nvSpPr>
          <p:spPr>
            <a:xfrm>
              <a:off x="7030758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" name="Полилиния 375">
              <a:extLst>
                <a:ext uri="{FF2B5EF4-FFF2-40B4-BE49-F238E27FC236}">
                  <a16:creationId xmlns:a16="http://schemas.microsoft.com/office/drawing/2014/main" id="{79C44ABC-582C-FF2F-B8F1-92C66754E9CB}"/>
                </a:ext>
              </a:extLst>
            </p:cNvPr>
            <p:cNvSpPr/>
            <p:nvPr/>
          </p:nvSpPr>
          <p:spPr>
            <a:xfrm>
              <a:off x="7120037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" name="Полилиния 376">
              <a:extLst>
                <a:ext uri="{FF2B5EF4-FFF2-40B4-BE49-F238E27FC236}">
                  <a16:creationId xmlns:a16="http://schemas.microsoft.com/office/drawing/2014/main" id="{260E2A8A-1420-D3B6-EB6B-23CABC1799AD}"/>
                </a:ext>
              </a:extLst>
            </p:cNvPr>
            <p:cNvSpPr/>
            <p:nvPr/>
          </p:nvSpPr>
          <p:spPr>
            <a:xfrm>
              <a:off x="725395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" name="Полилиния 377">
              <a:extLst>
                <a:ext uri="{FF2B5EF4-FFF2-40B4-BE49-F238E27FC236}">
                  <a16:creationId xmlns:a16="http://schemas.microsoft.com/office/drawing/2014/main" id="{17AADD70-3AE3-4659-2CFA-9D01A96AC036}"/>
                </a:ext>
              </a:extLst>
            </p:cNvPr>
            <p:cNvSpPr/>
            <p:nvPr/>
          </p:nvSpPr>
          <p:spPr>
            <a:xfrm>
              <a:off x="734323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" name="Полилиния 378">
              <a:extLst>
                <a:ext uri="{FF2B5EF4-FFF2-40B4-BE49-F238E27FC236}">
                  <a16:creationId xmlns:a16="http://schemas.microsoft.com/office/drawing/2014/main" id="{605FB15E-3E16-7AF4-358D-CE95542C9844}"/>
                </a:ext>
              </a:extLst>
            </p:cNvPr>
            <p:cNvSpPr/>
            <p:nvPr/>
          </p:nvSpPr>
          <p:spPr>
            <a:xfrm>
              <a:off x="747715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" name="Полилиния 379">
              <a:extLst>
                <a:ext uri="{FF2B5EF4-FFF2-40B4-BE49-F238E27FC236}">
                  <a16:creationId xmlns:a16="http://schemas.microsoft.com/office/drawing/2014/main" id="{7A4CB699-F012-AFF4-6CA3-CFC46A2F9864}"/>
                </a:ext>
              </a:extLst>
            </p:cNvPr>
            <p:cNvSpPr/>
            <p:nvPr/>
          </p:nvSpPr>
          <p:spPr>
            <a:xfrm>
              <a:off x="752188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" name="Полилиния 380">
              <a:extLst>
                <a:ext uri="{FF2B5EF4-FFF2-40B4-BE49-F238E27FC236}">
                  <a16:creationId xmlns:a16="http://schemas.microsoft.com/office/drawing/2014/main" id="{EAB6F394-27EE-7342-6AD4-5B1B3E7DFB15}"/>
                </a:ext>
              </a:extLst>
            </p:cNvPr>
            <p:cNvSpPr/>
            <p:nvPr/>
          </p:nvSpPr>
          <p:spPr>
            <a:xfrm>
              <a:off x="756652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" name="Полилиния 381">
              <a:extLst>
                <a:ext uri="{FF2B5EF4-FFF2-40B4-BE49-F238E27FC236}">
                  <a16:creationId xmlns:a16="http://schemas.microsoft.com/office/drawing/2014/main" id="{CE755D19-9C4F-E3AD-BD9F-5BC53CD13C47}"/>
                </a:ext>
              </a:extLst>
            </p:cNvPr>
            <p:cNvSpPr/>
            <p:nvPr/>
          </p:nvSpPr>
          <p:spPr>
            <a:xfrm>
              <a:off x="761116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" name="Полилиния 382">
              <a:extLst>
                <a:ext uri="{FF2B5EF4-FFF2-40B4-BE49-F238E27FC236}">
                  <a16:creationId xmlns:a16="http://schemas.microsoft.com/office/drawing/2014/main" id="{70F20424-5448-596F-CD56-418FB74CD75A}"/>
                </a:ext>
              </a:extLst>
            </p:cNvPr>
            <p:cNvSpPr/>
            <p:nvPr/>
          </p:nvSpPr>
          <p:spPr>
            <a:xfrm>
              <a:off x="765580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" name="Полилиния 383">
              <a:extLst>
                <a:ext uri="{FF2B5EF4-FFF2-40B4-BE49-F238E27FC236}">
                  <a16:creationId xmlns:a16="http://schemas.microsoft.com/office/drawing/2014/main" id="{64A18BAD-9CF0-C9DB-1CAD-9C4007FEC34A}"/>
                </a:ext>
              </a:extLst>
            </p:cNvPr>
            <p:cNvSpPr/>
            <p:nvPr/>
          </p:nvSpPr>
          <p:spPr>
            <a:xfrm>
              <a:off x="7700442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" name="Полилиния 384">
              <a:extLst>
                <a:ext uri="{FF2B5EF4-FFF2-40B4-BE49-F238E27FC236}">
                  <a16:creationId xmlns:a16="http://schemas.microsoft.com/office/drawing/2014/main" id="{7EE9647A-DC12-0AD6-3C99-39A764ABB04D}"/>
                </a:ext>
              </a:extLst>
            </p:cNvPr>
            <p:cNvSpPr/>
            <p:nvPr/>
          </p:nvSpPr>
          <p:spPr>
            <a:xfrm>
              <a:off x="774508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" name="Полилиния 385">
              <a:extLst>
                <a:ext uri="{FF2B5EF4-FFF2-40B4-BE49-F238E27FC236}">
                  <a16:creationId xmlns:a16="http://schemas.microsoft.com/office/drawing/2014/main" id="{652189F6-9F53-046A-EE95-E4471BA2450A}"/>
                </a:ext>
              </a:extLst>
            </p:cNvPr>
            <p:cNvSpPr/>
            <p:nvPr/>
          </p:nvSpPr>
          <p:spPr>
            <a:xfrm>
              <a:off x="783436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" name="Полилиния 386">
              <a:extLst>
                <a:ext uri="{FF2B5EF4-FFF2-40B4-BE49-F238E27FC236}">
                  <a16:creationId xmlns:a16="http://schemas.microsoft.com/office/drawing/2014/main" id="{C3884808-B9CA-74B7-D7E9-B81AED931E49}"/>
                </a:ext>
              </a:extLst>
            </p:cNvPr>
            <p:cNvSpPr/>
            <p:nvPr/>
          </p:nvSpPr>
          <p:spPr>
            <a:xfrm>
              <a:off x="787899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" name="Полилиния 387">
              <a:extLst>
                <a:ext uri="{FF2B5EF4-FFF2-40B4-BE49-F238E27FC236}">
                  <a16:creationId xmlns:a16="http://schemas.microsoft.com/office/drawing/2014/main" id="{038AA901-65D3-0763-7655-B178F29578FC}"/>
                </a:ext>
              </a:extLst>
            </p:cNvPr>
            <p:cNvSpPr/>
            <p:nvPr/>
          </p:nvSpPr>
          <p:spPr>
            <a:xfrm>
              <a:off x="6807467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" name="Полилиния 388">
              <a:extLst>
                <a:ext uri="{FF2B5EF4-FFF2-40B4-BE49-F238E27FC236}">
                  <a16:creationId xmlns:a16="http://schemas.microsoft.com/office/drawing/2014/main" id="{B4B46649-9D5E-7A46-0916-10993369531A}"/>
                </a:ext>
              </a:extLst>
            </p:cNvPr>
            <p:cNvSpPr/>
            <p:nvPr/>
          </p:nvSpPr>
          <p:spPr>
            <a:xfrm>
              <a:off x="7164676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" name="Полилиния 389">
              <a:extLst>
                <a:ext uri="{FF2B5EF4-FFF2-40B4-BE49-F238E27FC236}">
                  <a16:creationId xmlns:a16="http://schemas.microsoft.com/office/drawing/2014/main" id="{1859BE9E-DE29-C9E9-649B-D15E44BBDEC5}"/>
                </a:ext>
              </a:extLst>
            </p:cNvPr>
            <p:cNvSpPr/>
            <p:nvPr/>
          </p:nvSpPr>
          <p:spPr>
            <a:xfrm>
              <a:off x="720931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" name="Полилиния 390">
              <a:extLst>
                <a:ext uri="{FF2B5EF4-FFF2-40B4-BE49-F238E27FC236}">
                  <a16:creationId xmlns:a16="http://schemas.microsoft.com/office/drawing/2014/main" id="{4BDDB241-6507-488C-8386-E962C2C168EF}"/>
                </a:ext>
              </a:extLst>
            </p:cNvPr>
            <p:cNvSpPr/>
            <p:nvPr/>
          </p:nvSpPr>
          <p:spPr>
            <a:xfrm>
              <a:off x="738787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" name="Полилиния 391">
              <a:extLst>
                <a:ext uri="{FF2B5EF4-FFF2-40B4-BE49-F238E27FC236}">
                  <a16:creationId xmlns:a16="http://schemas.microsoft.com/office/drawing/2014/main" id="{FEF302F4-6473-D155-1E82-59934355FC52}"/>
                </a:ext>
              </a:extLst>
            </p:cNvPr>
            <p:cNvSpPr/>
            <p:nvPr/>
          </p:nvSpPr>
          <p:spPr>
            <a:xfrm>
              <a:off x="752188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" name="Полилиния 392">
              <a:extLst>
                <a:ext uri="{FF2B5EF4-FFF2-40B4-BE49-F238E27FC236}">
                  <a16:creationId xmlns:a16="http://schemas.microsoft.com/office/drawing/2014/main" id="{E7BD7EF4-0E23-50C8-2D21-E07CD2D55E9A}"/>
                </a:ext>
              </a:extLst>
            </p:cNvPr>
            <p:cNvSpPr/>
            <p:nvPr/>
          </p:nvSpPr>
          <p:spPr>
            <a:xfrm>
              <a:off x="770044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" name="Полилиния 393">
              <a:extLst>
                <a:ext uri="{FF2B5EF4-FFF2-40B4-BE49-F238E27FC236}">
                  <a16:creationId xmlns:a16="http://schemas.microsoft.com/office/drawing/2014/main" id="{D7AD064F-A458-0365-D15F-CC4CC180452A}"/>
                </a:ext>
              </a:extLst>
            </p:cNvPr>
            <p:cNvSpPr/>
            <p:nvPr/>
          </p:nvSpPr>
          <p:spPr>
            <a:xfrm>
              <a:off x="7745081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" name="Полилиния 394">
              <a:extLst>
                <a:ext uri="{FF2B5EF4-FFF2-40B4-BE49-F238E27FC236}">
                  <a16:creationId xmlns:a16="http://schemas.microsoft.com/office/drawing/2014/main" id="{319893DA-BA1F-D802-E882-6316120C7A6C}"/>
                </a:ext>
              </a:extLst>
            </p:cNvPr>
            <p:cNvSpPr/>
            <p:nvPr/>
          </p:nvSpPr>
          <p:spPr>
            <a:xfrm>
              <a:off x="7834360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" name="Полилиния 395">
              <a:extLst>
                <a:ext uri="{FF2B5EF4-FFF2-40B4-BE49-F238E27FC236}">
                  <a16:creationId xmlns:a16="http://schemas.microsoft.com/office/drawing/2014/main" id="{AE7905F5-E32C-A1DD-99DE-14ED7B8A0DE7}"/>
                </a:ext>
              </a:extLst>
            </p:cNvPr>
            <p:cNvSpPr/>
            <p:nvPr/>
          </p:nvSpPr>
          <p:spPr>
            <a:xfrm>
              <a:off x="7878999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" name="Полилиния 396">
              <a:extLst>
                <a:ext uri="{FF2B5EF4-FFF2-40B4-BE49-F238E27FC236}">
                  <a16:creationId xmlns:a16="http://schemas.microsoft.com/office/drawing/2014/main" id="{776B6160-8DF7-87B2-D776-7AD5ACDA06A4}"/>
                </a:ext>
              </a:extLst>
            </p:cNvPr>
            <p:cNvSpPr/>
            <p:nvPr/>
          </p:nvSpPr>
          <p:spPr>
            <a:xfrm>
              <a:off x="680746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" name="Полилиния 397">
              <a:extLst>
                <a:ext uri="{FF2B5EF4-FFF2-40B4-BE49-F238E27FC236}">
                  <a16:creationId xmlns:a16="http://schemas.microsoft.com/office/drawing/2014/main" id="{8A85AA49-31BF-4274-7D7F-F051958F371C}"/>
                </a:ext>
              </a:extLst>
            </p:cNvPr>
            <p:cNvSpPr/>
            <p:nvPr/>
          </p:nvSpPr>
          <p:spPr>
            <a:xfrm>
              <a:off x="685210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" name="Полилиния 398">
              <a:extLst>
                <a:ext uri="{FF2B5EF4-FFF2-40B4-BE49-F238E27FC236}">
                  <a16:creationId xmlns:a16="http://schemas.microsoft.com/office/drawing/2014/main" id="{E52382B0-EE47-9972-D9EC-2D56CE86E3D3}"/>
                </a:ext>
              </a:extLst>
            </p:cNvPr>
            <p:cNvSpPr/>
            <p:nvPr/>
          </p:nvSpPr>
          <p:spPr>
            <a:xfrm>
              <a:off x="689684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" name="Полилиния 399">
              <a:extLst>
                <a:ext uri="{FF2B5EF4-FFF2-40B4-BE49-F238E27FC236}">
                  <a16:creationId xmlns:a16="http://schemas.microsoft.com/office/drawing/2014/main" id="{439549FB-8CC5-9800-E7F9-523AD5D508E1}"/>
                </a:ext>
              </a:extLst>
            </p:cNvPr>
            <p:cNvSpPr/>
            <p:nvPr/>
          </p:nvSpPr>
          <p:spPr>
            <a:xfrm>
              <a:off x="703075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" name="Полилиния 400">
              <a:extLst>
                <a:ext uri="{FF2B5EF4-FFF2-40B4-BE49-F238E27FC236}">
                  <a16:creationId xmlns:a16="http://schemas.microsoft.com/office/drawing/2014/main" id="{A6D7376B-FEF8-C3E8-E02E-87C0479B01F9}"/>
                </a:ext>
              </a:extLst>
            </p:cNvPr>
            <p:cNvSpPr/>
            <p:nvPr/>
          </p:nvSpPr>
          <p:spPr>
            <a:xfrm>
              <a:off x="707539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" name="Полилиния 401">
              <a:extLst>
                <a:ext uri="{FF2B5EF4-FFF2-40B4-BE49-F238E27FC236}">
                  <a16:creationId xmlns:a16="http://schemas.microsoft.com/office/drawing/2014/main" id="{0A09FC0B-1E17-B9FB-6F45-13C4A06C9CAA}"/>
                </a:ext>
              </a:extLst>
            </p:cNvPr>
            <p:cNvSpPr/>
            <p:nvPr/>
          </p:nvSpPr>
          <p:spPr>
            <a:xfrm>
              <a:off x="712003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" name="Полилиния 402">
              <a:extLst>
                <a:ext uri="{FF2B5EF4-FFF2-40B4-BE49-F238E27FC236}">
                  <a16:creationId xmlns:a16="http://schemas.microsoft.com/office/drawing/2014/main" id="{819602DD-2592-9D91-1821-F5489D2A1DD9}"/>
                </a:ext>
              </a:extLst>
            </p:cNvPr>
            <p:cNvSpPr/>
            <p:nvPr/>
          </p:nvSpPr>
          <p:spPr>
            <a:xfrm>
              <a:off x="716467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" name="Полилиния 403">
              <a:extLst>
                <a:ext uri="{FF2B5EF4-FFF2-40B4-BE49-F238E27FC236}">
                  <a16:creationId xmlns:a16="http://schemas.microsoft.com/office/drawing/2014/main" id="{2CA12039-1DEC-83B3-705B-3C359F3CAD5C}"/>
                </a:ext>
              </a:extLst>
            </p:cNvPr>
            <p:cNvSpPr/>
            <p:nvPr/>
          </p:nvSpPr>
          <p:spPr>
            <a:xfrm>
              <a:off x="729859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" name="Полилиния 404">
              <a:extLst>
                <a:ext uri="{FF2B5EF4-FFF2-40B4-BE49-F238E27FC236}">
                  <a16:creationId xmlns:a16="http://schemas.microsoft.com/office/drawing/2014/main" id="{9D083FDB-98E6-4207-E3CA-66DE3A5604C0}"/>
                </a:ext>
              </a:extLst>
            </p:cNvPr>
            <p:cNvSpPr/>
            <p:nvPr/>
          </p:nvSpPr>
          <p:spPr>
            <a:xfrm>
              <a:off x="7343233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" name="Полилиния 405">
              <a:extLst>
                <a:ext uri="{FF2B5EF4-FFF2-40B4-BE49-F238E27FC236}">
                  <a16:creationId xmlns:a16="http://schemas.microsoft.com/office/drawing/2014/main" id="{D367BEE2-C170-6819-30AF-CA2EC40C5435}"/>
                </a:ext>
              </a:extLst>
            </p:cNvPr>
            <p:cNvSpPr/>
            <p:nvPr/>
          </p:nvSpPr>
          <p:spPr>
            <a:xfrm>
              <a:off x="7521885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" name="Полилиния 406">
              <a:extLst>
                <a:ext uri="{FF2B5EF4-FFF2-40B4-BE49-F238E27FC236}">
                  <a16:creationId xmlns:a16="http://schemas.microsoft.com/office/drawing/2014/main" id="{DF025C0D-E822-6797-92DD-2FE8265860A4}"/>
                </a:ext>
              </a:extLst>
            </p:cNvPr>
            <p:cNvSpPr/>
            <p:nvPr/>
          </p:nvSpPr>
          <p:spPr>
            <a:xfrm>
              <a:off x="761116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" name="Полилиния 407">
              <a:extLst>
                <a:ext uri="{FF2B5EF4-FFF2-40B4-BE49-F238E27FC236}">
                  <a16:creationId xmlns:a16="http://schemas.microsoft.com/office/drawing/2014/main" id="{6880CBCF-38D2-EEF1-2E66-CF7262395857}"/>
                </a:ext>
              </a:extLst>
            </p:cNvPr>
            <p:cNvSpPr/>
            <p:nvPr/>
          </p:nvSpPr>
          <p:spPr>
            <a:xfrm>
              <a:off x="7700442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" name="Полилиния 408">
              <a:extLst>
                <a:ext uri="{FF2B5EF4-FFF2-40B4-BE49-F238E27FC236}">
                  <a16:creationId xmlns:a16="http://schemas.microsoft.com/office/drawing/2014/main" id="{0CBABA19-3DAE-B73B-3C02-E8A30DFA3271}"/>
                </a:ext>
              </a:extLst>
            </p:cNvPr>
            <p:cNvSpPr/>
            <p:nvPr/>
          </p:nvSpPr>
          <p:spPr>
            <a:xfrm>
              <a:off x="778972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0" name="Полилиния 409">
              <a:extLst>
                <a:ext uri="{FF2B5EF4-FFF2-40B4-BE49-F238E27FC236}">
                  <a16:creationId xmlns:a16="http://schemas.microsoft.com/office/drawing/2014/main" id="{A72EA11E-D626-34A6-FCB5-6B62F3D8E185}"/>
                </a:ext>
              </a:extLst>
            </p:cNvPr>
            <p:cNvSpPr/>
            <p:nvPr/>
          </p:nvSpPr>
          <p:spPr>
            <a:xfrm>
              <a:off x="7878999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1" name="Полилиния 410">
              <a:extLst>
                <a:ext uri="{FF2B5EF4-FFF2-40B4-BE49-F238E27FC236}">
                  <a16:creationId xmlns:a16="http://schemas.microsoft.com/office/drawing/2014/main" id="{050BD28F-B4EF-659B-1134-A1BEAD55963F}"/>
                </a:ext>
              </a:extLst>
            </p:cNvPr>
            <p:cNvSpPr/>
            <p:nvPr/>
          </p:nvSpPr>
          <p:spPr>
            <a:xfrm>
              <a:off x="680746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2" name="Полилиния 411">
              <a:extLst>
                <a:ext uri="{FF2B5EF4-FFF2-40B4-BE49-F238E27FC236}">
                  <a16:creationId xmlns:a16="http://schemas.microsoft.com/office/drawing/2014/main" id="{B06EAEA4-AC02-6870-6B63-D123DAEC90D2}"/>
                </a:ext>
              </a:extLst>
            </p:cNvPr>
            <p:cNvSpPr/>
            <p:nvPr/>
          </p:nvSpPr>
          <p:spPr>
            <a:xfrm>
              <a:off x="689684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3" name="Полилиния 412">
              <a:extLst>
                <a:ext uri="{FF2B5EF4-FFF2-40B4-BE49-F238E27FC236}">
                  <a16:creationId xmlns:a16="http://schemas.microsoft.com/office/drawing/2014/main" id="{4C2C5E3B-80F1-CE29-576B-5C59E8264112}"/>
                </a:ext>
              </a:extLst>
            </p:cNvPr>
            <p:cNvSpPr/>
            <p:nvPr/>
          </p:nvSpPr>
          <p:spPr>
            <a:xfrm>
              <a:off x="694148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4" name="Полилиния 413">
              <a:extLst>
                <a:ext uri="{FF2B5EF4-FFF2-40B4-BE49-F238E27FC236}">
                  <a16:creationId xmlns:a16="http://schemas.microsoft.com/office/drawing/2014/main" id="{33CDB23F-3DD8-CB06-2FDB-350613FD6CC5}"/>
                </a:ext>
              </a:extLst>
            </p:cNvPr>
            <p:cNvSpPr/>
            <p:nvPr/>
          </p:nvSpPr>
          <p:spPr>
            <a:xfrm>
              <a:off x="698611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5" name="Полилиния 414">
              <a:extLst>
                <a:ext uri="{FF2B5EF4-FFF2-40B4-BE49-F238E27FC236}">
                  <a16:creationId xmlns:a16="http://schemas.microsoft.com/office/drawing/2014/main" id="{66FB0C7F-719B-11F0-ABD1-12BE99A98393}"/>
                </a:ext>
              </a:extLst>
            </p:cNvPr>
            <p:cNvSpPr/>
            <p:nvPr/>
          </p:nvSpPr>
          <p:spPr>
            <a:xfrm>
              <a:off x="712003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6" name="Полилиния 415">
              <a:extLst>
                <a:ext uri="{FF2B5EF4-FFF2-40B4-BE49-F238E27FC236}">
                  <a16:creationId xmlns:a16="http://schemas.microsoft.com/office/drawing/2014/main" id="{6414F5EE-9E6D-1E8C-C7CE-2B78548395B8}"/>
                </a:ext>
              </a:extLst>
            </p:cNvPr>
            <p:cNvSpPr/>
            <p:nvPr/>
          </p:nvSpPr>
          <p:spPr>
            <a:xfrm>
              <a:off x="720931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7" name="Полилиния 416">
              <a:extLst>
                <a:ext uri="{FF2B5EF4-FFF2-40B4-BE49-F238E27FC236}">
                  <a16:creationId xmlns:a16="http://schemas.microsoft.com/office/drawing/2014/main" id="{D1BC2701-9103-C24C-0303-7D3BDC02AF1A}"/>
                </a:ext>
              </a:extLst>
            </p:cNvPr>
            <p:cNvSpPr/>
            <p:nvPr/>
          </p:nvSpPr>
          <p:spPr>
            <a:xfrm>
              <a:off x="725395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8" name="Полилиния 417">
              <a:extLst>
                <a:ext uri="{FF2B5EF4-FFF2-40B4-BE49-F238E27FC236}">
                  <a16:creationId xmlns:a16="http://schemas.microsoft.com/office/drawing/2014/main" id="{B199777C-B4AF-9257-F00A-78EF4405C7EE}"/>
                </a:ext>
              </a:extLst>
            </p:cNvPr>
            <p:cNvSpPr/>
            <p:nvPr/>
          </p:nvSpPr>
          <p:spPr>
            <a:xfrm>
              <a:off x="738787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9" name="Полилиния 418">
              <a:extLst>
                <a:ext uri="{FF2B5EF4-FFF2-40B4-BE49-F238E27FC236}">
                  <a16:creationId xmlns:a16="http://schemas.microsoft.com/office/drawing/2014/main" id="{ADEA112B-0313-0B94-AA60-9ED222EBBAFB}"/>
                </a:ext>
              </a:extLst>
            </p:cNvPr>
            <p:cNvSpPr/>
            <p:nvPr/>
          </p:nvSpPr>
          <p:spPr>
            <a:xfrm>
              <a:off x="747715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0" name="Полилиния 419">
              <a:extLst>
                <a:ext uri="{FF2B5EF4-FFF2-40B4-BE49-F238E27FC236}">
                  <a16:creationId xmlns:a16="http://schemas.microsoft.com/office/drawing/2014/main" id="{469D89EE-E058-E3A2-A71A-B14A3F0828CA}"/>
                </a:ext>
              </a:extLst>
            </p:cNvPr>
            <p:cNvSpPr/>
            <p:nvPr/>
          </p:nvSpPr>
          <p:spPr>
            <a:xfrm>
              <a:off x="752188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1" name="Полилиния 420">
              <a:extLst>
                <a:ext uri="{FF2B5EF4-FFF2-40B4-BE49-F238E27FC236}">
                  <a16:creationId xmlns:a16="http://schemas.microsoft.com/office/drawing/2014/main" id="{69CA9596-02C2-9503-F66F-BF9CF9D8C64F}"/>
                </a:ext>
              </a:extLst>
            </p:cNvPr>
            <p:cNvSpPr/>
            <p:nvPr/>
          </p:nvSpPr>
          <p:spPr>
            <a:xfrm>
              <a:off x="770044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2" name="Полилиния 421">
              <a:extLst>
                <a:ext uri="{FF2B5EF4-FFF2-40B4-BE49-F238E27FC236}">
                  <a16:creationId xmlns:a16="http://schemas.microsoft.com/office/drawing/2014/main" id="{70683373-0B8D-5DD9-4A9F-4B648A6001C1}"/>
                </a:ext>
              </a:extLst>
            </p:cNvPr>
            <p:cNvSpPr/>
            <p:nvPr/>
          </p:nvSpPr>
          <p:spPr>
            <a:xfrm>
              <a:off x="774508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3" name="Полилиния 422">
              <a:extLst>
                <a:ext uri="{FF2B5EF4-FFF2-40B4-BE49-F238E27FC236}">
                  <a16:creationId xmlns:a16="http://schemas.microsoft.com/office/drawing/2014/main" id="{168E2A53-7613-3129-C17A-9D8177DAD904}"/>
                </a:ext>
              </a:extLst>
            </p:cNvPr>
            <p:cNvSpPr/>
            <p:nvPr/>
          </p:nvSpPr>
          <p:spPr>
            <a:xfrm>
              <a:off x="783436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4" name="Полилиния 423">
              <a:extLst>
                <a:ext uri="{FF2B5EF4-FFF2-40B4-BE49-F238E27FC236}">
                  <a16:creationId xmlns:a16="http://schemas.microsoft.com/office/drawing/2014/main" id="{2E717ABD-302A-4805-9723-30AFD208FE34}"/>
                </a:ext>
              </a:extLst>
            </p:cNvPr>
            <p:cNvSpPr/>
            <p:nvPr/>
          </p:nvSpPr>
          <p:spPr>
            <a:xfrm>
              <a:off x="787899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5" name="Полилиния 424">
              <a:extLst>
                <a:ext uri="{FF2B5EF4-FFF2-40B4-BE49-F238E27FC236}">
                  <a16:creationId xmlns:a16="http://schemas.microsoft.com/office/drawing/2014/main" id="{BC65A916-371F-6276-EB4D-6625E6E8F982}"/>
                </a:ext>
              </a:extLst>
            </p:cNvPr>
            <p:cNvSpPr/>
            <p:nvPr/>
          </p:nvSpPr>
          <p:spPr>
            <a:xfrm>
              <a:off x="689684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6" name="Полилиния 425">
              <a:extLst>
                <a:ext uri="{FF2B5EF4-FFF2-40B4-BE49-F238E27FC236}">
                  <a16:creationId xmlns:a16="http://schemas.microsoft.com/office/drawing/2014/main" id="{EF824ED3-03B4-B149-3E76-82250A011DD0}"/>
                </a:ext>
              </a:extLst>
            </p:cNvPr>
            <p:cNvSpPr/>
            <p:nvPr/>
          </p:nvSpPr>
          <p:spPr>
            <a:xfrm>
              <a:off x="6941480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7" name="Полилиния 426">
              <a:extLst>
                <a:ext uri="{FF2B5EF4-FFF2-40B4-BE49-F238E27FC236}">
                  <a16:creationId xmlns:a16="http://schemas.microsoft.com/office/drawing/2014/main" id="{77085844-EBEB-9823-0864-BB2176DFBE49}"/>
                </a:ext>
              </a:extLst>
            </p:cNvPr>
            <p:cNvSpPr/>
            <p:nvPr/>
          </p:nvSpPr>
          <p:spPr>
            <a:xfrm>
              <a:off x="6986119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8" name="Полилиния 427">
              <a:extLst>
                <a:ext uri="{FF2B5EF4-FFF2-40B4-BE49-F238E27FC236}">
                  <a16:creationId xmlns:a16="http://schemas.microsoft.com/office/drawing/2014/main" id="{0A2EA0DA-AFC7-3F8C-CF2A-993C67DD0613}"/>
                </a:ext>
              </a:extLst>
            </p:cNvPr>
            <p:cNvSpPr/>
            <p:nvPr/>
          </p:nvSpPr>
          <p:spPr>
            <a:xfrm>
              <a:off x="703075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9" name="Полилиния 428">
              <a:extLst>
                <a:ext uri="{FF2B5EF4-FFF2-40B4-BE49-F238E27FC236}">
                  <a16:creationId xmlns:a16="http://schemas.microsoft.com/office/drawing/2014/main" id="{699DB216-AE0E-6E4A-D384-36E22F24831C}"/>
                </a:ext>
              </a:extLst>
            </p:cNvPr>
            <p:cNvSpPr/>
            <p:nvPr/>
          </p:nvSpPr>
          <p:spPr>
            <a:xfrm>
              <a:off x="707539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0" name="Полилиния 429">
              <a:extLst>
                <a:ext uri="{FF2B5EF4-FFF2-40B4-BE49-F238E27FC236}">
                  <a16:creationId xmlns:a16="http://schemas.microsoft.com/office/drawing/2014/main" id="{F24C5D52-FBDE-56A0-7023-21D07DAAE93A}"/>
                </a:ext>
              </a:extLst>
            </p:cNvPr>
            <p:cNvSpPr/>
            <p:nvPr/>
          </p:nvSpPr>
          <p:spPr>
            <a:xfrm>
              <a:off x="7120037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1" name="Полилиния 430">
              <a:extLst>
                <a:ext uri="{FF2B5EF4-FFF2-40B4-BE49-F238E27FC236}">
                  <a16:creationId xmlns:a16="http://schemas.microsoft.com/office/drawing/2014/main" id="{88515D9E-7323-1DF2-18C1-20994A3C2748}"/>
                </a:ext>
              </a:extLst>
            </p:cNvPr>
            <p:cNvSpPr/>
            <p:nvPr/>
          </p:nvSpPr>
          <p:spPr>
            <a:xfrm>
              <a:off x="729859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2" name="Полилиния 431">
              <a:extLst>
                <a:ext uri="{FF2B5EF4-FFF2-40B4-BE49-F238E27FC236}">
                  <a16:creationId xmlns:a16="http://schemas.microsoft.com/office/drawing/2014/main" id="{67CFB4A3-D021-6905-18C0-D70DC5F14C87}"/>
                </a:ext>
              </a:extLst>
            </p:cNvPr>
            <p:cNvSpPr/>
            <p:nvPr/>
          </p:nvSpPr>
          <p:spPr>
            <a:xfrm>
              <a:off x="734323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3" name="Полилиния 432">
              <a:extLst>
                <a:ext uri="{FF2B5EF4-FFF2-40B4-BE49-F238E27FC236}">
                  <a16:creationId xmlns:a16="http://schemas.microsoft.com/office/drawing/2014/main" id="{9520EC7F-BEBA-0E28-B34C-2AFDAB92E819}"/>
                </a:ext>
              </a:extLst>
            </p:cNvPr>
            <p:cNvSpPr/>
            <p:nvPr/>
          </p:nvSpPr>
          <p:spPr>
            <a:xfrm>
              <a:off x="738787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4" name="Полилиния 433">
              <a:extLst>
                <a:ext uri="{FF2B5EF4-FFF2-40B4-BE49-F238E27FC236}">
                  <a16:creationId xmlns:a16="http://schemas.microsoft.com/office/drawing/2014/main" id="{3287127D-0395-1C3C-C601-DDBA7C4E87FB}"/>
                </a:ext>
              </a:extLst>
            </p:cNvPr>
            <p:cNvSpPr/>
            <p:nvPr/>
          </p:nvSpPr>
          <p:spPr>
            <a:xfrm>
              <a:off x="747715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5" name="Полилиния 434">
              <a:extLst>
                <a:ext uri="{FF2B5EF4-FFF2-40B4-BE49-F238E27FC236}">
                  <a16:creationId xmlns:a16="http://schemas.microsoft.com/office/drawing/2014/main" id="{6F59F8CB-BEDD-625D-64B5-2A480062F52C}"/>
                </a:ext>
              </a:extLst>
            </p:cNvPr>
            <p:cNvSpPr/>
            <p:nvPr/>
          </p:nvSpPr>
          <p:spPr>
            <a:xfrm>
              <a:off x="7521885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6" name="Полилиния 435">
              <a:extLst>
                <a:ext uri="{FF2B5EF4-FFF2-40B4-BE49-F238E27FC236}">
                  <a16:creationId xmlns:a16="http://schemas.microsoft.com/office/drawing/2014/main" id="{86D4DBA6-ED01-92B7-5DFE-C444154F6BF1}"/>
                </a:ext>
              </a:extLst>
            </p:cNvPr>
            <p:cNvSpPr/>
            <p:nvPr/>
          </p:nvSpPr>
          <p:spPr>
            <a:xfrm>
              <a:off x="756652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7" name="Полилиния 436">
              <a:extLst>
                <a:ext uri="{FF2B5EF4-FFF2-40B4-BE49-F238E27FC236}">
                  <a16:creationId xmlns:a16="http://schemas.microsoft.com/office/drawing/2014/main" id="{AC6C5763-5942-A2BA-5EDF-B43916AC897B}"/>
                </a:ext>
              </a:extLst>
            </p:cNvPr>
            <p:cNvSpPr/>
            <p:nvPr/>
          </p:nvSpPr>
          <p:spPr>
            <a:xfrm>
              <a:off x="761116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8" name="Полилиния 437">
              <a:extLst>
                <a:ext uri="{FF2B5EF4-FFF2-40B4-BE49-F238E27FC236}">
                  <a16:creationId xmlns:a16="http://schemas.microsoft.com/office/drawing/2014/main" id="{9779FCB5-3680-4E70-D393-E7401F559F94}"/>
                </a:ext>
              </a:extLst>
            </p:cNvPr>
            <p:cNvSpPr/>
            <p:nvPr/>
          </p:nvSpPr>
          <p:spPr>
            <a:xfrm>
              <a:off x="765580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9" name="Полилиния 438">
              <a:extLst>
                <a:ext uri="{FF2B5EF4-FFF2-40B4-BE49-F238E27FC236}">
                  <a16:creationId xmlns:a16="http://schemas.microsoft.com/office/drawing/2014/main" id="{B33AC3EE-E3DB-121B-5D73-ED88592BE5D5}"/>
                </a:ext>
              </a:extLst>
            </p:cNvPr>
            <p:cNvSpPr/>
            <p:nvPr/>
          </p:nvSpPr>
          <p:spPr>
            <a:xfrm>
              <a:off x="770044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0" name="Полилиния 439">
              <a:extLst>
                <a:ext uri="{FF2B5EF4-FFF2-40B4-BE49-F238E27FC236}">
                  <a16:creationId xmlns:a16="http://schemas.microsoft.com/office/drawing/2014/main" id="{75A14463-8DA3-5E1B-C554-823759639842}"/>
                </a:ext>
              </a:extLst>
            </p:cNvPr>
            <p:cNvSpPr/>
            <p:nvPr/>
          </p:nvSpPr>
          <p:spPr>
            <a:xfrm>
              <a:off x="774508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1" name="Полилиния 440">
              <a:extLst>
                <a:ext uri="{FF2B5EF4-FFF2-40B4-BE49-F238E27FC236}">
                  <a16:creationId xmlns:a16="http://schemas.microsoft.com/office/drawing/2014/main" id="{020D1FC4-EA84-F925-9ED5-93E2C0E930A2}"/>
                </a:ext>
              </a:extLst>
            </p:cNvPr>
            <p:cNvSpPr/>
            <p:nvPr/>
          </p:nvSpPr>
          <p:spPr>
            <a:xfrm>
              <a:off x="685210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2" name="Полилиния 441">
              <a:extLst>
                <a:ext uri="{FF2B5EF4-FFF2-40B4-BE49-F238E27FC236}">
                  <a16:creationId xmlns:a16="http://schemas.microsoft.com/office/drawing/2014/main" id="{D7DDFEE9-0DBE-3F06-5CE7-BB150355DFE8}"/>
                </a:ext>
              </a:extLst>
            </p:cNvPr>
            <p:cNvSpPr/>
            <p:nvPr/>
          </p:nvSpPr>
          <p:spPr>
            <a:xfrm>
              <a:off x="6896841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3" name="Полилиния 442">
              <a:extLst>
                <a:ext uri="{FF2B5EF4-FFF2-40B4-BE49-F238E27FC236}">
                  <a16:creationId xmlns:a16="http://schemas.microsoft.com/office/drawing/2014/main" id="{7D80C5B0-DC3F-8DEB-2C62-AF5E9FDBAD10}"/>
                </a:ext>
              </a:extLst>
            </p:cNvPr>
            <p:cNvSpPr/>
            <p:nvPr/>
          </p:nvSpPr>
          <p:spPr>
            <a:xfrm>
              <a:off x="694148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4" name="Полилиния 443">
              <a:extLst>
                <a:ext uri="{FF2B5EF4-FFF2-40B4-BE49-F238E27FC236}">
                  <a16:creationId xmlns:a16="http://schemas.microsoft.com/office/drawing/2014/main" id="{147AEB4B-FA2C-F8B3-3E86-6E4538030E63}"/>
                </a:ext>
              </a:extLst>
            </p:cNvPr>
            <p:cNvSpPr/>
            <p:nvPr/>
          </p:nvSpPr>
          <p:spPr>
            <a:xfrm>
              <a:off x="7030758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5" name="Полилиния 444">
              <a:extLst>
                <a:ext uri="{FF2B5EF4-FFF2-40B4-BE49-F238E27FC236}">
                  <a16:creationId xmlns:a16="http://schemas.microsoft.com/office/drawing/2014/main" id="{93A2112E-77C9-BD11-808A-CB06A221B44C}"/>
                </a:ext>
              </a:extLst>
            </p:cNvPr>
            <p:cNvSpPr/>
            <p:nvPr/>
          </p:nvSpPr>
          <p:spPr>
            <a:xfrm>
              <a:off x="716467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6" name="Полилиния 445">
              <a:extLst>
                <a:ext uri="{FF2B5EF4-FFF2-40B4-BE49-F238E27FC236}">
                  <a16:creationId xmlns:a16="http://schemas.microsoft.com/office/drawing/2014/main" id="{783A3B1B-884B-2E91-4B88-535FE0FD6BA9}"/>
                </a:ext>
              </a:extLst>
            </p:cNvPr>
            <p:cNvSpPr/>
            <p:nvPr/>
          </p:nvSpPr>
          <p:spPr>
            <a:xfrm>
              <a:off x="7209315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7" name="Полилиния 446">
              <a:extLst>
                <a:ext uri="{FF2B5EF4-FFF2-40B4-BE49-F238E27FC236}">
                  <a16:creationId xmlns:a16="http://schemas.microsoft.com/office/drawing/2014/main" id="{B42CAD9F-B21B-4FB5-98C1-B2E2FB10DAEC}"/>
                </a:ext>
              </a:extLst>
            </p:cNvPr>
            <p:cNvSpPr/>
            <p:nvPr/>
          </p:nvSpPr>
          <p:spPr>
            <a:xfrm>
              <a:off x="734323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8" name="Полилиния 447">
              <a:extLst>
                <a:ext uri="{FF2B5EF4-FFF2-40B4-BE49-F238E27FC236}">
                  <a16:creationId xmlns:a16="http://schemas.microsoft.com/office/drawing/2014/main" id="{A8AF6FB0-C188-AC47-3BCA-DF19B458C7C6}"/>
                </a:ext>
              </a:extLst>
            </p:cNvPr>
            <p:cNvSpPr/>
            <p:nvPr/>
          </p:nvSpPr>
          <p:spPr>
            <a:xfrm>
              <a:off x="738787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9" name="Полилиния 448">
              <a:extLst>
                <a:ext uri="{FF2B5EF4-FFF2-40B4-BE49-F238E27FC236}">
                  <a16:creationId xmlns:a16="http://schemas.microsoft.com/office/drawing/2014/main" id="{643FBF9F-A4CE-E011-EC0C-4F2A14FD8D65}"/>
                </a:ext>
              </a:extLst>
            </p:cNvPr>
            <p:cNvSpPr/>
            <p:nvPr/>
          </p:nvSpPr>
          <p:spPr>
            <a:xfrm>
              <a:off x="7566524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0" name="Полилиния 449">
              <a:extLst>
                <a:ext uri="{FF2B5EF4-FFF2-40B4-BE49-F238E27FC236}">
                  <a16:creationId xmlns:a16="http://schemas.microsoft.com/office/drawing/2014/main" id="{3EEB1FF3-756C-CB9B-C899-7B991303293A}"/>
                </a:ext>
              </a:extLst>
            </p:cNvPr>
            <p:cNvSpPr/>
            <p:nvPr/>
          </p:nvSpPr>
          <p:spPr>
            <a:xfrm>
              <a:off x="765580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1" name="Полилиния 450">
              <a:extLst>
                <a:ext uri="{FF2B5EF4-FFF2-40B4-BE49-F238E27FC236}">
                  <a16:creationId xmlns:a16="http://schemas.microsoft.com/office/drawing/2014/main" id="{7CA3CEFA-FD1B-4221-5712-2E8A9B666A34}"/>
                </a:ext>
              </a:extLst>
            </p:cNvPr>
            <p:cNvSpPr/>
            <p:nvPr/>
          </p:nvSpPr>
          <p:spPr>
            <a:xfrm>
              <a:off x="770044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2" name="Полилиния 451">
              <a:extLst>
                <a:ext uri="{FF2B5EF4-FFF2-40B4-BE49-F238E27FC236}">
                  <a16:creationId xmlns:a16="http://schemas.microsoft.com/office/drawing/2014/main" id="{9C2A6B9B-DA1F-FBB5-ECFF-A6A95A5B6BC8}"/>
                </a:ext>
              </a:extLst>
            </p:cNvPr>
            <p:cNvSpPr/>
            <p:nvPr/>
          </p:nvSpPr>
          <p:spPr>
            <a:xfrm>
              <a:off x="783436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3" name="Полилиния 452">
              <a:extLst>
                <a:ext uri="{FF2B5EF4-FFF2-40B4-BE49-F238E27FC236}">
                  <a16:creationId xmlns:a16="http://schemas.microsoft.com/office/drawing/2014/main" id="{81E5E4F6-B7B7-26AD-EDD2-5370FC214778}"/>
                </a:ext>
              </a:extLst>
            </p:cNvPr>
            <p:cNvSpPr/>
            <p:nvPr/>
          </p:nvSpPr>
          <p:spPr>
            <a:xfrm>
              <a:off x="6807467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4" name="Полилиния 453">
              <a:extLst>
                <a:ext uri="{FF2B5EF4-FFF2-40B4-BE49-F238E27FC236}">
                  <a16:creationId xmlns:a16="http://schemas.microsoft.com/office/drawing/2014/main" id="{17CC793B-78D5-6115-B49A-4E994381256A}"/>
                </a:ext>
              </a:extLst>
            </p:cNvPr>
            <p:cNvSpPr/>
            <p:nvPr/>
          </p:nvSpPr>
          <p:spPr>
            <a:xfrm>
              <a:off x="685210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5" name="Полилиния 454">
              <a:extLst>
                <a:ext uri="{FF2B5EF4-FFF2-40B4-BE49-F238E27FC236}">
                  <a16:creationId xmlns:a16="http://schemas.microsoft.com/office/drawing/2014/main" id="{5BA747D0-0E59-CD2B-CFF1-99F11A45F84D}"/>
                </a:ext>
              </a:extLst>
            </p:cNvPr>
            <p:cNvSpPr/>
            <p:nvPr/>
          </p:nvSpPr>
          <p:spPr>
            <a:xfrm>
              <a:off x="694148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6" name="Полилиния 455">
              <a:extLst>
                <a:ext uri="{FF2B5EF4-FFF2-40B4-BE49-F238E27FC236}">
                  <a16:creationId xmlns:a16="http://schemas.microsoft.com/office/drawing/2014/main" id="{E6BB87AD-64F4-8A71-6187-5070EAC71BBC}"/>
                </a:ext>
              </a:extLst>
            </p:cNvPr>
            <p:cNvSpPr/>
            <p:nvPr/>
          </p:nvSpPr>
          <p:spPr>
            <a:xfrm>
              <a:off x="7075398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7" name="Полилиния 456">
              <a:extLst>
                <a:ext uri="{FF2B5EF4-FFF2-40B4-BE49-F238E27FC236}">
                  <a16:creationId xmlns:a16="http://schemas.microsoft.com/office/drawing/2014/main" id="{15A78737-8226-D178-6B45-21593A86A436}"/>
                </a:ext>
              </a:extLst>
            </p:cNvPr>
            <p:cNvSpPr/>
            <p:nvPr/>
          </p:nvSpPr>
          <p:spPr>
            <a:xfrm>
              <a:off x="716467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8" name="Полилиния 457">
              <a:extLst>
                <a:ext uri="{FF2B5EF4-FFF2-40B4-BE49-F238E27FC236}">
                  <a16:creationId xmlns:a16="http://schemas.microsoft.com/office/drawing/2014/main" id="{7355F47C-7F6D-6FE2-4B47-8BC4541E8C6F}"/>
                </a:ext>
              </a:extLst>
            </p:cNvPr>
            <p:cNvSpPr/>
            <p:nvPr/>
          </p:nvSpPr>
          <p:spPr>
            <a:xfrm>
              <a:off x="720931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9" name="Полилиния 458">
              <a:extLst>
                <a:ext uri="{FF2B5EF4-FFF2-40B4-BE49-F238E27FC236}">
                  <a16:creationId xmlns:a16="http://schemas.microsoft.com/office/drawing/2014/main" id="{8FABF401-7C6C-729E-EE8D-CAC8E4EE9FBF}"/>
                </a:ext>
              </a:extLst>
            </p:cNvPr>
            <p:cNvSpPr/>
            <p:nvPr/>
          </p:nvSpPr>
          <p:spPr>
            <a:xfrm>
              <a:off x="725395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0" name="Полилиния 459">
              <a:extLst>
                <a:ext uri="{FF2B5EF4-FFF2-40B4-BE49-F238E27FC236}">
                  <a16:creationId xmlns:a16="http://schemas.microsoft.com/office/drawing/2014/main" id="{FBEEA746-8928-C6A6-D340-10B98264B288}"/>
                </a:ext>
              </a:extLst>
            </p:cNvPr>
            <p:cNvSpPr/>
            <p:nvPr/>
          </p:nvSpPr>
          <p:spPr>
            <a:xfrm>
              <a:off x="7298594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1" name="Полилиния 460">
              <a:extLst>
                <a:ext uri="{FF2B5EF4-FFF2-40B4-BE49-F238E27FC236}">
                  <a16:creationId xmlns:a16="http://schemas.microsoft.com/office/drawing/2014/main" id="{841DE9F3-AE8A-93D1-42CB-910C4D8C3EB9}"/>
                </a:ext>
              </a:extLst>
            </p:cNvPr>
            <p:cNvSpPr/>
            <p:nvPr/>
          </p:nvSpPr>
          <p:spPr>
            <a:xfrm>
              <a:off x="7343233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2" name="Полилиния 461">
              <a:extLst>
                <a:ext uri="{FF2B5EF4-FFF2-40B4-BE49-F238E27FC236}">
                  <a16:creationId xmlns:a16="http://schemas.microsoft.com/office/drawing/2014/main" id="{CDDAA709-2264-F67B-26C6-F4794758066D}"/>
                </a:ext>
              </a:extLst>
            </p:cNvPr>
            <p:cNvSpPr/>
            <p:nvPr/>
          </p:nvSpPr>
          <p:spPr>
            <a:xfrm>
              <a:off x="743251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3" name="Полилиния 462">
              <a:extLst>
                <a:ext uri="{FF2B5EF4-FFF2-40B4-BE49-F238E27FC236}">
                  <a16:creationId xmlns:a16="http://schemas.microsoft.com/office/drawing/2014/main" id="{C636905F-065B-A932-CD2D-B432AC56340D}"/>
                </a:ext>
              </a:extLst>
            </p:cNvPr>
            <p:cNvSpPr/>
            <p:nvPr/>
          </p:nvSpPr>
          <p:spPr>
            <a:xfrm>
              <a:off x="747715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4" name="Полилиния 463">
              <a:extLst>
                <a:ext uri="{FF2B5EF4-FFF2-40B4-BE49-F238E27FC236}">
                  <a16:creationId xmlns:a16="http://schemas.microsoft.com/office/drawing/2014/main" id="{8591389E-4252-6E01-B112-ABE2106DB9D2}"/>
                </a:ext>
              </a:extLst>
            </p:cNvPr>
            <p:cNvSpPr/>
            <p:nvPr/>
          </p:nvSpPr>
          <p:spPr>
            <a:xfrm>
              <a:off x="752188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5" name="Полилиния 464">
              <a:extLst>
                <a:ext uri="{FF2B5EF4-FFF2-40B4-BE49-F238E27FC236}">
                  <a16:creationId xmlns:a16="http://schemas.microsoft.com/office/drawing/2014/main" id="{75BCF526-4C4F-C4F6-4FDB-C762B9D9FAC7}"/>
                </a:ext>
              </a:extLst>
            </p:cNvPr>
            <p:cNvSpPr/>
            <p:nvPr/>
          </p:nvSpPr>
          <p:spPr>
            <a:xfrm>
              <a:off x="770044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6" name="Полилиния 465">
              <a:extLst>
                <a:ext uri="{FF2B5EF4-FFF2-40B4-BE49-F238E27FC236}">
                  <a16:creationId xmlns:a16="http://schemas.microsoft.com/office/drawing/2014/main" id="{4D30555B-DD67-9838-B708-593CBD6EE873}"/>
                </a:ext>
              </a:extLst>
            </p:cNvPr>
            <p:cNvSpPr/>
            <p:nvPr/>
          </p:nvSpPr>
          <p:spPr>
            <a:xfrm>
              <a:off x="774508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7" name="Полилиния 466">
              <a:extLst>
                <a:ext uri="{FF2B5EF4-FFF2-40B4-BE49-F238E27FC236}">
                  <a16:creationId xmlns:a16="http://schemas.microsoft.com/office/drawing/2014/main" id="{2E56F155-91AA-A49A-7EC1-F17193F6D2BC}"/>
                </a:ext>
              </a:extLst>
            </p:cNvPr>
            <p:cNvSpPr/>
            <p:nvPr/>
          </p:nvSpPr>
          <p:spPr>
            <a:xfrm>
              <a:off x="783436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8" name="Полилиния 467">
              <a:extLst>
                <a:ext uri="{FF2B5EF4-FFF2-40B4-BE49-F238E27FC236}">
                  <a16:creationId xmlns:a16="http://schemas.microsoft.com/office/drawing/2014/main" id="{8DF1466C-57AD-18E0-20C0-AC11DE2DB88D}"/>
                </a:ext>
              </a:extLst>
            </p:cNvPr>
            <p:cNvSpPr/>
            <p:nvPr/>
          </p:nvSpPr>
          <p:spPr>
            <a:xfrm>
              <a:off x="7878999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9" name="Полилиния 468">
              <a:extLst>
                <a:ext uri="{FF2B5EF4-FFF2-40B4-BE49-F238E27FC236}">
                  <a16:creationId xmlns:a16="http://schemas.microsoft.com/office/drawing/2014/main" id="{2DEC2EC7-4385-2241-F109-97F43E5AF3DA}"/>
                </a:ext>
              </a:extLst>
            </p:cNvPr>
            <p:cNvSpPr/>
            <p:nvPr/>
          </p:nvSpPr>
          <p:spPr>
            <a:xfrm>
              <a:off x="6941480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0" name="Полилиния 469">
              <a:extLst>
                <a:ext uri="{FF2B5EF4-FFF2-40B4-BE49-F238E27FC236}">
                  <a16:creationId xmlns:a16="http://schemas.microsoft.com/office/drawing/2014/main" id="{CA00C964-BE88-A067-1987-931BE77B47C5}"/>
                </a:ext>
              </a:extLst>
            </p:cNvPr>
            <p:cNvSpPr/>
            <p:nvPr/>
          </p:nvSpPr>
          <p:spPr>
            <a:xfrm>
              <a:off x="6986119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1" name="Полилиния 470">
              <a:extLst>
                <a:ext uri="{FF2B5EF4-FFF2-40B4-BE49-F238E27FC236}">
                  <a16:creationId xmlns:a16="http://schemas.microsoft.com/office/drawing/2014/main" id="{DF9FE23C-A3B5-7D7C-1989-0F9008AEC848}"/>
                </a:ext>
              </a:extLst>
            </p:cNvPr>
            <p:cNvSpPr/>
            <p:nvPr/>
          </p:nvSpPr>
          <p:spPr>
            <a:xfrm>
              <a:off x="7120037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2" name="Полилиния 471">
              <a:extLst>
                <a:ext uri="{FF2B5EF4-FFF2-40B4-BE49-F238E27FC236}">
                  <a16:creationId xmlns:a16="http://schemas.microsoft.com/office/drawing/2014/main" id="{8C5BDB62-BC4A-26CB-E101-704C3766CF83}"/>
                </a:ext>
              </a:extLst>
            </p:cNvPr>
            <p:cNvSpPr/>
            <p:nvPr/>
          </p:nvSpPr>
          <p:spPr>
            <a:xfrm>
              <a:off x="7253955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3" name="Полилиния 472">
              <a:extLst>
                <a:ext uri="{FF2B5EF4-FFF2-40B4-BE49-F238E27FC236}">
                  <a16:creationId xmlns:a16="http://schemas.microsoft.com/office/drawing/2014/main" id="{64F1D737-1C5C-FEB4-7FBD-E732CD902DEE}"/>
                </a:ext>
              </a:extLst>
            </p:cNvPr>
            <p:cNvSpPr/>
            <p:nvPr/>
          </p:nvSpPr>
          <p:spPr>
            <a:xfrm>
              <a:off x="729859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4" name="Полилиния 473">
              <a:extLst>
                <a:ext uri="{FF2B5EF4-FFF2-40B4-BE49-F238E27FC236}">
                  <a16:creationId xmlns:a16="http://schemas.microsoft.com/office/drawing/2014/main" id="{13167AAA-3418-2BBE-DED7-C5D78A100C44}"/>
                </a:ext>
              </a:extLst>
            </p:cNvPr>
            <p:cNvSpPr/>
            <p:nvPr/>
          </p:nvSpPr>
          <p:spPr>
            <a:xfrm>
              <a:off x="7387872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5" name="Полилиния 474">
              <a:extLst>
                <a:ext uri="{FF2B5EF4-FFF2-40B4-BE49-F238E27FC236}">
                  <a16:creationId xmlns:a16="http://schemas.microsoft.com/office/drawing/2014/main" id="{285D064A-6B35-2F12-71C1-019A0B8FFA7B}"/>
                </a:ext>
              </a:extLst>
            </p:cNvPr>
            <p:cNvSpPr/>
            <p:nvPr/>
          </p:nvSpPr>
          <p:spPr>
            <a:xfrm>
              <a:off x="747715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6" name="Полилиния 475">
              <a:extLst>
                <a:ext uri="{FF2B5EF4-FFF2-40B4-BE49-F238E27FC236}">
                  <a16:creationId xmlns:a16="http://schemas.microsoft.com/office/drawing/2014/main" id="{3AAF8AFA-4104-25E9-F3CC-C82665C180DB}"/>
                </a:ext>
              </a:extLst>
            </p:cNvPr>
            <p:cNvSpPr/>
            <p:nvPr/>
          </p:nvSpPr>
          <p:spPr>
            <a:xfrm>
              <a:off x="756652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7" name="Полилиния 476">
              <a:extLst>
                <a:ext uri="{FF2B5EF4-FFF2-40B4-BE49-F238E27FC236}">
                  <a16:creationId xmlns:a16="http://schemas.microsoft.com/office/drawing/2014/main" id="{4FF0844A-671B-CE89-CF8E-9B8B53DCC60C}"/>
                </a:ext>
              </a:extLst>
            </p:cNvPr>
            <p:cNvSpPr/>
            <p:nvPr/>
          </p:nvSpPr>
          <p:spPr>
            <a:xfrm>
              <a:off x="761116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8" name="Полилиния 477">
              <a:extLst>
                <a:ext uri="{FF2B5EF4-FFF2-40B4-BE49-F238E27FC236}">
                  <a16:creationId xmlns:a16="http://schemas.microsoft.com/office/drawing/2014/main" id="{77122892-E075-32BC-D39E-553D417EFECE}"/>
                </a:ext>
              </a:extLst>
            </p:cNvPr>
            <p:cNvSpPr/>
            <p:nvPr/>
          </p:nvSpPr>
          <p:spPr>
            <a:xfrm>
              <a:off x="774508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9" name="Полилиния 478">
              <a:extLst>
                <a:ext uri="{FF2B5EF4-FFF2-40B4-BE49-F238E27FC236}">
                  <a16:creationId xmlns:a16="http://schemas.microsoft.com/office/drawing/2014/main" id="{575BC9A0-D979-2EF9-6F41-58DC6EB6CA8A}"/>
                </a:ext>
              </a:extLst>
            </p:cNvPr>
            <p:cNvSpPr/>
            <p:nvPr/>
          </p:nvSpPr>
          <p:spPr>
            <a:xfrm>
              <a:off x="6852106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0" name="Полилиния 479">
              <a:extLst>
                <a:ext uri="{FF2B5EF4-FFF2-40B4-BE49-F238E27FC236}">
                  <a16:creationId xmlns:a16="http://schemas.microsoft.com/office/drawing/2014/main" id="{97C3DCC2-822C-66B2-5613-48168EAAB2D6}"/>
                </a:ext>
              </a:extLst>
            </p:cNvPr>
            <p:cNvSpPr/>
            <p:nvPr/>
          </p:nvSpPr>
          <p:spPr>
            <a:xfrm>
              <a:off x="6896841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1" name="Полилиния 480">
              <a:extLst>
                <a:ext uri="{FF2B5EF4-FFF2-40B4-BE49-F238E27FC236}">
                  <a16:creationId xmlns:a16="http://schemas.microsoft.com/office/drawing/2014/main" id="{11AA8A76-7014-2C95-9542-722D2F4C0298}"/>
                </a:ext>
              </a:extLst>
            </p:cNvPr>
            <p:cNvSpPr/>
            <p:nvPr/>
          </p:nvSpPr>
          <p:spPr>
            <a:xfrm>
              <a:off x="698611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2" name="Полилиния 481">
              <a:extLst>
                <a:ext uri="{FF2B5EF4-FFF2-40B4-BE49-F238E27FC236}">
                  <a16:creationId xmlns:a16="http://schemas.microsoft.com/office/drawing/2014/main" id="{BA71871B-B108-99AF-8041-95E6BC728298}"/>
                </a:ext>
              </a:extLst>
            </p:cNvPr>
            <p:cNvSpPr/>
            <p:nvPr/>
          </p:nvSpPr>
          <p:spPr>
            <a:xfrm>
              <a:off x="703075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3" name="Полилиния 482">
              <a:extLst>
                <a:ext uri="{FF2B5EF4-FFF2-40B4-BE49-F238E27FC236}">
                  <a16:creationId xmlns:a16="http://schemas.microsoft.com/office/drawing/2014/main" id="{E2D82460-7BBD-7B17-F6A2-EF597BCA96DB}"/>
                </a:ext>
              </a:extLst>
            </p:cNvPr>
            <p:cNvSpPr/>
            <p:nvPr/>
          </p:nvSpPr>
          <p:spPr>
            <a:xfrm>
              <a:off x="707539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4" name="Полилиния 483">
              <a:extLst>
                <a:ext uri="{FF2B5EF4-FFF2-40B4-BE49-F238E27FC236}">
                  <a16:creationId xmlns:a16="http://schemas.microsoft.com/office/drawing/2014/main" id="{9B00D409-924C-49A4-75AA-87A08E2E5092}"/>
                </a:ext>
              </a:extLst>
            </p:cNvPr>
            <p:cNvSpPr/>
            <p:nvPr/>
          </p:nvSpPr>
          <p:spPr>
            <a:xfrm>
              <a:off x="720931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5" name="Полилиния 484">
              <a:extLst>
                <a:ext uri="{FF2B5EF4-FFF2-40B4-BE49-F238E27FC236}">
                  <a16:creationId xmlns:a16="http://schemas.microsoft.com/office/drawing/2014/main" id="{7E088035-55AF-F91A-14DC-104BAF880600}"/>
                </a:ext>
              </a:extLst>
            </p:cNvPr>
            <p:cNvSpPr/>
            <p:nvPr/>
          </p:nvSpPr>
          <p:spPr>
            <a:xfrm>
              <a:off x="725395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6" name="Полилиния 485">
              <a:extLst>
                <a:ext uri="{FF2B5EF4-FFF2-40B4-BE49-F238E27FC236}">
                  <a16:creationId xmlns:a16="http://schemas.microsoft.com/office/drawing/2014/main" id="{A0507027-0199-4104-7FA1-F232B225A01B}"/>
                </a:ext>
              </a:extLst>
            </p:cNvPr>
            <p:cNvSpPr/>
            <p:nvPr/>
          </p:nvSpPr>
          <p:spPr>
            <a:xfrm>
              <a:off x="738787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7" name="Полилиния 486">
              <a:extLst>
                <a:ext uri="{FF2B5EF4-FFF2-40B4-BE49-F238E27FC236}">
                  <a16:creationId xmlns:a16="http://schemas.microsoft.com/office/drawing/2014/main" id="{87A68F4B-04FF-047F-C8C5-FF157F19E543}"/>
                </a:ext>
              </a:extLst>
            </p:cNvPr>
            <p:cNvSpPr/>
            <p:nvPr/>
          </p:nvSpPr>
          <p:spPr>
            <a:xfrm>
              <a:off x="752188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8" name="Полилиния 487">
              <a:extLst>
                <a:ext uri="{FF2B5EF4-FFF2-40B4-BE49-F238E27FC236}">
                  <a16:creationId xmlns:a16="http://schemas.microsoft.com/office/drawing/2014/main" id="{3557CD1C-CB21-C5FA-DC8A-BFCDED1BCDD9}"/>
                </a:ext>
              </a:extLst>
            </p:cNvPr>
            <p:cNvSpPr/>
            <p:nvPr/>
          </p:nvSpPr>
          <p:spPr>
            <a:xfrm>
              <a:off x="770044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9" name="Полилиния 488">
              <a:extLst>
                <a:ext uri="{FF2B5EF4-FFF2-40B4-BE49-F238E27FC236}">
                  <a16:creationId xmlns:a16="http://schemas.microsoft.com/office/drawing/2014/main" id="{8A2D6F85-BCA9-075E-D1EC-4FC62C9AB006}"/>
                </a:ext>
              </a:extLst>
            </p:cNvPr>
            <p:cNvSpPr/>
            <p:nvPr/>
          </p:nvSpPr>
          <p:spPr>
            <a:xfrm>
              <a:off x="787899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0" name="Полилиния 489">
              <a:extLst>
                <a:ext uri="{FF2B5EF4-FFF2-40B4-BE49-F238E27FC236}">
                  <a16:creationId xmlns:a16="http://schemas.microsoft.com/office/drawing/2014/main" id="{6E79BB0A-5B6D-7C86-4391-A8E152EB2152}"/>
                </a:ext>
              </a:extLst>
            </p:cNvPr>
            <p:cNvSpPr/>
            <p:nvPr/>
          </p:nvSpPr>
          <p:spPr>
            <a:xfrm>
              <a:off x="645339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4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1" name="Полилиния 490">
              <a:extLst>
                <a:ext uri="{FF2B5EF4-FFF2-40B4-BE49-F238E27FC236}">
                  <a16:creationId xmlns:a16="http://schemas.microsoft.com/office/drawing/2014/main" id="{979D0133-9BF5-8A5C-58C0-F40EB6B663B7}"/>
                </a:ext>
              </a:extLst>
            </p:cNvPr>
            <p:cNvSpPr/>
            <p:nvPr/>
          </p:nvSpPr>
          <p:spPr>
            <a:xfrm>
              <a:off x="761420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4" y="0"/>
                    <a:pt x="0" y="68364"/>
                    <a:pt x="0" y="152659"/>
                  </a:cubicBezTo>
                  <a:cubicBezTo>
                    <a:pt x="0" y="236953"/>
                    <a:pt x="68624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2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2" name="Полилиния 491">
              <a:extLst>
                <a:ext uri="{FF2B5EF4-FFF2-40B4-BE49-F238E27FC236}">
                  <a16:creationId xmlns:a16="http://schemas.microsoft.com/office/drawing/2014/main" id="{A055C0CB-0CAB-F054-F33E-CE72D713A0E0}"/>
                </a:ext>
              </a:extLst>
            </p:cNvPr>
            <p:cNvSpPr/>
            <p:nvPr/>
          </p:nvSpPr>
          <p:spPr>
            <a:xfrm>
              <a:off x="6453399" y="3843927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5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5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3" name="Полилиния 492">
              <a:extLst>
                <a:ext uri="{FF2B5EF4-FFF2-40B4-BE49-F238E27FC236}">
                  <a16:creationId xmlns:a16="http://schemas.microsoft.com/office/drawing/2014/main" id="{C10E9D75-E8E0-EEEF-40E1-2DFEB1E1BF4F}"/>
                </a:ext>
              </a:extLst>
            </p:cNvPr>
            <p:cNvSpPr/>
            <p:nvPr/>
          </p:nvSpPr>
          <p:spPr>
            <a:xfrm>
              <a:off x="6539631" y="2773421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4" name="Полилиния 493">
              <a:extLst>
                <a:ext uri="{FF2B5EF4-FFF2-40B4-BE49-F238E27FC236}">
                  <a16:creationId xmlns:a16="http://schemas.microsoft.com/office/drawing/2014/main" id="{5437FE94-FFAB-980F-5E9D-90418BF04D8F}"/>
                </a:ext>
              </a:extLst>
            </p:cNvPr>
            <p:cNvSpPr/>
            <p:nvPr/>
          </p:nvSpPr>
          <p:spPr>
            <a:xfrm>
              <a:off x="7700442" y="2773421"/>
              <a:ext cx="131347" cy="130850"/>
            </a:xfrm>
            <a:custGeom>
              <a:avLst/>
              <a:gdLst>
                <a:gd name="connsiteX0" fmla="*/ 131348 w 131347"/>
                <a:gd name="connsiteY0" fmla="*/ 65425 h 130850"/>
                <a:gd name="connsiteX1" fmla="*/ 65674 w 131347"/>
                <a:gd name="connsiteY1" fmla="*/ 130850 h 130850"/>
                <a:gd name="connsiteX2" fmla="*/ 0 w 131347"/>
                <a:gd name="connsiteY2" fmla="*/ 65425 h 130850"/>
                <a:gd name="connsiteX3" fmla="*/ 65674 w 131347"/>
                <a:gd name="connsiteY3" fmla="*/ 0 h 130850"/>
                <a:gd name="connsiteX4" fmla="*/ 131348 w 131347"/>
                <a:gd name="connsiteY4" fmla="*/ 65425 h 130850"/>
                <a:gd name="connsiteX5" fmla="*/ 131348 w 131347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7" h="130850">
                  <a:moveTo>
                    <a:pt x="131348" y="65425"/>
                  </a:moveTo>
                  <a:cubicBezTo>
                    <a:pt x="131348" y="101551"/>
                    <a:pt x="101937" y="130850"/>
                    <a:pt x="65674" y="130850"/>
                  </a:cubicBezTo>
                  <a:cubicBezTo>
                    <a:pt x="29410" y="130850"/>
                    <a:pt x="0" y="101551"/>
                    <a:pt x="0" y="65425"/>
                  </a:cubicBezTo>
                  <a:cubicBezTo>
                    <a:pt x="0" y="29299"/>
                    <a:pt x="29410" y="0"/>
                    <a:pt x="65674" y="0"/>
                  </a:cubicBezTo>
                  <a:cubicBezTo>
                    <a:pt x="101937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5" name="Полилиния 494">
              <a:extLst>
                <a:ext uri="{FF2B5EF4-FFF2-40B4-BE49-F238E27FC236}">
                  <a16:creationId xmlns:a16="http://schemas.microsoft.com/office/drawing/2014/main" id="{59E83F1E-22EB-67B1-4EAF-FCC9F71C4A11}"/>
                </a:ext>
              </a:extLst>
            </p:cNvPr>
            <p:cNvSpPr/>
            <p:nvPr/>
          </p:nvSpPr>
          <p:spPr>
            <a:xfrm>
              <a:off x="6539631" y="3929834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6" name="Полилиния 495">
              <a:extLst>
                <a:ext uri="{FF2B5EF4-FFF2-40B4-BE49-F238E27FC236}">
                  <a16:creationId xmlns:a16="http://schemas.microsoft.com/office/drawing/2014/main" id="{289DBC7F-B6D3-3DD0-1EC7-EE1417318E56}"/>
                </a:ext>
              </a:extLst>
            </p:cNvPr>
            <p:cNvSpPr/>
            <p:nvPr/>
          </p:nvSpPr>
          <p:spPr>
            <a:xfrm>
              <a:off x="6941480" y="3173652"/>
              <a:ext cx="491126" cy="489266"/>
            </a:xfrm>
            <a:custGeom>
              <a:avLst/>
              <a:gdLst>
                <a:gd name="connsiteX0" fmla="*/ 0 w 491126"/>
                <a:gd name="connsiteY0" fmla="*/ 244633 h 489266"/>
                <a:gd name="connsiteX1" fmla="*/ 245564 w 491126"/>
                <a:gd name="connsiteY1" fmla="*/ 0 h 489266"/>
                <a:gd name="connsiteX2" fmla="*/ 491127 w 491126"/>
                <a:gd name="connsiteY2" fmla="*/ 244633 h 489266"/>
                <a:gd name="connsiteX3" fmla="*/ 245564 w 491126"/>
                <a:gd name="connsiteY3" fmla="*/ 489266 h 489266"/>
                <a:gd name="connsiteX4" fmla="*/ 0 w 491126"/>
                <a:gd name="connsiteY4" fmla="*/ 244633 h 489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126" h="489266">
                  <a:moveTo>
                    <a:pt x="0" y="244633"/>
                  </a:moveTo>
                  <a:cubicBezTo>
                    <a:pt x="0" y="109516"/>
                    <a:pt x="109933" y="0"/>
                    <a:pt x="245564" y="0"/>
                  </a:cubicBezTo>
                  <a:cubicBezTo>
                    <a:pt x="381194" y="0"/>
                    <a:pt x="491127" y="109516"/>
                    <a:pt x="491127" y="244633"/>
                  </a:cubicBezTo>
                  <a:cubicBezTo>
                    <a:pt x="491127" y="379750"/>
                    <a:pt x="381194" y="489266"/>
                    <a:pt x="245564" y="489266"/>
                  </a:cubicBezTo>
                  <a:cubicBezTo>
                    <a:pt x="109933" y="489266"/>
                    <a:pt x="0" y="379750"/>
                    <a:pt x="0" y="244633"/>
                  </a:cubicBezTo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7" name="Полилиния 496">
              <a:extLst>
                <a:ext uri="{FF2B5EF4-FFF2-40B4-BE49-F238E27FC236}">
                  <a16:creationId xmlns:a16="http://schemas.microsoft.com/office/drawing/2014/main" id="{E8411FAD-9461-81FE-1B02-F7E74C18B7BD}"/>
                </a:ext>
              </a:extLst>
            </p:cNvPr>
            <p:cNvSpPr/>
            <p:nvPr/>
          </p:nvSpPr>
          <p:spPr>
            <a:xfrm>
              <a:off x="7002815" y="3284324"/>
              <a:ext cx="323875" cy="267920"/>
            </a:xfrm>
            <a:custGeom>
              <a:avLst/>
              <a:gdLst>
                <a:gd name="connsiteX0" fmla="*/ 323762 w 323875"/>
                <a:gd name="connsiteY0" fmla="*/ 26057 h 267920"/>
                <a:gd name="connsiteX1" fmla="*/ 315671 w 323875"/>
                <a:gd name="connsiteY1" fmla="*/ 82284 h 267920"/>
                <a:gd name="connsiteX2" fmla="*/ 292257 w 323875"/>
                <a:gd name="connsiteY2" fmla="*/ 235227 h 267920"/>
                <a:gd name="connsiteX3" fmla="*/ 286165 w 323875"/>
                <a:gd name="connsiteY3" fmla="*/ 254665 h 267920"/>
                <a:gd name="connsiteX4" fmla="*/ 258944 w 323875"/>
                <a:gd name="connsiteY4" fmla="*/ 266518 h 267920"/>
                <a:gd name="connsiteX5" fmla="*/ 236101 w 323875"/>
                <a:gd name="connsiteY5" fmla="*/ 255329 h 267920"/>
                <a:gd name="connsiteX6" fmla="*/ 151106 w 323875"/>
                <a:gd name="connsiteY6" fmla="*/ 198438 h 267920"/>
                <a:gd name="connsiteX7" fmla="*/ 147965 w 323875"/>
                <a:gd name="connsiteY7" fmla="*/ 166578 h 267920"/>
                <a:gd name="connsiteX8" fmla="*/ 197934 w 323875"/>
                <a:gd name="connsiteY8" fmla="*/ 119927 h 267920"/>
                <a:gd name="connsiteX9" fmla="*/ 236196 w 323875"/>
                <a:gd name="connsiteY9" fmla="*/ 83517 h 267920"/>
                <a:gd name="connsiteX10" fmla="*/ 241050 w 323875"/>
                <a:gd name="connsiteY10" fmla="*/ 78207 h 267920"/>
                <a:gd name="connsiteX11" fmla="*/ 242668 w 323875"/>
                <a:gd name="connsiteY11" fmla="*/ 69389 h 267920"/>
                <a:gd name="connsiteX12" fmla="*/ 233626 w 323875"/>
                <a:gd name="connsiteY12" fmla="*/ 69484 h 267920"/>
                <a:gd name="connsiteX13" fmla="*/ 190129 w 323875"/>
                <a:gd name="connsiteY13" fmla="*/ 98403 h 267920"/>
                <a:gd name="connsiteX14" fmla="*/ 115794 w 323875"/>
                <a:gd name="connsiteY14" fmla="*/ 149226 h 267920"/>
                <a:gd name="connsiteX15" fmla="*/ 98757 w 323875"/>
                <a:gd name="connsiteY15" fmla="*/ 158614 h 267920"/>
                <a:gd name="connsiteX16" fmla="*/ 66777 w 323875"/>
                <a:gd name="connsiteY16" fmla="*/ 160889 h 267920"/>
                <a:gd name="connsiteX17" fmla="*/ 15284 w 323875"/>
                <a:gd name="connsiteY17" fmla="*/ 146666 h 267920"/>
                <a:gd name="connsiteX18" fmla="*/ 4719 w 323875"/>
                <a:gd name="connsiteY18" fmla="*/ 141831 h 267920"/>
                <a:gd name="connsiteX19" fmla="*/ 3101 w 323875"/>
                <a:gd name="connsiteY19" fmla="*/ 127608 h 267920"/>
                <a:gd name="connsiteX20" fmla="*/ 16331 w 323875"/>
                <a:gd name="connsiteY20" fmla="*/ 118790 h 267920"/>
                <a:gd name="connsiteX21" fmla="*/ 281216 w 323875"/>
                <a:gd name="connsiteY21" fmla="*/ 6808 h 267920"/>
                <a:gd name="connsiteX22" fmla="*/ 299110 w 323875"/>
                <a:gd name="connsiteY22" fmla="*/ 835 h 267920"/>
                <a:gd name="connsiteX23" fmla="*/ 323857 w 323875"/>
                <a:gd name="connsiteY23" fmla="*/ 25962 h 26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23875" h="267920">
                  <a:moveTo>
                    <a:pt x="323762" y="26057"/>
                  </a:moveTo>
                  <a:cubicBezTo>
                    <a:pt x="321477" y="41986"/>
                    <a:pt x="318717" y="62183"/>
                    <a:pt x="315671" y="82284"/>
                  </a:cubicBezTo>
                  <a:cubicBezTo>
                    <a:pt x="307962" y="133297"/>
                    <a:pt x="300252" y="184215"/>
                    <a:pt x="292257" y="235227"/>
                  </a:cubicBezTo>
                  <a:cubicBezTo>
                    <a:pt x="291210" y="241865"/>
                    <a:pt x="289116" y="248597"/>
                    <a:pt x="286165" y="254665"/>
                  </a:cubicBezTo>
                  <a:cubicBezTo>
                    <a:pt x="280645" y="266138"/>
                    <a:pt x="271032" y="270405"/>
                    <a:pt x="258944" y="266518"/>
                  </a:cubicBezTo>
                  <a:cubicBezTo>
                    <a:pt x="250949" y="263863"/>
                    <a:pt x="243144" y="259880"/>
                    <a:pt x="236101" y="255329"/>
                  </a:cubicBezTo>
                  <a:cubicBezTo>
                    <a:pt x="207547" y="236650"/>
                    <a:pt x="179374" y="217496"/>
                    <a:pt x="151106" y="198438"/>
                  </a:cubicBezTo>
                  <a:cubicBezTo>
                    <a:pt x="137781" y="189525"/>
                    <a:pt x="136353" y="177767"/>
                    <a:pt x="147965" y="166578"/>
                  </a:cubicBezTo>
                  <a:cubicBezTo>
                    <a:pt x="164336" y="150744"/>
                    <a:pt x="181278" y="135478"/>
                    <a:pt x="197934" y="119927"/>
                  </a:cubicBezTo>
                  <a:cubicBezTo>
                    <a:pt x="210783" y="107885"/>
                    <a:pt x="223442" y="95748"/>
                    <a:pt x="236196" y="83517"/>
                  </a:cubicBezTo>
                  <a:cubicBezTo>
                    <a:pt x="237909" y="81810"/>
                    <a:pt x="239432" y="80009"/>
                    <a:pt x="241050" y="78207"/>
                  </a:cubicBezTo>
                  <a:cubicBezTo>
                    <a:pt x="243335" y="75552"/>
                    <a:pt x="245524" y="72613"/>
                    <a:pt x="242668" y="69389"/>
                  </a:cubicBezTo>
                  <a:cubicBezTo>
                    <a:pt x="239908" y="66165"/>
                    <a:pt x="236482" y="67587"/>
                    <a:pt x="233626" y="69484"/>
                  </a:cubicBezTo>
                  <a:cubicBezTo>
                    <a:pt x="219064" y="79060"/>
                    <a:pt x="204501" y="88637"/>
                    <a:pt x="190129" y="98403"/>
                  </a:cubicBezTo>
                  <a:cubicBezTo>
                    <a:pt x="165288" y="115281"/>
                    <a:pt x="140636" y="132443"/>
                    <a:pt x="115794" y="149226"/>
                  </a:cubicBezTo>
                  <a:cubicBezTo>
                    <a:pt x="110464" y="152830"/>
                    <a:pt x="104658" y="155864"/>
                    <a:pt x="98757" y="158614"/>
                  </a:cubicBezTo>
                  <a:cubicBezTo>
                    <a:pt x="88478" y="163449"/>
                    <a:pt x="77912" y="164208"/>
                    <a:pt x="66777" y="160889"/>
                  </a:cubicBezTo>
                  <a:cubicBezTo>
                    <a:pt x="49739" y="155769"/>
                    <a:pt x="32417" y="151502"/>
                    <a:pt x="15284" y="146666"/>
                  </a:cubicBezTo>
                  <a:cubicBezTo>
                    <a:pt x="11572" y="145623"/>
                    <a:pt x="7955" y="143917"/>
                    <a:pt x="4719" y="141831"/>
                  </a:cubicBezTo>
                  <a:cubicBezTo>
                    <a:pt x="-801" y="138133"/>
                    <a:pt x="-1658" y="132254"/>
                    <a:pt x="3101" y="127608"/>
                  </a:cubicBezTo>
                  <a:cubicBezTo>
                    <a:pt x="6909" y="124005"/>
                    <a:pt x="11477" y="120781"/>
                    <a:pt x="16331" y="118790"/>
                  </a:cubicBezTo>
                  <a:cubicBezTo>
                    <a:pt x="104563" y="81336"/>
                    <a:pt x="192890" y="44072"/>
                    <a:pt x="281216" y="6808"/>
                  </a:cubicBezTo>
                  <a:cubicBezTo>
                    <a:pt x="287022" y="4343"/>
                    <a:pt x="293018" y="2162"/>
                    <a:pt x="299110" y="835"/>
                  </a:cubicBezTo>
                  <a:cubicBezTo>
                    <a:pt x="315766" y="-2674"/>
                    <a:pt x="324333" y="4722"/>
                    <a:pt x="323857" y="25962"/>
                  </a:cubicBezTo>
                  <a:close/>
                </a:path>
              </a:pathLst>
            </a:custGeom>
            <a:solidFill>
              <a:schemeClr val="tx2"/>
            </a:solidFill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498" name="Полилиния 497">
            <a:extLst>
              <a:ext uri="{FF2B5EF4-FFF2-40B4-BE49-F238E27FC236}">
                <a16:creationId xmlns:a16="http://schemas.microsoft.com/office/drawing/2014/main" id="{E89F4E4E-82BC-A8D1-8F97-50BDC7F86DEE}"/>
              </a:ext>
            </a:extLst>
          </p:cNvPr>
          <p:cNvSpPr/>
          <p:nvPr/>
        </p:nvSpPr>
        <p:spPr>
          <a:xfrm>
            <a:off x="7919928" y="813331"/>
            <a:ext cx="1248421" cy="1243612"/>
          </a:xfrm>
          <a:custGeom>
            <a:avLst/>
            <a:gdLst>
              <a:gd name="connsiteX0" fmla="*/ 564796 w 1485658"/>
              <a:gd name="connsiteY0" fmla="*/ 0 h 1479935"/>
              <a:gd name="connsiteX1" fmla="*/ 595348 w 1485658"/>
              <a:gd name="connsiteY1" fmla="*/ 30437 h 1479935"/>
              <a:gd name="connsiteX2" fmla="*/ 564796 w 1485658"/>
              <a:gd name="connsiteY2" fmla="*/ 60874 h 1479935"/>
              <a:gd name="connsiteX3" fmla="*/ 534243 w 1485658"/>
              <a:gd name="connsiteY3" fmla="*/ 30437 h 1479935"/>
              <a:gd name="connsiteX4" fmla="*/ 564796 w 1485658"/>
              <a:gd name="connsiteY4" fmla="*/ 0 h 1479935"/>
              <a:gd name="connsiteX5" fmla="*/ 593635 w 1485658"/>
              <a:gd name="connsiteY5" fmla="*/ 30437 h 1479935"/>
              <a:gd name="connsiteX6" fmla="*/ 624188 w 1485658"/>
              <a:gd name="connsiteY6" fmla="*/ 60874 h 1479935"/>
              <a:gd name="connsiteX7" fmla="*/ 654740 w 1485658"/>
              <a:gd name="connsiteY7" fmla="*/ 30437 h 1479935"/>
              <a:gd name="connsiteX8" fmla="*/ 624188 w 1485658"/>
              <a:gd name="connsiteY8" fmla="*/ 0 h 1479935"/>
              <a:gd name="connsiteX9" fmla="*/ 593635 w 1485658"/>
              <a:gd name="connsiteY9" fmla="*/ 30437 h 1479935"/>
              <a:gd name="connsiteX10" fmla="*/ 652932 w 1485658"/>
              <a:gd name="connsiteY10" fmla="*/ 30437 h 1479935"/>
              <a:gd name="connsiteX11" fmla="*/ 683485 w 1485658"/>
              <a:gd name="connsiteY11" fmla="*/ 60874 h 1479935"/>
              <a:gd name="connsiteX12" fmla="*/ 714037 w 1485658"/>
              <a:gd name="connsiteY12" fmla="*/ 30437 h 1479935"/>
              <a:gd name="connsiteX13" fmla="*/ 683485 w 1485658"/>
              <a:gd name="connsiteY13" fmla="*/ 0 h 1479935"/>
              <a:gd name="connsiteX14" fmla="*/ 652932 w 1485658"/>
              <a:gd name="connsiteY14" fmla="*/ 30437 h 1479935"/>
              <a:gd name="connsiteX15" fmla="*/ 831013 w 1485658"/>
              <a:gd name="connsiteY15" fmla="*/ 30437 h 1479935"/>
              <a:gd name="connsiteX16" fmla="*/ 861566 w 1485658"/>
              <a:gd name="connsiteY16" fmla="*/ 60874 h 1479935"/>
              <a:gd name="connsiteX17" fmla="*/ 892118 w 1485658"/>
              <a:gd name="connsiteY17" fmla="*/ 30437 h 1479935"/>
              <a:gd name="connsiteX18" fmla="*/ 861566 w 1485658"/>
              <a:gd name="connsiteY18" fmla="*/ 0 h 1479935"/>
              <a:gd name="connsiteX19" fmla="*/ 831013 w 1485658"/>
              <a:gd name="connsiteY19" fmla="*/ 30437 h 1479935"/>
              <a:gd name="connsiteX20" fmla="*/ 949702 w 1485658"/>
              <a:gd name="connsiteY20" fmla="*/ 30437 h 1479935"/>
              <a:gd name="connsiteX21" fmla="*/ 980255 w 1485658"/>
              <a:gd name="connsiteY21" fmla="*/ 60874 h 1479935"/>
              <a:gd name="connsiteX22" fmla="*/ 1010807 w 1485658"/>
              <a:gd name="connsiteY22" fmla="*/ 30437 h 1479935"/>
              <a:gd name="connsiteX23" fmla="*/ 980255 w 1485658"/>
              <a:gd name="connsiteY23" fmla="*/ 0 h 1479935"/>
              <a:gd name="connsiteX24" fmla="*/ 949702 w 1485658"/>
              <a:gd name="connsiteY24" fmla="*/ 30437 h 1479935"/>
              <a:gd name="connsiteX25" fmla="*/ 593635 w 1485658"/>
              <a:gd name="connsiteY25" fmla="*/ 89509 h 1479935"/>
              <a:gd name="connsiteX26" fmla="*/ 624188 w 1485658"/>
              <a:gd name="connsiteY26" fmla="*/ 119946 h 1479935"/>
              <a:gd name="connsiteX27" fmla="*/ 654740 w 1485658"/>
              <a:gd name="connsiteY27" fmla="*/ 89509 h 1479935"/>
              <a:gd name="connsiteX28" fmla="*/ 624188 w 1485658"/>
              <a:gd name="connsiteY28" fmla="*/ 59072 h 1479935"/>
              <a:gd name="connsiteX29" fmla="*/ 593635 w 1485658"/>
              <a:gd name="connsiteY29" fmla="*/ 89509 h 1479935"/>
              <a:gd name="connsiteX30" fmla="*/ 771621 w 1485658"/>
              <a:gd name="connsiteY30" fmla="*/ 89509 h 1479935"/>
              <a:gd name="connsiteX31" fmla="*/ 802174 w 1485658"/>
              <a:gd name="connsiteY31" fmla="*/ 119946 h 1479935"/>
              <a:gd name="connsiteX32" fmla="*/ 832726 w 1485658"/>
              <a:gd name="connsiteY32" fmla="*/ 89509 h 1479935"/>
              <a:gd name="connsiteX33" fmla="*/ 802174 w 1485658"/>
              <a:gd name="connsiteY33" fmla="*/ 59072 h 1479935"/>
              <a:gd name="connsiteX34" fmla="*/ 771621 w 1485658"/>
              <a:gd name="connsiteY34" fmla="*/ 89509 h 1479935"/>
              <a:gd name="connsiteX35" fmla="*/ 890310 w 1485658"/>
              <a:gd name="connsiteY35" fmla="*/ 89509 h 1479935"/>
              <a:gd name="connsiteX36" fmla="*/ 920863 w 1485658"/>
              <a:gd name="connsiteY36" fmla="*/ 119946 h 1479935"/>
              <a:gd name="connsiteX37" fmla="*/ 951415 w 1485658"/>
              <a:gd name="connsiteY37" fmla="*/ 89509 h 1479935"/>
              <a:gd name="connsiteX38" fmla="*/ 920863 w 1485658"/>
              <a:gd name="connsiteY38" fmla="*/ 59072 h 1479935"/>
              <a:gd name="connsiteX39" fmla="*/ 890310 w 1485658"/>
              <a:gd name="connsiteY39" fmla="*/ 89509 h 1479935"/>
              <a:gd name="connsiteX40" fmla="*/ 474851 w 1485658"/>
              <a:gd name="connsiteY40" fmla="*/ 148676 h 1479935"/>
              <a:gd name="connsiteX41" fmla="*/ 505404 w 1485658"/>
              <a:gd name="connsiteY41" fmla="*/ 179113 h 1479935"/>
              <a:gd name="connsiteX42" fmla="*/ 535956 w 1485658"/>
              <a:gd name="connsiteY42" fmla="*/ 148676 h 1479935"/>
              <a:gd name="connsiteX43" fmla="*/ 505404 w 1485658"/>
              <a:gd name="connsiteY43" fmla="*/ 118239 h 1479935"/>
              <a:gd name="connsiteX44" fmla="*/ 474851 w 1485658"/>
              <a:gd name="connsiteY44" fmla="*/ 148676 h 1479935"/>
              <a:gd name="connsiteX45" fmla="*/ 712324 w 1485658"/>
              <a:gd name="connsiteY45" fmla="*/ 148676 h 1479935"/>
              <a:gd name="connsiteX46" fmla="*/ 742877 w 1485658"/>
              <a:gd name="connsiteY46" fmla="*/ 179113 h 1479935"/>
              <a:gd name="connsiteX47" fmla="*/ 773429 w 1485658"/>
              <a:gd name="connsiteY47" fmla="*/ 148676 h 1479935"/>
              <a:gd name="connsiteX48" fmla="*/ 742877 w 1485658"/>
              <a:gd name="connsiteY48" fmla="*/ 118239 h 1479935"/>
              <a:gd name="connsiteX49" fmla="*/ 712324 w 1485658"/>
              <a:gd name="connsiteY49" fmla="*/ 148676 h 1479935"/>
              <a:gd name="connsiteX50" fmla="*/ 949702 w 1485658"/>
              <a:gd name="connsiteY50" fmla="*/ 148676 h 1479935"/>
              <a:gd name="connsiteX51" fmla="*/ 980255 w 1485658"/>
              <a:gd name="connsiteY51" fmla="*/ 179113 h 1479935"/>
              <a:gd name="connsiteX52" fmla="*/ 1010807 w 1485658"/>
              <a:gd name="connsiteY52" fmla="*/ 148676 h 1479935"/>
              <a:gd name="connsiteX53" fmla="*/ 980255 w 1485658"/>
              <a:gd name="connsiteY53" fmla="*/ 118239 h 1479935"/>
              <a:gd name="connsiteX54" fmla="*/ 949702 w 1485658"/>
              <a:gd name="connsiteY54" fmla="*/ 148676 h 1479935"/>
              <a:gd name="connsiteX55" fmla="*/ 474851 w 1485658"/>
              <a:gd name="connsiteY55" fmla="*/ 207843 h 1479935"/>
              <a:gd name="connsiteX56" fmla="*/ 505404 w 1485658"/>
              <a:gd name="connsiteY56" fmla="*/ 238280 h 1479935"/>
              <a:gd name="connsiteX57" fmla="*/ 535956 w 1485658"/>
              <a:gd name="connsiteY57" fmla="*/ 207843 h 1479935"/>
              <a:gd name="connsiteX58" fmla="*/ 505404 w 1485658"/>
              <a:gd name="connsiteY58" fmla="*/ 177406 h 1479935"/>
              <a:gd name="connsiteX59" fmla="*/ 474851 w 1485658"/>
              <a:gd name="connsiteY59" fmla="*/ 207843 h 1479935"/>
              <a:gd name="connsiteX60" fmla="*/ 534243 w 1485658"/>
              <a:gd name="connsiteY60" fmla="*/ 207843 h 1479935"/>
              <a:gd name="connsiteX61" fmla="*/ 564796 w 1485658"/>
              <a:gd name="connsiteY61" fmla="*/ 238280 h 1479935"/>
              <a:gd name="connsiteX62" fmla="*/ 595348 w 1485658"/>
              <a:gd name="connsiteY62" fmla="*/ 207843 h 1479935"/>
              <a:gd name="connsiteX63" fmla="*/ 564796 w 1485658"/>
              <a:gd name="connsiteY63" fmla="*/ 177406 h 1479935"/>
              <a:gd name="connsiteX64" fmla="*/ 534243 w 1485658"/>
              <a:gd name="connsiteY64" fmla="*/ 207843 h 1479935"/>
              <a:gd name="connsiteX65" fmla="*/ 593635 w 1485658"/>
              <a:gd name="connsiteY65" fmla="*/ 207843 h 1479935"/>
              <a:gd name="connsiteX66" fmla="*/ 624188 w 1485658"/>
              <a:gd name="connsiteY66" fmla="*/ 238280 h 1479935"/>
              <a:gd name="connsiteX67" fmla="*/ 654740 w 1485658"/>
              <a:gd name="connsiteY67" fmla="*/ 207843 h 1479935"/>
              <a:gd name="connsiteX68" fmla="*/ 624188 w 1485658"/>
              <a:gd name="connsiteY68" fmla="*/ 177406 h 1479935"/>
              <a:gd name="connsiteX69" fmla="*/ 593635 w 1485658"/>
              <a:gd name="connsiteY69" fmla="*/ 207843 h 1479935"/>
              <a:gd name="connsiteX70" fmla="*/ 652932 w 1485658"/>
              <a:gd name="connsiteY70" fmla="*/ 207843 h 1479935"/>
              <a:gd name="connsiteX71" fmla="*/ 683485 w 1485658"/>
              <a:gd name="connsiteY71" fmla="*/ 238280 h 1479935"/>
              <a:gd name="connsiteX72" fmla="*/ 714037 w 1485658"/>
              <a:gd name="connsiteY72" fmla="*/ 207843 h 1479935"/>
              <a:gd name="connsiteX73" fmla="*/ 683485 w 1485658"/>
              <a:gd name="connsiteY73" fmla="*/ 177406 h 1479935"/>
              <a:gd name="connsiteX74" fmla="*/ 652932 w 1485658"/>
              <a:gd name="connsiteY74" fmla="*/ 207843 h 1479935"/>
              <a:gd name="connsiteX75" fmla="*/ 771621 w 1485658"/>
              <a:gd name="connsiteY75" fmla="*/ 207843 h 1479935"/>
              <a:gd name="connsiteX76" fmla="*/ 802174 w 1485658"/>
              <a:gd name="connsiteY76" fmla="*/ 238280 h 1479935"/>
              <a:gd name="connsiteX77" fmla="*/ 832726 w 1485658"/>
              <a:gd name="connsiteY77" fmla="*/ 207843 h 1479935"/>
              <a:gd name="connsiteX78" fmla="*/ 802174 w 1485658"/>
              <a:gd name="connsiteY78" fmla="*/ 177406 h 1479935"/>
              <a:gd name="connsiteX79" fmla="*/ 771621 w 1485658"/>
              <a:gd name="connsiteY79" fmla="*/ 207843 h 1479935"/>
              <a:gd name="connsiteX80" fmla="*/ 831013 w 1485658"/>
              <a:gd name="connsiteY80" fmla="*/ 207843 h 1479935"/>
              <a:gd name="connsiteX81" fmla="*/ 861566 w 1485658"/>
              <a:gd name="connsiteY81" fmla="*/ 238280 h 1479935"/>
              <a:gd name="connsiteX82" fmla="*/ 892118 w 1485658"/>
              <a:gd name="connsiteY82" fmla="*/ 207843 h 1479935"/>
              <a:gd name="connsiteX83" fmla="*/ 861566 w 1485658"/>
              <a:gd name="connsiteY83" fmla="*/ 177406 h 1479935"/>
              <a:gd name="connsiteX84" fmla="*/ 831013 w 1485658"/>
              <a:gd name="connsiteY84" fmla="*/ 207843 h 1479935"/>
              <a:gd name="connsiteX85" fmla="*/ 474851 w 1485658"/>
              <a:gd name="connsiteY85" fmla="*/ 266915 h 1479935"/>
              <a:gd name="connsiteX86" fmla="*/ 505404 w 1485658"/>
              <a:gd name="connsiteY86" fmla="*/ 297352 h 1479935"/>
              <a:gd name="connsiteX87" fmla="*/ 535956 w 1485658"/>
              <a:gd name="connsiteY87" fmla="*/ 266915 h 1479935"/>
              <a:gd name="connsiteX88" fmla="*/ 505404 w 1485658"/>
              <a:gd name="connsiteY88" fmla="*/ 236479 h 1479935"/>
              <a:gd name="connsiteX89" fmla="*/ 474851 w 1485658"/>
              <a:gd name="connsiteY89" fmla="*/ 266915 h 1479935"/>
              <a:gd name="connsiteX90" fmla="*/ 652932 w 1485658"/>
              <a:gd name="connsiteY90" fmla="*/ 266915 h 1479935"/>
              <a:gd name="connsiteX91" fmla="*/ 683485 w 1485658"/>
              <a:gd name="connsiteY91" fmla="*/ 297352 h 1479935"/>
              <a:gd name="connsiteX92" fmla="*/ 714037 w 1485658"/>
              <a:gd name="connsiteY92" fmla="*/ 266915 h 1479935"/>
              <a:gd name="connsiteX93" fmla="*/ 683485 w 1485658"/>
              <a:gd name="connsiteY93" fmla="*/ 236479 h 1479935"/>
              <a:gd name="connsiteX94" fmla="*/ 652932 w 1485658"/>
              <a:gd name="connsiteY94" fmla="*/ 266915 h 1479935"/>
              <a:gd name="connsiteX95" fmla="*/ 712324 w 1485658"/>
              <a:gd name="connsiteY95" fmla="*/ 266915 h 1479935"/>
              <a:gd name="connsiteX96" fmla="*/ 742877 w 1485658"/>
              <a:gd name="connsiteY96" fmla="*/ 297352 h 1479935"/>
              <a:gd name="connsiteX97" fmla="*/ 773429 w 1485658"/>
              <a:gd name="connsiteY97" fmla="*/ 266915 h 1479935"/>
              <a:gd name="connsiteX98" fmla="*/ 742877 w 1485658"/>
              <a:gd name="connsiteY98" fmla="*/ 236479 h 1479935"/>
              <a:gd name="connsiteX99" fmla="*/ 712324 w 1485658"/>
              <a:gd name="connsiteY99" fmla="*/ 266915 h 1479935"/>
              <a:gd name="connsiteX100" fmla="*/ 831013 w 1485658"/>
              <a:gd name="connsiteY100" fmla="*/ 266915 h 1479935"/>
              <a:gd name="connsiteX101" fmla="*/ 861566 w 1485658"/>
              <a:gd name="connsiteY101" fmla="*/ 297352 h 1479935"/>
              <a:gd name="connsiteX102" fmla="*/ 892118 w 1485658"/>
              <a:gd name="connsiteY102" fmla="*/ 266915 h 1479935"/>
              <a:gd name="connsiteX103" fmla="*/ 861566 w 1485658"/>
              <a:gd name="connsiteY103" fmla="*/ 236479 h 1479935"/>
              <a:gd name="connsiteX104" fmla="*/ 831013 w 1485658"/>
              <a:gd name="connsiteY104" fmla="*/ 266915 h 1479935"/>
              <a:gd name="connsiteX105" fmla="*/ 474851 w 1485658"/>
              <a:gd name="connsiteY105" fmla="*/ 326083 h 1479935"/>
              <a:gd name="connsiteX106" fmla="*/ 505404 w 1485658"/>
              <a:gd name="connsiteY106" fmla="*/ 356519 h 1479935"/>
              <a:gd name="connsiteX107" fmla="*/ 535956 w 1485658"/>
              <a:gd name="connsiteY107" fmla="*/ 326083 h 1479935"/>
              <a:gd name="connsiteX108" fmla="*/ 505404 w 1485658"/>
              <a:gd name="connsiteY108" fmla="*/ 295646 h 1479935"/>
              <a:gd name="connsiteX109" fmla="*/ 474851 w 1485658"/>
              <a:gd name="connsiteY109" fmla="*/ 326083 h 1479935"/>
              <a:gd name="connsiteX110" fmla="*/ 593635 w 1485658"/>
              <a:gd name="connsiteY110" fmla="*/ 326083 h 1479935"/>
              <a:gd name="connsiteX111" fmla="*/ 624188 w 1485658"/>
              <a:gd name="connsiteY111" fmla="*/ 356519 h 1479935"/>
              <a:gd name="connsiteX112" fmla="*/ 654740 w 1485658"/>
              <a:gd name="connsiteY112" fmla="*/ 326083 h 1479935"/>
              <a:gd name="connsiteX113" fmla="*/ 624188 w 1485658"/>
              <a:gd name="connsiteY113" fmla="*/ 295646 h 1479935"/>
              <a:gd name="connsiteX114" fmla="*/ 593635 w 1485658"/>
              <a:gd name="connsiteY114" fmla="*/ 326083 h 1479935"/>
              <a:gd name="connsiteX115" fmla="*/ 831013 w 1485658"/>
              <a:gd name="connsiteY115" fmla="*/ 326083 h 1479935"/>
              <a:gd name="connsiteX116" fmla="*/ 861566 w 1485658"/>
              <a:gd name="connsiteY116" fmla="*/ 356519 h 1479935"/>
              <a:gd name="connsiteX117" fmla="*/ 892118 w 1485658"/>
              <a:gd name="connsiteY117" fmla="*/ 326083 h 1479935"/>
              <a:gd name="connsiteX118" fmla="*/ 861566 w 1485658"/>
              <a:gd name="connsiteY118" fmla="*/ 295646 h 1479935"/>
              <a:gd name="connsiteX119" fmla="*/ 831013 w 1485658"/>
              <a:gd name="connsiteY119" fmla="*/ 326083 h 1479935"/>
              <a:gd name="connsiteX120" fmla="*/ 890310 w 1485658"/>
              <a:gd name="connsiteY120" fmla="*/ 326083 h 1479935"/>
              <a:gd name="connsiteX121" fmla="*/ 920863 w 1485658"/>
              <a:gd name="connsiteY121" fmla="*/ 356519 h 1479935"/>
              <a:gd name="connsiteX122" fmla="*/ 951415 w 1485658"/>
              <a:gd name="connsiteY122" fmla="*/ 326083 h 1479935"/>
              <a:gd name="connsiteX123" fmla="*/ 920863 w 1485658"/>
              <a:gd name="connsiteY123" fmla="*/ 295646 h 1479935"/>
              <a:gd name="connsiteX124" fmla="*/ 890310 w 1485658"/>
              <a:gd name="connsiteY124" fmla="*/ 326083 h 1479935"/>
              <a:gd name="connsiteX125" fmla="*/ 949702 w 1485658"/>
              <a:gd name="connsiteY125" fmla="*/ 326083 h 1479935"/>
              <a:gd name="connsiteX126" fmla="*/ 980255 w 1485658"/>
              <a:gd name="connsiteY126" fmla="*/ 356519 h 1479935"/>
              <a:gd name="connsiteX127" fmla="*/ 1010807 w 1485658"/>
              <a:gd name="connsiteY127" fmla="*/ 326083 h 1479935"/>
              <a:gd name="connsiteX128" fmla="*/ 980255 w 1485658"/>
              <a:gd name="connsiteY128" fmla="*/ 295646 h 1479935"/>
              <a:gd name="connsiteX129" fmla="*/ 949702 w 1485658"/>
              <a:gd name="connsiteY129" fmla="*/ 326083 h 1479935"/>
              <a:gd name="connsiteX130" fmla="*/ 474851 w 1485658"/>
              <a:gd name="connsiteY130" fmla="*/ 385155 h 1479935"/>
              <a:gd name="connsiteX131" fmla="*/ 505404 w 1485658"/>
              <a:gd name="connsiteY131" fmla="*/ 415592 h 1479935"/>
              <a:gd name="connsiteX132" fmla="*/ 535956 w 1485658"/>
              <a:gd name="connsiteY132" fmla="*/ 385155 h 1479935"/>
              <a:gd name="connsiteX133" fmla="*/ 505404 w 1485658"/>
              <a:gd name="connsiteY133" fmla="*/ 354718 h 1479935"/>
              <a:gd name="connsiteX134" fmla="*/ 474851 w 1485658"/>
              <a:gd name="connsiteY134" fmla="*/ 385155 h 1479935"/>
              <a:gd name="connsiteX135" fmla="*/ 593635 w 1485658"/>
              <a:gd name="connsiteY135" fmla="*/ 385155 h 1479935"/>
              <a:gd name="connsiteX136" fmla="*/ 624188 w 1485658"/>
              <a:gd name="connsiteY136" fmla="*/ 415592 h 1479935"/>
              <a:gd name="connsiteX137" fmla="*/ 654740 w 1485658"/>
              <a:gd name="connsiteY137" fmla="*/ 385155 h 1479935"/>
              <a:gd name="connsiteX138" fmla="*/ 624188 w 1485658"/>
              <a:gd name="connsiteY138" fmla="*/ 354718 h 1479935"/>
              <a:gd name="connsiteX139" fmla="*/ 593635 w 1485658"/>
              <a:gd name="connsiteY139" fmla="*/ 385155 h 1479935"/>
              <a:gd name="connsiteX140" fmla="*/ 712324 w 1485658"/>
              <a:gd name="connsiteY140" fmla="*/ 385155 h 1479935"/>
              <a:gd name="connsiteX141" fmla="*/ 742877 w 1485658"/>
              <a:gd name="connsiteY141" fmla="*/ 415592 h 1479935"/>
              <a:gd name="connsiteX142" fmla="*/ 773429 w 1485658"/>
              <a:gd name="connsiteY142" fmla="*/ 385155 h 1479935"/>
              <a:gd name="connsiteX143" fmla="*/ 742877 w 1485658"/>
              <a:gd name="connsiteY143" fmla="*/ 354718 h 1479935"/>
              <a:gd name="connsiteX144" fmla="*/ 712324 w 1485658"/>
              <a:gd name="connsiteY144" fmla="*/ 385155 h 1479935"/>
              <a:gd name="connsiteX145" fmla="*/ 831013 w 1485658"/>
              <a:gd name="connsiteY145" fmla="*/ 385155 h 1479935"/>
              <a:gd name="connsiteX146" fmla="*/ 861566 w 1485658"/>
              <a:gd name="connsiteY146" fmla="*/ 415592 h 1479935"/>
              <a:gd name="connsiteX147" fmla="*/ 892118 w 1485658"/>
              <a:gd name="connsiteY147" fmla="*/ 385155 h 1479935"/>
              <a:gd name="connsiteX148" fmla="*/ 861566 w 1485658"/>
              <a:gd name="connsiteY148" fmla="*/ 354718 h 1479935"/>
              <a:gd name="connsiteX149" fmla="*/ 831013 w 1485658"/>
              <a:gd name="connsiteY149" fmla="*/ 385155 h 1479935"/>
              <a:gd name="connsiteX150" fmla="*/ 949702 w 1485658"/>
              <a:gd name="connsiteY150" fmla="*/ 385155 h 1479935"/>
              <a:gd name="connsiteX151" fmla="*/ 980255 w 1485658"/>
              <a:gd name="connsiteY151" fmla="*/ 415592 h 1479935"/>
              <a:gd name="connsiteX152" fmla="*/ 1010807 w 1485658"/>
              <a:gd name="connsiteY152" fmla="*/ 385155 h 1479935"/>
              <a:gd name="connsiteX153" fmla="*/ 980255 w 1485658"/>
              <a:gd name="connsiteY153" fmla="*/ 354718 h 1479935"/>
              <a:gd name="connsiteX154" fmla="*/ 949702 w 1485658"/>
              <a:gd name="connsiteY154" fmla="*/ 385155 h 1479935"/>
              <a:gd name="connsiteX155" fmla="*/ 474851 w 1485658"/>
              <a:gd name="connsiteY155" fmla="*/ 444322 h 1479935"/>
              <a:gd name="connsiteX156" fmla="*/ 505404 w 1485658"/>
              <a:gd name="connsiteY156" fmla="*/ 474759 h 1479935"/>
              <a:gd name="connsiteX157" fmla="*/ 535956 w 1485658"/>
              <a:gd name="connsiteY157" fmla="*/ 444322 h 1479935"/>
              <a:gd name="connsiteX158" fmla="*/ 505404 w 1485658"/>
              <a:gd name="connsiteY158" fmla="*/ 413885 h 1479935"/>
              <a:gd name="connsiteX159" fmla="*/ 474851 w 1485658"/>
              <a:gd name="connsiteY159" fmla="*/ 444322 h 1479935"/>
              <a:gd name="connsiteX160" fmla="*/ 831013 w 1485658"/>
              <a:gd name="connsiteY160" fmla="*/ 444322 h 1479935"/>
              <a:gd name="connsiteX161" fmla="*/ 861566 w 1485658"/>
              <a:gd name="connsiteY161" fmla="*/ 474759 h 1479935"/>
              <a:gd name="connsiteX162" fmla="*/ 892118 w 1485658"/>
              <a:gd name="connsiteY162" fmla="*/ 444322 h 1479935"/>
              <a:gd name="connsiteX163" fmla="*/ 861566 w 1485658"/>
              <a:gd name="connsiteY163" fmla="*/ 413885 h 1479935"/>
              <a:gd name="connsiteX164" fmla="*/ 831013 w 1485658"/>
              <a:gd name="connsiteY164" fmla="*/ 444322 h 1479935"/>
              <a:gd name="connsiteX165" fmla="*/ 890310 w 1485658"/>
              <a:gd name="connsiteY165" fmla="*/ 444322 h 1479935"/>
              <a:gd name="connsiteX166" fmla="*/ 920863 w 1485658"/>
              <a:gd name="connsiteY166" fmla="*/ 474759 h 1479935"/>
              <a:gd name="connsiteX167" fmla="*/ 951415 w 1485658"/>
              <a:gd name="connsiteY167" fmla="*/ 444322 h 1479935"/>
              <a:gd name="connsiteX168" fmla="*/ 920863 w 1485658"/>
              <a:gd name="connsiteY168" fmla="*/ 413885 h 1479935"/>
              <a:gd name="connsiteX169" fmla="*/ 890310 w 1485658"/>
              <a:gd name="connsiteY169" fmla="*/ 444322 h 1479935"/>
              <a:gd name="connsiteX170" fmla="*/ 95 w 1485658"/>
              <a:gd name="connsiteY170" fmla="*/ 503394 h 1479935"/>
              <a:gd name="connsiteX171" fmla="*/ 30648 w 1485658"/>
              <a:gd name="connsiteY171" fmla="*/ 533831 h 1479935"/>
              <a:gd name="connsiteX172" fmla="*/ 61200 w 1485658"/>
              <a:gd name="connsiteY172" fmla="*/ 503394 h 1479935"/>
              <a:gd name="connsiteX173" fmla="*/ 30648 w 1485658"/>
              <a:gd name="connsiteY173" fmla="*/ 472957 h 1479935"/>
              <a:gd name="connsiteX174" fmla="*/ 95 w 1485658"/>
              <a:gd name="connsiteY174" fmla="*/ 503394 h 1479935"/>
              <a:gd name="connsiteX175" fmla="*/ 118784 w 1485658"/>
              <a:gd name="connsiteY175" fmla="*/ 503394 h 1479935"/>
              <a:gd name="connsiteX176" fmla="*/ 149337 w 1485658"/>
              <a:gd name="connsiteY176" fmla="*/ 533831 h 1479935"/>
              <a:gd name="connsiteX177" fmla="*/ 179889 w 1485658"/>
              <a:gd name="connsiteY177" fmla="*/ 503394 h 1479935"/>
              <a:gd name="connsiteX178" fmla="*/ 149337 w 1485658"/>
              <a:gd name="connsiteY178" fmla="*/ 472957 h 1479935"/>
              <a:gd name="connsiteX179" fmla="*/ 118784 w 1485658"/>
              <a:gd name="connsiteY179" fmla="*/ 503394 h 1479935"/>
              <a:gd name="connsiteX180" fmla="*/ 178081 w 1485658"/>
              <a:gd name="connsiteY180" fmla="*/ 503394 h 1479935"/>
              <a:gd name="connsiteX181" fmla="*/ 208634 w 1485658"/>
              <a:gd name="connsiteY181" fmla="*/ 533831 h 1479935"/>
              <a:gd name="connsiteX182" fmla="*/ 239186 w 1485658"/>
              <a:gd name="connsiteY182" fmla="*/ 503394 h 1479935"/>
              <a:gd name="connsiteX183" fmla="*/ 208634 w 1485658"/>
              <a:gd name="connsiteY183" fmla="*/ 472957 h 1479935"/>
              <a:gd name="connsiteX184" fmla="*/ 178081 w 1485658"/>
              <a:gd name="connsiteY184" fmla="*/ 503394 h 1479935"/>
              <a:gd name="connsiteX185" fmla="*/ 237473 w 1485658"/>
              <a:gd name="connsiteY185" fmla="*/ 503394 h 1479935"/>
              <a:gd name="connsiteX186" fmla="*/ 268026 w 1485658"/>
              <a:gd name="connsiteY186" fmla="*/ 533831 h 1479935"/>
              <a:gd name="connsiteX187" fmla="*/ 298578 w 1485658"/>
              <a:gd name="connsiteY187" fmla="*/ 503394 h 1479935"/>
              <a:gd name="connsiteX188" fmla="*/ 268026 w 1485658"/>
              <a:gd name="connsiteY188" fmla="*/ 472957 h 1479935"/>
              <a:gd name="connsiteX189" fmla="*/ 237473 w 1485658"/>
              <a:gd name="connsiteY189" fmla="*/ 503394 h 1479935"/>
              <a:gd name="connsiteX190" fmla="*/ 296865 w 1485658"/>
              <a:gd name="connsiteY190" fmla="*/ 503394 h 1479935"/>
              <a:gd name="connsiteX191" fmla="*/ 327418 w 1485658"/>
              <a:gd name="connsiteY191" fmla="*/ 533831 h 1479935"/>
              <a:gd name="connsiteX192" fmla="*/ 357970 w 1485658"/>
              <a:gd name="connsiteY192" fmla="*/ 503394 h 1479935"/>
              <a:gd name="connsiteX193" fmla="*/ 327418 w 1485658"/>
              <a:gd name="connsiteY193" fmla="*/ 472957 h 1479935"/>
              <a:gd name="connsiteX194" fmla="*/ 296865 w 1485658"/>
              <a:gd name="connsiteY194" fmla="*/ 503394 h 1479935"/>
              <a:gd name="connsiteX195" fmla="*/ 356162 w 1485658"/>
              <a:gd name="connsiteY195" fmla="*/ 503394 h 1479935"/>
              <a:gd name="connsiteX196" fmla="*/ 386715 w 1485658"/>
              <a:gd name="connsiteY196" fmla="*/ 533831 h 1479935"/>
              <a:gd name="connsiteX197" fmla="*/ 417267 w 1485658"/>
              <a:gd name="connsiteY197" fmla="*/ 503394 h 1479935"/>
              <a:gd name="connsiteX198" fmla="*/ 386715 w 1485658"/>
              <a:gd name="connsiteY198" fmla="*/ 472957 h 1479935"/>
              <a:gd name="connsiteX199" fmla="*/ 356162 w 1485658"/>
              <a:gd name="connsiteY199" fmla="*/ 503394 h 1479935"/>
              <a:gd name="connsiteX200" fmla="*/ 534243 w 1485658"/>
              <a:gd name="connsiteY200" fmla="*/ 503394 h 1479935"/>
              <a:gd name="connsiteX201" fmla="*/ 564796 w 1485658"/>
              <a:gd name="connsiteY201" fmla="*/ 533831 h 1479935"/>
              <a:gd name="connsiteX202" fmla="*/ 595348 w 1485658"/>
              <a:gd name="connsiteY202" fmla="*/ 503394 h 1479935"/>
              <a:gd name="connsiteX203" fmla="*/ 564796 w 1485658"/>
              <a:gd name="connsiteY203" fmla="*/ 472957 h 1479935"/>
              <a:gd name="connsiteX204" fmla="*/ 534243 w 1485658"/>
              <a:gd name="connsiteY204" fmla="*/ 503394 h 1479935"/>
              <a:gd name="connsiteX205" fmla="*/ 712324 w 1485658"/>
              <a:gd name="connsiteY205" fmla="*/ 503394 h 1479935"/>
              <a:gd name="connsiteX206" fmla="*/ 742877 w 1485658"/>
              <a:gd name="connsiteY206" fmla="*/ 533831 h 1479935"/>
              <a:gd name="connsiteX207" fmla="*/ 773429 w 1485658"/>
              <a:gd name="connsiteY207" fmla="*/ 503394 h 1479935"/>
              <a:gd name="connsiteX208" fmla="*/ 742877 w 1485658"/>
              <a:gd name="connsiteY208" fmla="*/ 472957 h 1479935"/>
              <a:gd name="connsiteX209" fmla="*/ 712324 w 1485658"/>
              <a:gd name="connsiteY209" fmla="*/ 503394 h 1479935"/>
              <a:gd name="connsiteX210" fmla="*/ 771621 w 1485658"/>
              <a:gd name="connsiteY210" fmla="*/ 503394 h 1479935"/>
              <a:gd name="connsiteX211" fmla="*/ 802174 w 1485658"/>
              <a:gd name="connsiteY211" fmla="*/ 533831 h 1479935"/>
              <a:gd name="connsiteX212" fmla="*/ 832726 w 1485658"/>
              <a:gd name="connsiteY212" fmla="*/ 503394 h 1479935"/>
              <a:gd name="connsiteX213" fmla="*/ 802174 w 1485658"/>
              <a:gd name="connsiteY213" fmla="*/ 472957 h 1479935"/>
              <a:gd name="connsiteX214" fmla="*/ 771621 w 1485658"/>
              <a:gd name="connsiteY214" fmla="*/ 503394 h 1479935"/>
              <a:gd name="connsiteX215" fmla="*/ 949702 w 1485658"/>
              <a:gd name="connsiteY215" fmla="*/ 503394 h 1479935"/>
              <a:gd name="connsiteX216" fmla="*/ 980255 w 1485658"/>
              <a:gd name="connsiteY216" fmla="*/ 533831 h 1479935"/>
              <a:gd name="connsiteX217" fmla="*/ 1010807 w 1485658"/>
              <a:gd name="connsiteY217" fmla="*/ 503394 h 1479935"/>
              <a:gd name="connsiteX218" fmla="*/ 980255 w 1485658"/>
              <a:gd name="connsiteY218" fmla="*/ 472957 h 1479935"/>
              <a:gd name="connsiteX219" fmla="*/ 949702 w 1485658"/>
              <a:gd name="connsiteY219" fmla="*/ 503394 h 1479935"/>
              <a:gd name="connsiteX220" fmla="*/ 1068391 w 1485658"/>
              <a:gd name="connsiteY220" fmla="*/ 503394 h 1479935"/>
              <a:gd name="connsiteX221" fmla="*/ 1098944 w 1485658"/>
              <a:gd name="connsiteY221" fmla="*/ 533831 h 1479935"/>
              <a:gd name="connsiteX222" fmla="*/ 1129496 w 1485658"/>
              <a:gd name="connsiteY222" fmla="*/ 503394 h 1479935"/>
              <a:gd name="connsiteX223" fmla="*/ 1098944 w 1485658"/>
              <a:gd name="connsiteY223" fmla="*/ 472957 h 1479935"/>
              <a:gd name="connsiteX224" fmla="*/ 1068391 w 1485658"/>
              <a:gd name="connsiteY224" fmla="*/ 503394 h 1479935"/>
              <a:gd name="connsiteX225" fmla="*/ 1127783 w 1485658"/>
              <a:gd name="connsiteY225" fmla="*/ 503394 h 1479935"/>
              <a:gd name="connsiteX226" fmla="*/ 1158336 w 1485658"/>
              <a:gd name="connsiteY226" fmla="*/ 533831 h 1479935"/>
              <a:gd name="connsiteX227" fmla="*/ 1188888 w 1485658"/>
              <a:gd name="connsiteY227" fmla="*/ 503394 h 1479935"/>
              <a:gd name="connsiteX228" fmla="*/ 1158336 w 1485658"/>
              <a:gd name="connsiteY228" fmla="*/ 472957 h 1479935"/>
              <a:gd name="connsiteX229" fmla="*/ 1127783 w 1485658"/>
              <a:gd name="connsiteY229" fmla="*/ 503394 h 1479935"/>
              <a:gd name="connsiteX230" fmla="*/ 1187080 w 1485658"/>
              <a:gd name="connsiteY230" fmla="*/ 503394 h 1479935"/>
              <a:gd name="connsiteX231" fmla="*/ 1217633 w 1485658"/>
              <a:gd name="connsiteY231" fmla="*/ 533831 h 1479935"/>
              <a:gd name="connsiteX232" fmla="*/ 1248185 w 1485658"/>
              <a:gd name="connsiteY232" fmla="*/ 503394 h 1479935"/>
              <a:gd name="connsiteX233" fmla="*/ 1217633 w 1485658"/>
              <a:gd name="connsiteY233" fmla="*/ 472957 h 1479935"/>
              <a:gd name="connsiteX234" fmla="*/ 1187080 w 1485658"/>
              <a:gd name="connsiteY234" fmla="*/ 503394 h 1479935"/>
              <a:gd name="connsiteX235" fmla="*/ 1246472 w 1485658"/>
              <a:gd name="connsiteY235" fmla="*/ 503394 h 1479935"/>
              <a:gd name="connsiteX236" fmla="*/ 1277025 w 1485658"/>
              <a:gd name="connsiteY236" fmla="*/ 533831 h 1479935"/>
              <a:gd name="connsiteX237" fmla="*/ 1307577 w 1485658"/>
              <a:gd name="connsiteY237" fmla="*/ 503394 h 1479935"/>
              <a:gd name="connsiteX238" fmla="*/ 1277025 w 1485658"/>
              <a:gd name="connsiteY238" fmla="*/ 472957 h 1479935"/>
              <a:gd name="connsiteX239" fmla="*/ 1246472 w 1485658"/>
              <a:gd name="connsiteY239" fmla="*/ 503394 h 1479935"/>
              <a:gd name="connsiteX240" fmla="*/ 1305769 w 1485658"/>
              <a:gd name="connsiteY240" fmla="*/ 503394 h 1479935"/>
              <a:gd name="connsiteX241" fmla="*/ 1336322 w 1485658"/>
              <a:gd name="connsiteY241" fmla="*/ 533831 h 1479935"/>
              <a:gd name="connsiteX242" fmla="*/ 1366874 w 1485658"/>
              <a:gd name="connsiteY242" fmla="*/ 503394 h 1479935"/>
              <a:gd name="connsiteX243" fmla="*/ 1336322 w 1485658"/>
              <a:gd name="connsiteY243" fmla="*/ 472957 h 1479935"/>
              <a:gd name="connsiteX244" fmla="*/ 1305769 w 1485658"/>
              <a:gd name="connsiteY244" fmla="*/ 503394 h 1479935"/>
              <a:gd name="connsiteX245" fmla="*/ 95 w 1485658"/>
              <a:gd name="connsiteY245" fmla="*/ 562561 h 1479935"/>
              <a:gd name="connsiteX246" fmla="*/ 30648 w 1485658"/>
              <a:gd name="connsiteY246" fmla="*/ 592998 h 1479935"/>
              <a:gd name="connsiteX247" fmla="*/ 61200 w 1485658"/>
              <a:gd name="connsiteY247" fmla="*/ 562561 h 1479935"/>
              <a:gd name="connsiteX248" fmla="*/ 30648 w 1485658"/>
              <a:gd name="connsiteY248" fmla="*/ 532124 h 1479935"/>
              <a:gd name="connsiteX249" fmla="*/ 95 w 1485658"/>
              <a:gd name="connsiteY249" fmla="*/ 562561 h 1479935"/>
              <a:gd name="connsiteX250" fmla="*/ 118784 w 1485658"/>
              <a:gd name="connsiteY250" fmla="*/ 562561 h 1479935"/>
              <a:gd name="connsiteX251" fmla="*/ 149337 w 1485658"/>
              <a:gd name="connsiteY251" fmla="*/ 592998 h 1479935"/>
              <a:gd name="connsiteX252" fmla="*/ 179889 w 1485658"/>
              <a:gd name="connsiteY252" fmla="*/ 562561 h 1479935"/>
              <a:gd name="connsiteX253" fmla="*/ 149337 w 1485658"/>
              <a:gd name="connsiteY253" fmla="*/ 532124 h 1479935"/>
              <a:gd name="connsiteX254" fmla="*/ 118784 w 1485658"/>
              <a:gd name="connsiteY254" fmla="*/ 562561 h 1479935"/>
              <a:gd name="connsiteX255" fmla="*/ 237473 w 1485658"/>
              <a:gd name="connsiteY255" fmla="*/ 562561 h 1479935"/>
              <a:gd name="connsiteX256" fmla="*/ 268026 w 1485658"/>
              <a:gd name="connsiteY256" fmla="*/ 592998 h 1479935"/>
              <a:gd name="connsiteX257" fmla="*/ 298578 w 1485658"/>
              <a:gd name="connsiteY257" fmla="*/ 562561 h 1479935"/>
              <a:gd name="connsiteX258" fmla="*/ 268026 w 1485658"/>
              <a:gd name="connsiteY258" fmla="*/ 532124 h 1479935"/>
              <a:gd name="connsiteX259" fmla="*/ 237473 w 1485658"/>
              <a:gd name="connsiteY259" fmla="*/ 562561 h 1479935"/>
              <a:gd name="connsiteX260" fmla="*/ 534243 w 1485658"/>
              <a:gd name="connsiteY260" fmla="*/ 562561 h 1479935"/>
              <a:gd name="connsiteX261" fmla="*/ 564796 w 1485658"/>
              <a:gd name="connsiteY261" fmla="*/ 592998 h 1479935"/>
              <a:gd name="connsiteX262" fmla="*/ 595348 w 1485658"/>
              <a:gd name="connsiteY262" fmla="*/ 562561 h 1479935"/>
              <a:gd name="connsiteX263" fmla="*/ 564796 w 1485658"/>
              <a:gd name="connsiteY263" fmla="*/ 532124 h 1479935"/>
              <a:gd name="connsiteX264" fmla="*/ 534243 w 1485658"/>
              <a:gd name="connsiteY264" fmla="*/ 562561 h 1479935"/>
              <a:gd name="connsiteX265" fmla="*/ 712324 w 1485658"/>
              <a:gd name="connsiteY265" fmla="*/ 562561 h 1479935"/>
              <a:gd name="connsiteX266" fmla="*/ 742877 w 1485658"/>
              <a:gd name="connsiteY266" fmla="*/ 592998 h 1479935"/>
              <a:gd name="connsiteX267" fmla="*/ 773429 w 1485658"/>
              <a:gd name="connsiteY267" fmla="*/ 562561 h 1479935"/>
              <a:gd name="connsiteX268" fmla="*/ 742877 w 1485658"/>
              <a:gd name="connsiteY268" fmla="*/ 532124 h 1479935"/>
              <a:gd name="connsiteX269" fmla="*/ 712324 w 1485658"/>
              <a:gd name="connsiteY269" fmla="*/ 562561 h 1479935"/>
              <a:gd name="connsiteX270" fmla="*/ 771621 w 1485658"/>
              <a:gd name="connsiteY270" fmla="*/ 562561 h 1479935"/>
              <a:gd name="connsiteX271" fmla="*/ 802174 w 1485658"/>
              <a:gd name="connsiteY271" fmla="*/ 592998 h 1479935"/>
              <a:gd name="connsiteX272" fmla="*/ 832726 w 1485658"/>
              <a:gd name="connsiteY272" fmla="*/ 562561 h 1479935"/>
              <a:gd name="connsiteX273" fmla="*/ 802174 w 1485658"/>
              <a:gd name="connsiteY273" fmla="*/ 532124 h 1479935"/>
              <a:gd name="connsiteX274" fmla="*/ 771621 w 1485658"/>
              <a:gd name="connsiteY274" fmla="*/ 562561 h 1479935"/>
              <a:gd name="connsiteX275" fmla="*/ 949702 w 1485658"/>
              <a:gd name="connsiteY275" fmla="*/ 562561 h 1479935"/>
              <a:gd name="connsiteX276" fmla="*/ 980255 w 1485658"/>
              <a:gd name="connsiteY276" fmla="*/ 592998 h 1479935"/>
              <a:gd name="connsiteX277" fmla="*/ 1010807 w 1485658"/>
              <a:gd name="connsiteY277" fmla="*/ 562561 h 1479935"/>
              <a:gd name="connsiteX278" fmla="*/ 980255 w 1485658"/>
              <a:gd name="connsiteY278" fmla="*/ 532124 h 1479935"/>
              <a:gd name="connsiteX279" fmla="*/ 949702 w 1485658"/>
              <a:gd name="connsiteY279" fmla="*/ 562561 h 1479935"/>
              <a:gd name="connsiteX280" fmla="*/ 1009094 w 1485658"/>
              <a:gd name="connsiteY280" fmla="*/ 562561 h 1479935"/>
              <a:gd name="connsiteX281" fmla="*/ 1039647 w 1485658"/>
              <a:gd name="connsiteY281" fmla="*/ 592998 h 1479935"/>
              <a:gd name="connsiteX282" fmla="*/ 1070199 w 1485658"/>
              <a:gd name="connsiteY282" fmla="*/ 562561 h 1479935"/>
              <a:gd name="connsiteX283" fmla="*/ 1039647 w 1485658"/>
              <a:gd name="connsiteY283" fmla="*/ 532124 h 1479935"/>
              <a:gd name="connsiteX284" fmla="*/ 1009094 w 1485658"/>
              <a:gd name="connsiteY284" fmla="*/ 562561 h 1479935"/>
              <a:gd name="connsiteX285" fmla="*/ 1127783 w 1485658"/>
              <a:gd name="connsiteY285" fmla="*/ 562561 h 1479935"/>
              <a:gd name="connsiteX286" fmla="*/ 1158336 w 1485658"/>
              <a:gd name="connsiteY286" fmla="*/ 592998 h 1479935"/>
              <a:gd name="connsiteX287" fmla="*/ 1188888 w 1485658"/>
              <a:gd name="connsiteY287" fmla="*/ 562561 h 1479935"/>
              <a:gd name="connsiteX288" fmla="*/ 1158336 w 1485658"/>
              <a:gd name="connsiteY288" fmla="*/ 532124 h 1479935"/>
              <a:gd name="connsiteX289" fmla="*/ 1127783 w 1485658"/>
              <a:gd name="connsiteY289" fmla="*/ 562561 h 1479935"/>
              <a:gd name="connsiteX290" fmla="*/ 1365161 w 1485658"/>
              <a:gd name="connsiteY290" fmla="*/ 562561 h 1479935"/>
              <a:gd name="connsiteX291" fmla="*/ 1395714 w 1485658"/>
              <a:gd name="connsiteY291" fmla="*/ 592998 h 1479935"/>
              <a:gd name="connsiteX292" fmla="*/ 1426266 w 1485658"/>
              <a:gd name="connsiteY292" fmla="*/ 562561 h 1479935"/>
              <a:gd name="connsiteX293" fmla="*/ 1395714 w 1485658"/>
              <a:gd name="connsiteY293" fmla="*/ 532124 h 1479935"/>
              <a:gd name="connsiteX294" fmla="*/ 1365161 w 1485658"/>
              <a:gd name="connsiteY294" fmla="*/ 562561 h 1479935"/>
              <a:gd name="connsiteX295" fmla="*/ 95 w 1485658"/>
              <a:gd name="connsiteY295" fmla="*/ 621728 h 1479935"/>
              <a:gd name="connsiteX296" fmla="*/ 30648 w 1485658"/>
              <a:gd name="connsiteY296" fmla="*/ 652165 h 1479935"/>
              <a:gd name="connsiteX297" fmla="*/ 61200 w 1485658"/>
              <a:gd name="connsiteY297" fmla="*/ 621728 h 1479935"/>
              <a:gd name="connsiteX298" fmla="*/ 30648 w 1485658"/>
              <a:gd name="connsiteY298" fmla="*/ 591291 h 1479935"/>
              <a:gd name="connsiteX299" fmla="*/ 95 w 1485658"/>
              <a:gd name="connsiteY299" fmla="*/ 621728 h 1479935"/>
              <a:gd name="connsiteX300" fmla="*/ 118784 w 1485658"/>
              <a:gd name="connsiteY300" fmla="*/ 621728 h 1479935"/>
              <a:gd name="connsiteX301" fmla="*/ 149337 w 1485658"/>
              <a:gd name="connsiteY301" fmla="*/ 652165 h 1479935"/>
              <a:gd name="connsiteX302" fmla="*/ 179889 w 1485658"/>
              <a:gd name="connsiteY302" fmla="*/ 621728 h 1479935"/>
              <a:gd name="connsiteX303" fmla="*/ 149337 w 1485658"/>
              <a:gd name="connsiteY303" fmla="*/ 591291 h 1479935"/>
              <a:gd name="connsiteX304" fmla="*/ 118784 w 1485658"/>
              <a:gd name="connsiteY304" fmla="*/ 621728 h 1479935"/>
              <a:gd name="connsiteX305" fmla="*/ 237473 w 1485658"/>
              <a:gd name="connsiteY305" fmla="*/ 621728 h 1479935"/>
              <a:gd name="connsiteX306" fmla="*/ 268026 w 1485658"/>
              <a:gd name="connsiteY306" fmla="*/ 652165 h 1479935"/>
              <a:gd name="connsiteX307" fmla="*/ 298578 w 1485658"/>
              <a:gd name="connsiteY307" fmla="*/ 621728 h 1479935"/>
              <a:gd name="connsiteX308" fmla="*/ 268026 w 1485658"/>
              <a:gd name="connsiteY308" fmla="*/ 591291 h 1479935"/>
              <a:gd name="connsiteX309" fmla="*/ 237473 w 1485658"/>
              <a:gd name="connsiteY309" fmla="*/ 621728 h 1479935"/>
              <a:gd name="connsiteX310" fmla="*/ 296865 w 1485658"/>
              <a:gd name="connsiteY310" fmla="*/ 621728 h 1479935"/>
              <a:gd name="connsiteX311" fmla="*/ 327418 w 1485658"/>
              <a:gd name="connsiteY311" fmla="*/ 652165 h 1479935"/>
              <a:gd name="connsiteX312" fmla="*/ 357970 w 1485658"/>
              <a:gd name="connsiteY312" fmla="*/ 621728 h 1479935"/>
              <a:gd name="connsiteX313" fmla="*/ 327418 w 1485658"/>
              <a:gd name="connsiteY313" fmla="*/ 591291 h 1479935"/>
              <a:gd name="connsiteX314" fmla="*/ 296865 w 1485658"/>
              <a:gd name="connsiteY314" fmla="*/ 621728 h 1479935"/>
              <a:gd name="connsiteX315" fmla="*/ 356162 w 1485658"/>
              <a:gd name="connsiteY315" fmla="*/ 621728 h 1479935"/>
              <a:gd name="connsiteX316" fmla="*/ 386715 w 1485658"/>
              <a:gd name="connsiteY316" fmla="*/ 652165 h 1479935"/>
              <a:gd name="connsiteX317" fmla="*/ 417267 w 1485658"/>
              <a:gd name="connsiteY317" fmla="*/ 621728 h 1479935"/>
              <a:gd name="connsiteX318" fmla="*/ 386715 w 1485658"/>
              <a:gd name="connsiteY318" fmla="*/ 591291 h 1479935"/>
              <a:gd name="connsiteX319" fmla="*/ 356162 w 1485658"/>
              <a:gd name="connsiteY319" fmla="*/ 621728 h 1479935"/>
              <a:gd name="connsiteX320" fmla="*/ 474851 w 1485658"/>
              <a:gd name="connsiteY320" fmla="*/ 621728 h 1479935"/>
              <a:gd name="connsiteX321" fmla="*/ 505404 w 1485658"/>
              <a:gd name="connsiteY321" fmla="*/ 652165 h 1479935"/>
              <a:gd name="connsiteX322" fmla="*/ 535956 w 1485658"/>
              <a:gd name="connsiteY322" fmla="*/ 621728 h 1479935"/>
              <a:gd name="connsiteX323" fmla="*/ 505404 w 1485658"/>
              <a:gd name="connsiteY323" fmla="*/ 591291 h 1479935"/>
              <a:gd name="connsiteX324" fmla="*/ 474851 w 1485658"/>
              <a:gd name="connsiteY324" fmla="*/ 621728 h 1479935"/>
              <a:gd name="connsiteX325" fmla="*/ 593635 w 1485658"/>
              <a:gd name="connsiteY325" fmla="*/ 621728 h 1479935"/>
              <a:gd name="connsiteX326" fmla="*/ 624188 w 1485658"/>
              <a:gd name="connsiteY326" fmla="*/ 652165 h 1479935"/>
              <a:gd name="connsiteX327" fmla="*/ 654740 w 1485658"/>
              <a:gd name="connsiteY327" fmla="*/ 621728 h 1479935"/>
              <a:gd name="connsiteX328" fmla="*/ 624188 w 1485658"/>
              <a:gd name="connsiteY328" fmla="*/ 591291 h 1479935"/>
              <a:gd name="connsiteX329" fmla="*/ 593635 w 1485658"/>
              <a:gd name="connsiteY329" fmla="*/ 621728 h 1479935"/>
              <a:gd name="connsiteX330" fmla="*/ 652932 w 1485658"/>
              <a:gd name="connsiteY330" fmla="*/ 621728 h 1479935"/>
              <a:gd name="connsiteX331" fmla="*/ 683485 w 1485658"/>
              <a:gd name="connsiteY331" fmla="*/ 652165 h 1479935"/>
              <a:gd name="connsiteX332" fmla="*/ 714037 w 1485658"/>
              <a:gd name="connsiteY332" fmla="*/ 621728 h 1479935"/>
              <a:gd name="connsiteX333" fmla="*/ 683485 w 1485658"/>
              <a:gd name="connsiteY333" fmla="*/ 591291 h 1479935"/>
              <a:gd name="connsiteX334" fmla="*/ 652932 w 1485658"/>
              <a:gd name="connsiteY334" fmla="*/ 621728 h 1479935"/>
              <a:gd name="connsiteX335" fmla="*/ 712324 w 1485658"/>
              <a:gd name="connsiteY335" fmla="*/ 621728 h 1479935"/>
              <a:gd name="connsiteX336" fmla="*/ 742877 w 1485658"/>
              <a:gd name="connsiteY336" fmla="*/ 652165 h 1479935"/>
              <a:gd name="connsiteX337" fmla="*/ 773429 w 1485658"/>
              <a:gd name="connsiteY337" fmla="*/ 621728 h 1479935"/>
              <a:gd name="connsiteX338" fmla="*/ 742877 w 1485658"/>
              <a:gd name="connsiteY338" fmla="*/ 591291 h 1479935"/>
              <a:gd name="connsiteX339" fmla="*/ 712324 w 1485658"/>
              <a:gd name="connsiteY339" fmla="*/ 621728 h 1479935"/>
              <a:gd name="connsiteX340" fmla="*/ 771621 w 1485658"/>
              <a:gd name="connsiteY340" fmla="*/ 621728 h 1479935"/>
              <a:gd name="connsiteX341" fmla="*/ 802174 w 1485658"/>
              <a:gd name="connsiteY341" fmla="*/ 652165 h 1479935"/>
              <a:gd name="connsiteX342" fmla="*/ 832726 w 1485658"/>
              <a:gd name="connsiteY342" fmla="*/ 621728 h 1479935"/>
              <a:gd name="connsiteX343" fmla="*/ 802174 w 1485658"/>
              <a:gd name="connsiteY343" fmla="*/ 591291 h 1479935"/>
              <a:gd name="connsiteX344" fmla="*/ 771621 w 1485658"/>
              <a:gd name="connsiteY344" fmla="*/ 621728 h 1479935"/>
              <a:gd name="connsiteX345" fmla="*/ 831013 w 1485658"/>
              <a:gd name="connsiteY345" fmla="*/ 621728 h 1479935"/>
              <a:gd name="connsiteX346" fmla="*/ 861566 w 1485658"/>
              <a:gd name="connsiteY346" fmla="*/ 652165 h 1479935"/>
              <a:gd name="connsiteX347" fmla="*/ 892118 w 1485658"/>
              <a:gd name="connsiteY347" fmla="*/ 621728 h 1479935"/>
              <a:gd name="connsiteX348" fmla="*/ 861566 w 1485658"/>
              <a:gd name="connsiteY348" fmla="*/ 591291 h 1479935"/>
              <a:gd name="connsiteX349" fmla="*/ 831013 w 1485658"/>
              <a:gd name="connsiteY349" fmla="*/ 621728 h 1479935"/>
              <a:gd name="connsiteX350" fmla="*/ 890310 w 1485658"/>
              <a:gd name="connsiteY350" fmla="*/ 621728 h 1479935"/>
              <a:gd name="connsiteX351" fmla="*/ 920863 w 1485658"/>
              <a:gd name="connsiteY351" fmla="*/ 652165 h 1479935"/>
              <a:gd name="connsiteX352" fmla="*/ 951415 w 1485658"/>
              <a:gd name="connsiteY352" fmla="*/ 621728 h 1479935"/>
              <a:gd name="connsiteX353" fmla="*/ 920863 w 1485658"/>
              <a:gd name="connsiteY353" fmla="*/ 591291 h 1479935"/>
              <a:gd name="connsiteX354" fmla="*/ 890310 w 1485658"/>
              <a:gd name="connsiteY354" fmla="*/ 621728 h 1479935"/>
              <a:gd name="connsiteX355" fmla="*/ 949702 w 1485658"/>
              <a:gd name="connsiteY355" fmla="*/ 621728 h 1479935"/>
              <a:gd name="connsiteX356" fmla="*/ 980255 w 1485658"/>
              <a:gd name="connsiteY356" fmla="*/ 652165 h 1479935"/>
              <a:gd name="connsiteX357" fmla="*/ 1010807 w 1485658"/>
              <a:gd name="connsiteY357" fmla="*/ 621728 h 1479935"/>
              <a:gd name="connsiteX358" fmla="*/ 980255 w 1485658"/>
              <a:gd name="connsiteY358" fmla="*/ 591291 h 1479935"/>
              <a:gd name="connsiteX359" fmla="*/ 949702 w 1485658"/>
              <a:gd name="connsiteY359" fmla="*/ 621728 h 1479935"/>
              <a:gd name="connsiteX360" fmla="*/ 1009094 w 1485658"/>
              <a:gd name="connsiteY360" fmla="*/ 621728 h 1479935"/>
              <a:gd name="connsiteX361" fmla="*/ 1039647 w 1485658"/>
              <a:gd name="connsiteY361" fmla="*/ 652165 h 1479935"/>
              <a:gd name="connsiteX362" fmla="*/ 1070199 w 1485658"/>
              <a:gd name="connsiteY362" fmla="*/ 621728 h 1479935"/>
              <a:gd name="connsiteX363" fmla="*/ 1039647 w 1485658"/>
              <a:gd name="connsiteY363" fmla="*/ 591291 h 1479935"/>
              <a:gd name="connsiteX364" fmla="*/ 1009094 w 1485658"/>
              <a:gd name="connsiteY364" fmla="*/ 621728 h 1479935"/>
              <a:gd name="connsiteX365" fmla="*/ 1068391 w 1485658"/>
              <a:gd name="connsiteY365" fmla="*/ 621728 h 1479935"/>
              <a:gd name="connsiteX366" fmla="*/ 1098944 w 1485658"/>
              <a:gd name="connsiteY366" fmla="*/ 652165 h 1479935"/>
              <a:gd name="connsiteX367" fmla="*/ 1129496 w 1485658"/>
              <a:gd name="connsiteY367" fmla="*/ 621728 h 1479935"/>
              <a:gd name="connsiteX368" fmla="*/ 1098944 w 1485658"/>
              <a:gd name="connsiteY368" fmla="*/ 591291 h 1479935"/>
              <a:gd name="connsiteX369" fmla="*/ 1068391 w 1485658"/>
              <a:gd name="connsiteY369" fmla="*/ 621728 h 1479935"/>
              <a:gd name="connsiteX370" fmla="*/ 1127783 w 1485658"/>
              <a:gd name="connsiteY370" fmla="*/ 621728 h 1479935"/>
              <a:gd name="connsiteX371" fmla="*/ 1158336 w 1485658"/>
              <a:gd name="connsiteY371" fmla="*/ 652165 h 1479935"/>
              <a:gd name="connsiteX372" fmla="*/ 1188888 w 1485658"/>
              <a:gd name="connsiteY372" fmla="*/ 621728 h 1479935"/>
              <a:gd name="connsiteX373" fmla="*/ 1158336 w 1485658"/>
              <a:gd name="connsiteY373" fmla="*/ 591291 h 1479935"/>
              <a:gd name="connsiteX374" fmla="*/ 1127783 w 1485658"/>
              <a:gd name="connsiteY374" fmla="*/ 621728 h 1479935"/>
              <a:gd name="connsiteX375" fmla="*/ 1187080 w 1485658"/>
              <a:gd name="connsiteY375" fmla="*/ 621728 h 1479935"/>
              <a:gd name="connsiteX376" fmla="*/ 1217633 w 1485658"/>
              <a:gd name="connsiteY376" fmla="*/ 652165 h 1479935"/>
              <a:gd name="connsiteX377" fmla="*/ 1248185 w 1485658"/>
              <a:gd name="connsiteY377" fmla="*/ 621728 h 1479935"/>
              <a:gd name="connsiteX378" fmla="*/ 1217633 w 1485658"/>
              <a:gd name="connsiteY378" fmla="*/ 591291 h 1479935"/>
              <a:gd name="connsiteX379" fmla="*/ 1187080 w 1485658"/>
              <a:gd name="connsiteY379" fmla="*/ 621728 h 1479935"/>
              <a:gd name="connsiteX380" fmla="*/ 1246472 w 1485658"/>
              <a:gd name="connsiteY380" fmla="*/ 621728 h 1479935"/>
              <a:gd name="connsiteX381" fmla="*/ 1277025 w 1485658"/>
              <a:gd name="connsiteY381" fmla="*/ 652165 h 1479935"/>
              <a:gd name="connsiteX382" fmla="*/ 1307577 w 1485658"/>
              <a:gd name="connsiteY382" fmla="*/ 621728 h 1479935"/>
              <a:gd name="connsiteX383" fmla="*/ 1277025 w 1485658"/>
              <a:gd name="connsiteY383" fmla="*/ 591291 h 1479935"/>
              <a:gd name="connsiteX384" fmla="*/ 1246472 w 1485658"/>
              <a:gd name="connsiteY384" fmla="*/ 621728 h 1479935"/>
              <a:gd name="connsiteX385" fmla="*/ 1365161 w 1485658"/>
              <a:gd name="connsiteY385" fmla="*/ 621728 h 1479935"/>
              <a:gd name="connsiteX386" fmla="*/ 1395714 w 1485658"/>
              <a:gd name="connsiteY386" fmla="*/ 652165 h 1479935"/>
              <a:gd name="connsiteX387" fmla="*/ 1426266 w 1485658"/>
              <a:gd name="connsiteY387" fmla="*/ 621728 h 1479935"/>
              <a:gd name="connsiteX388" fmla="*/ 1395714 w 1485658"/>
              <a:gd name="connsiteY388" fmla="*/ 591291 h 1479935"/>
              <a:gd name="connsiteX389" fmla="*/ 1365161 w 1485658"/>
              <a:gd name="connsiteY389" fmla="*/ 621728 h 1479935"/>
              <a:gd name="connsiteX390" fmla="*/ 1424553 w 1485658"/>
              <a:gd name="connsiteY390" fmla="*/ 621728 h 1479935"/>
              <a:gd name="connsiteX391" fmla="*/ 1455106 w 1485658"/>
              <a:gd name="connsiteY391" fmla="*/ 652165 h 1479935"/>
              <a:gd name="connsiteX392" fmla="*/ 1485658 w 1485658"/>
              <a:gd name="connsiteY392" fmla="*/ 621728 h 1479935"/>
              <a:gd name="connsiteX393" fmla="*/ 1455106 w 1485658"/>
              <a:gd name="connsiteY393" fmla="*/ 591291 h 1479935"/>
              <a:gd name="connsiteX394" fmla="*/ 1424553 w 1485658"/>
              <a:gd name="connsiteY394" fmla="*/ 621728 h 1479935"/>
              <a:gd name="connsiteX395" fmla="*/ 118784 w 1485658"/>
              <a:gd name="connsiteY395" fmla="*/ 680800 h 1479935"/>
              <a:gd name="connsiteX396" fmla="*/ 149337 w 1485658"/>
              <a:gd name="connsiteY396" fmla="*/ 711237 h 1479935"/>
              <a:gd name="connsiteX397" fmla="*/ 179889 w 1485658"/>
              <a:gd name="connsiteY397" fmla="*/ 680800 h 1479935"/>
              <a:gd name="connsiteX398" fmla="*/ 149337 w 1485658"/>
              <a:gd name="connsiteY398" fmla="*/ 650364 h 1479935"/>
              <a:gd name="connsiteX399" fmla="*/ 118784 w 1485658"/>
              <a:gd name="connsiteY399" fmla="*/ 680800 h 1479935"/>
              <a:gd name="connsiteX400" fmla="*/ 178081 w 1485658"/>
              <a:gd name="connsiteY400" fmla="*/ 680800 h 1479935"/>
              <a:gd name="connsiteX401" fmla="*/ 208634 w 1485658"/>
              <a:gd name="connsiteY401" fmla="*/ 711237 h 1479935"/>
              <a:gd name="connsiteX402" fmla="*/ 239186 w 1485658"/>
              <a:gd name="connsiteY402" fmla="*/ 680800 h 1479935"/>
              <a:gd name="connsiteX403" fmla="*/ 208634 w 1485658"/>
              <a:gd name="connsiteY403" fmla="*/ 650364 h 1479935"/>
              <a:gd name="connsiteX404" fmla="*/ 178081 w 1485658"/>
              <a:gd name="connsiteY404" fmla="*/ 680800 h 1479935"/>
              <a:gd name="connsiteX405" fmla="*/ 237473 w 1485658"/>
              <a:gd name="connsiteY405" fmla="*/ 680800 h 1479935"/>
              <a:gd name="connsiteX406" fmla="*/ 268026 w 1485658"/>
              <a:gd name="connsiteY406" fmla="*/ 711237 h 1479935"/>
              <a:gd name="connsiteX407" fmla="*/ 298578 w 1485658"/>
              <a:gd name="connsiteY407" fmla="*/ 680800 h 1479935"/>
              <a:gd name="connsiteX408" fmla="*/ 268026 w 1485658"/>
              <a:gd name="connsiteY408" fmla="*/ 650364 h 1479935"/>
              <a:gd name="connsiteX409" fmla="*/ 237473 w 1485658"/>
              <a:gd name="connsiteY409" fmla="*/ 680800 h 1479935"/>
              <a:gd name="connsiteX410" fmla="*/ 296865 w 1485658"/>
              <a:gd name="connsiteY410" fmla="*/ 680800 h 1479935"/>
              <a:gd name="connsiteX411" fmla="*/ 327418 w 1485658"/>
              <a:gd name="connsiteY411" fmla="*/ 711237 h 1479935"/>
              <a:gd name="connsiteX412" fmla="*/ 357970 w 1485658"/>
              <a:gd name="connsiteY412" fmla="*/ 680800 h 1479935"/>
              <a:gd name="connsiteX413" fmla="*/ 327418 w 1485658"/>
              <a:gd name="connsiteY413" fmla="*/ 650364 h 1479935"/>
              <a:gd name="connsiteX414" fmla="*/ 296865 w 1485658"/>
              <a:gd name="connsiteY414" fmla="*/ 680800 h 1479935"/>
              <a:gd name="connsiteX415" fmla="*/ 474851 w 1485658"/>
              <a:gd name="connsiteY415" fmla="*/ 680800 h 1479935"/>
              <a:gd name="connsiteX416" fmla="*/ 505404 w 1485658"/>
              <a:gd name="connsiteY416" fmla="*/ 711237 h 1479935"/>
              <a:gd name="connsiteX417" fmla="*/ 535956 w 1485658"/>
              <a:gd name="connsiteY417" fmla="*/ 680800 h 1479935"/>
              <a:gd name="connsiteX418" fmla="*/ 505404 w 1485658"/>
              <a:gd name="connsiteY418" fmla="*/ 650364 h 1479935"/>
              <a:gd name="connsiteX419" fmla="*/ 474851 w 1485658"/>
              <a:gd name="connsiteY419" fmla="*/ 680800 h 1479935"/>
              <a:gd name="connsiteX420" fmla="*/ 593635 w 1485658"/>
              <a:gd name="connsiteY420" fmla="*/ 680800 h 1479935"/>
              <a:gd name="connsiteX421" fmla="*/ 624188 w 1485658"/>
              <a:gd name="connsiteY421" fmla="*/ 711237 h 1479935"/>
              <a:gd name="connsiteX422" fmla="*/ 654740 w 1485658"/>
              <a:gd name="connsiteY422" fmla="*/ 680800 h 1479935"/>
              <a:gd name="connsiteX423" fmla="*/ 624188 w 1485658"/>
              <a:gd name="connsiteY423" fmla="*/ 650364 h 1479935"/>
              <a:gd name="connsiteX424" fmla="*/ 593635 w 1485658"/>
              <a:gd name="connsiteY424" fmla="*/ 680800 h 1479935"/>
              <a:gd name="connsiteX425" fmla="*/ 652932 w 1485658"/>
              <a:gd name="connsiteY425" fmla="*/ 680800 h 1479935"/>
              <a:gd name="connsiteX426" fmla="*/ 683485 w 1485658"/>
              <a:gd name="connsiteY426" fmla="*/ 711237 h 1479935"/>
              <a:gd name="connsiteX427" fmla="*/ 714037 w 1485658"/>
              <a:gd name="connsiteY427" fmla="*/ 680800 h 1479935"/>
              <a:gd name="connsiteX428" fmla="*/ 683485 w 1485658"/>
              <a:gd name="connsiteY428" fmla="*/ 650364 h 1479935"/>
              <a:gd name="connsiteX429" fmla="*/ 652932 w 1485658"/>
              <a:gd name="connsiteY429" fmla="*/ 680800 h 1479935"/>
              <a:gd name="connsiteX430" fmla="*/ 712324 w 1485658"/>
              <a:gd name="connsiteY430" fmla="*/ 680800 h 1479935"/>
              <a:gd name="connsiteX431" fmla="*/ 742877 w 1485658"/>
              <a:gd name="connsiteY431" fmla="*/ 711237 h 1479935"/>
              <a:gd name="connsiteX432" fmla="*/ 773429 w 1485658"/>
              <a:gd name="connsiteY432" fmla="*/ 680800 h 1479935"/>
              <a:gd name="connsiteX433" fmla="*/ 742877 w 1485658"/>
              <a:gd name="connsiteY433" fmla="*/ 650364 h 1479935"/>
              <a:gd name="connsiteX434" fmla="*/ 712324 w 1485658"/>
              <a:gd name="connsiteY434" fmla="*/ 680800 h 1479935"/>
              <a:gd name="connsiteX435" fmla="*/ 831013 w 1485658"/>
              <a:gd name="connsiteY435" fmla="*/ 680800 h 1479935"/>
              <a:gd name="connsiteX436" fmla="*/ 861566 w 1485658"/>
              <a:gd name="connsiteY436" fmla="*/ 711237 h 1479935"/>
              <a:gd name="connsiteX437" fmla="*/ 892118 w 1485658"/>
              <a:gd name="connsiteY437" fmla="*/ 680800 h 1479935"/>
              <a:gd name="connsiteX438" fmla="*/ 861566 w 1485658"/>
              <a:gd name="connsiteY438" fmla="*/ 650364 h 1479935"/>
              <a:gd name="connsiteX439" fmla="*/ 831013 w 1485658"/>
              <a:gd name="connsiteY439" fmla="*/ 680800 h 1479935"/>
              <a:gd name="connsiteX440" fmla="*/ 949702 w 1485658"/>
              <a:gd name="connsiteY440" fmla="*/ 680800 h 1479935"/>
              <a:gd name="connsiteX441" fmla="*/ 980255 w 1485658"/>
              <a:gd name="connsiteY441" fmla="*/ 711237 h 1479935"/>
              <a:gd name="connsiteX442" fmla="*/ 1010807 w 1485658"/>
              <a:gd name="connsiteY442" fmla="*/ 680800 h 1479935"/>
              <a:gd name="connsiteX443" fmla="*/ 980255 w 1485658"/>
              <a:gd name="connsiteY443" fmla="*/ 650364 h 1479935"/>
              <a:gd name="connsiteX444" fmla="*/ 949702 w 1485658"/>
              <a:gd name="connsiteY444" fmla="*/ 680800 h 1479935"/>
              <a:gd name="connsiteX445" fmla="*/ 1068391 w 1485658"/>
              <a:gd name="connsiteY445" fmla="*/ 680800 h 1479935"/>
              <a:gd name="connsiteX446" fmla="*/ 1098944 w 1485658"/>
              <a:gd name="connsiteY446" fmla="*/ 711237 h 1479935"/>
              <a:gd name="connsiteX447" fmla="*/ 1129496 w 1485658"/>
              <a:gd name="connsiteY447" fmla="*/ 680800 h 1479935"/>
              <a:gd name="connsiteX448" fmla="*/ 1098944 w 1485658"/>
              <a:gd name="connsiteY448" fmla="*/ 650364 h 1479935"/>
              <a:gd name="connsiteX449" fmla="*/ 1068391 w 1485658"/>
              <a:gd name="connsiteY449" fmla="*/ 680800 h 1479935"/>
              <a:gd name="connsiteX450" fmla="*/ 1424553 w 1485658"/>
              <a:gd name="connsiteY450" fmla="*/ 680800 h 1479935"/>
              <a:gd name="connsiteX451" fmla="*/ 1455106 w 1485658"/>
              <a:gd name="connsiteY451" fmla="*/ 711237 h 1479935"/>
              <a:gd name="connsiteX452" fmla="*/ 1485658 w 1485658"/>
              <a:gd name="connsiteY452" fmla="*/ 680800 h 1479935"/>
              <a:gd name="connsiteX453" fmla="*/ 1455106 w 1485658"/>
              <a:gd name="connsiteY453" fmla="*/ 650364 h 1479935"/>
              <a:gd name="connsiteX454" fmla="*/ 1424553 w 1485658"/>
              <a:gd name="connsiteY454" fmla="*/ 680800 h 1479935"/>
              <a:gd name="connsiteX455" fmla="*/ 59392 w 1485658"/>
              <a:gd name="connsiteY455" fmla="*/ 739968 h 1479935"/>
              <a:gd name="connsiteX456" fmla="*/ 89945 w 1485658"/>
              <a:gd name="connsiteY456" fmla="*/ 770404 h 1479935"/>
              <a:gd name="connsiteX457" fmla="*/ 120497 w 1485658"/>
              <a:gd name="connsiteY457" fmla="*/ 739968 h 1479935"/>
              <a:gd name="connsiteX458" fmla="*/ 89945 w 1485658"/>
              <a:gd name="connsiteY458" fmla="*/ 709531 h 1479935"/>
              <a:gd name="connsiteX459" fmla="*/ 59392 w 1485658"/>
              <a:gd name="connsiteY459" fmla="*/ 739968 h 1479935"/>
              <a:gd name="connsiteX460" fmla="*/ 118784 w 1485658"/>
              <a:gd name="connsiteY460" fmla="*/ 739968 h 1479935"/>
              <a:gd name="connsiteX461" fmla="*/ 149337 w 1485658"/>
              <a:gd name="connsiteY461" fmla="*/ 770404 h 1479935"/>
              <a:gd name="connsiteX462" fmla="*/ 179889 w 1485658"/>
              <a:gd name="connsiteY462" fmla="*/ 739968 h 1479935"/>
              <a:gd name="connsiteX463" fmla="*/ 149337 w 1485658"/>
              <a:gd name="connsiteY463" fmla="*/ 709531 h 1479935"/>
              <a:gd name="connsiteX464" fmla="*/ 118784 w 1485658"/>
              <a:gd name="connsiteY464" fmla="*/ 739968 h 1479935"/>
              <a:gd name="connsiteX465" fmla="*/ 237473 w 1485658"/>
              <a:gd name="connsiteY465" fmla="*/ 739968 h 1479935"/>
              <a:gd name="connsiteX466" fmla="*/ 268026 w 1485658"/>
              <a:gd name="connsiteY466" fmla="*/ 770404 h 1479935"/>
              <a:gd name="connsiteX467" fmla="*/ 298578 w 1485658"/>
              <a:gd name="connsiteY467" fmla="*/ 739968 h 1479935"/>
              <a:gd name="connsiteX468" fmla="*/ 268026 w 1485658"/>
              <a:gd name="connsiteY468" fmla="*/ 709531 h 1479935"/>
              <a:gd name="connsiteX469" fmla="*/ 237473 w 1485658"/>
              <a:gd name="connsiteY469" fmla="*/ 739968 h 1479935"/>
              <a:gd name="connsiteX470" fmla="*/ 296865 w 1485658"/>
              <a:gd name="connsiteY470" fmla="*/ 739968 h 1479935"/>
              <a:gd name="connsiteX471" fmla="*/ 327418 w 1485658"/>
              <a:gd name="connsiteY471" fmla="*/ 770404 h 1479935"/>
              <a:gd name="connsiteX472" fmla="*/ 357970 w 1485658"/>
              <a:gd name="connsiteY472" fmla="*/ 739968 h 1479935"/>
              <a:gd name="connsiteX473" fmla="*/ 327418 w 1485658"/>
              <a:gd name="connsiteY473" fmla="*/ 709531 h 1479935"/>
              <a:gd name="connsiteX474" fmla="*/ 296865 w 1485658"/>
              <a:gd name="connsiteY474" fmla="*/ 739968 h 1479935"/>
              <a:gd name="connsiteX475" fmla="*/ 356162 w 1485658"/>
              <a:gd name="connsiteY475" fmla="*/ 739968 h 1479935"/>
              <a:gd name="connsiteX476" fmla="*/ 386715 w 1485658"/>
              <a:gd name="connsiteY476" fmla="*/ 770404 h 1479935"/>
              <a:gd name="connsiteX477" fmla="*/ 417267 w 1485658"/>
              <a:gd name="connsiteY477" fmla="*/ 739968 h 1479935"/>
              <a:gd name="connsiteX478" fmla="*/ 386715 w 1485658"/>
              <a:gd name="connsiteY478" fmla="*/ 709531 h 1479935"/>
              <a:gd name="connsiteX479" fmla="*/ 356162 w 1485658"/>
              <a:gd name="connsiteY479" fmla="*/ 739968 h 1479935"/>
              <a:gd name="connsiteX480" fmla="*/ 415554 w 1485658"/>
              <a:gd name="connsiteY480" fmla="*/ 739968 h 1479935"/>
              <a:gd name="connsiteX481" fmla="*/ 446107 w 1485658"/>
              <a:gd name="connsiteY481" fmla="*/ 770404 h 1479935"/>
              <a:gd name="connsiteX482" fmla="*/ 476659 w 1485658"/>
              <a:gd name="connsiteY482" fmla="*/ 739968 h 1479935"/>
              <a:gd name="connsiteX483" fmla="*/ 446107 w 1485658"/>
              <a:gd name="connsiteY483" fmla="*/ 709531 h 1479935"/>
              <a:gd name="connsiteX484" fmla="*/ 415554 w 1485658"/>
              <a:gd name="connsiteY484" fmla="*/ 739968 h 1479935"/>
              <a:gd name="connsiteX485" fmla="*/ 474851 w 1485658"/>
              <a:gd name="connsiteY485" fmla="*/ 739968 h 1479935"/>
              <a:gd name="connsiteX486" fmla="*/ 505404 w 1485658"/>
              <a:gd name="connsiteY486" fmla="*/ 770404 h 1479935"/>
              <a:gd name="connsiteX487" fmla="*/ 535956 w 1485658"/>
              <a:gd name="connsiteY487" fmla="*/ 739968 h 1479935"/>
              <a:gd name="connsiteX488" fmla="*/ 505404 w 1485658"/>
              <a:gd name="connsiteY488" fmla="*/ 709531 h 1479935"/>
              <a:gd name="connsiteX489" fmla="*/ 474851 w 1485658"/>
              <a:gd name="connsiteY489" fmla="*/ 739968 h 1479935"/>
              <a:gd name="connsiteX490" fmla="*/ 534243 w 1485658"/>
              <a:gd name="connsiteY490" fmla="*/ 739968 h 1479935"/>
              <a:gd name="connsiteX491" fmla="*/ 564796 w 1485658"/>
              <a:gd name="connsiteY491" fmla="*/ 770404 h 1479935"/>
              <a:gd name="connsiteX492" fmla="*/ 595348 w 1485658"/>
              <a:gd name="connsiteY492" fmla="*/ 739968 h 1479935"/>
              <a:gd name="connsiteX493" fmla="*/ 564796 w 1485658"/>
              <a:gd name="connsiteY493" fmla="*/ 709531 h 1479935"/>
              <a:gd name="connsiteX494" fmla="*/ 534243 w 1485658"/>
              <a:gd name="connsiteY494" fmla="*/ 739968 h 1479935"/>
              <a:gd name="connsiteX495" fmla="*/ 652932 w 1485658"/>
              <a:gd name="connsiteY495" fmla="*/ 739968 h 1479935"/>
              <a:gd name="connsiteX496" fmla="*/ 683485 w 1485658"/>
              <a:gd name="connsiteY496" fmla="*/ 770404 h 1479935"/>
              <a:gd name="connsiteX497" fmla="*/ 714037 w 1485658"/>
              <a:gd name="connsiteY497" fmla="*/ 739968 h 1479935"/>
              <a:gd name="connsiteX498" fmla="*/ 683485 w 1485658"/>
              <a:gd name="connsiteY498" fmla="*/ 709531 h 1479935"/>
              <a:gd name="connsiteX499" fmla="*/ 652932 w 1485658"/>
              <a:gd name="connsiteY499" fmla="*/ 739968 h 1479935"/>
              <a:gd name="connsiteX500" fmla="*/ 890310 w 1485658"/>
              <a:gd name="connsiteY500" fmla="*/ 739968 h 1479935"/>
              <a:gd name="connsiteX501" fmla="*/ 920863 w 1485658"/>
              <a:gd name="connsiteY501" fmla="*/ 770404 h 1479935"/>
              <a:gd name="connsiteX502" fmla="*/ 951415 w 1485658"/>
              <a:gd name="connsiteY502" fmla="*/ 739968 h 1479935"/>
              <a:gd name="connsiteX503" fmla="*/ 920863 w 1485658"/>
              <a:gd name="connsiteY503" fmla="*/ 709531 h 1479935"/>
              <a:gd name="connsiteX504" fmla="*/ 890310 w 1485658"/>
              <a:gd name="connsiteY504" fmla="*/ 739968 h 1479935"/>
              <a:gd name="connsiteX505" fmla="*/ 1009094 w 1485658"/>
              <a:gd name="connsiteY505" fmla="*/ 739968 h 1479935"/>
              <a:gd name="connsiteX506" fmla="*/ 1039647 w 1485658"/>
              <a:gd name="connsiteY506" fmla="*/ 770404 h 1479935"/>
              <a:gd name="connsiteX507" fmla="*/ 1070199 w 1485658"/>
              <a:gd name="connsiteY507" fmla="*/ 739968 h 1479935"/>
              <a:gd name="connsiteX508" fmla="*/ 1039647 w 1485658"/>
              <a:gd name="connsiteY508" fmla="*/ 709531 h 1479935"/>
              <a:gd name="connsiteX509" fmla="*/ 1009094 w 1485658"/>
              <a:gd name="connsiteY509" fmla="*/ 739968 h 1479935"/>
              <a:gd name="connsiteX510" fmla="*/ 1068391 w 1485658"/>
              <a:gd name="connsiteY510" fmla="*/ 739968 h 1479935"/>
              <a:gd name="connsiteX511" fmla="*/ 1098944 w 1485658"/>
              <a:gd name="connsiteY511" fmla="*/ 770404 h 1479935"/>
              <a:gd name="connsiteX512" fmla="*/ 1129496 w 1485658"/>
              <a:gd name="connsiteY512" fmla="*/ 739968 h 1479935"/>
              <a:gd name="connsiteX513" fmla="*/ 1098944 w 1485658"/>
              <a:gd name="connsiteY513" fmla="*/ 709531 h 1479935"/>
              <a:gd name="connsiteX514" fmla="*/ 1068391 w 1485658"/>
              <a:gd name="connsiteY514" fmla="*/ 739968 h 1479935"/>
              <a:gd name="connsiteX515" fmla="*/ 1127783 w 1485658"/>
              <a:gd name="connsiteY515" fmla="*/ 739968 h 1479935"/>
              <a:gd name="connsiteX516" fmla="*/ 1158336 w 1485658"/>
              <a:gd name="connsiteY516" fmla="*/ 770404 h 1479935"/>
              <a:gd name="connsiteX517" fmla="*/ 1188888 w 1485658"/>
              <a:gd name="connsiteY517" fmla="*/ 739968 h 1479935"/>
              <a:gd name="connsiteX518" fmla="*/ 1158336 w 1485658"/>
              <a:gd name="connsiteY518" fmla="*/ 709531 h 1479935"/>
              <a:gd name="connsiteX519" fmla="*/ 1127783 w 1485658"/>
              <a:gd name="connsiteY519" fmla="*/ 739968 h 1479935"/>
              <a:gd name="connsiteX520" fmla="*/ 1187080 w 1485658"/>
              <a:gd name="connsiteY520" fmla="*/ 739968 h 1479935"/>
              <a:gd name="connsiteX521" fmla="*/ 1217633 w 1485658"/>
              <a:gd name="connsiteY521" fmla="*/ 770404 h 1479935"/>
              <a:gd name="connsiteX522" fmla="*/ 1248185 w 1485658"/>
              <a:gd name="connsiteY522" fmla="*/ 739968 h 1479935"/>
              <a:gd name="connsiteX523" fmla="*/ 1217633 w 1485658"/>
              <a:gd name="connsiteY523" fmla="*/ 709531 h 1479935"/>
              <a:gd name="connsiteX524" fmla="*/ 1187080 w 1485658"/>
              <a:gd name="connsiteY524" fmla="*/ 739968 h 1479935"/>
              <a:gd name="connsiteX525" fmla="*/ 1305769 w 1485658"/>
              <a:gd name="connsiteY525" fmla="*/ 739968 h 1479935"/>
              <a:gd name="connsiteX526" fmla="*/ 1336322 w 1485658"/>
              <a:gd name="connsiteY526" fmla="*/ 770404 h 1479935"/>
              <a:gd name="connsiteX527" fmla="*/ 1366874 w 1485658"/>
              <a:gd name="connsiteY527" fmla="*/ 739968 h 1479935"/>
              <a:gd name="connsiteX528" fmla="*/ 1336322 w 1485658"/>
              <a:gd name="connsiteY528" fmla="*/ 709531 h 1479935"/>
              <a:gd name="connsiteX529" fmla="*/ 1305769 w 1485658"/>
              <a:gd name="connsiteY529" fmla="*/ 739968 h 1479935"/>
              <a:gd name="connsiteX530" fmla="*/ 1365161 w 1485658"/>
              <a:gd name="connsiteY530" fmla="*/ 739968 h 1479935"/>
              <a:gd name="connsiteX531" fmla="*/ 1395714 w 1485658"/>
              <a:gd name="connsiteY531" fmla="*/ 770404 h 1479935"/>
              <a:gd name="connsiteX532" fmla="*/ 1426266 w 1485658"/>
              <a:gd name="connsiteY532" fmla="*/ 739968 h 1479935"/>
              <a:gd name="connsiteX533" fmla="*/ 1395714 w 1485658"/>
              <a:gd name="connsiteY533" fmla="*/ 709531 h 1479935"/>
              <a:gd name="connsiteX534" fmla="*/ 1365161 w 1485658"/>
              <a:gd name="connsiteY534" fmla="*/ 739968 h 1479935"/>
              <a:gd name="connsiteX535" fmla="*/ 1424553 w 1485658"/>
              <a:gd name="connsiteY535" fmla="*/ 739968 h 1479935"/>
              <a:gd name="connsiteX536" fmla="*/ 1455106 w 1485658"/>
              <a:gd name="connsiteY536" fmla="*/ 770404 h 1479935"/>
              <a:gd name="connsiteX537" fmla="*/ 1485658 w 1485658"/>
              <a:gd name="connsiteY537" fmla="*/ 739968 h 1479935"/>
              <a:gd name="connsiteX538" fmla="*/ 1455106 w 1485658"/>
              <a:gd name="connsiteY538" fmla="*/ 709531 h 1479935"/>
              <a:gd name="connsiteX539" fmla="*/ 1424553 w 1485658"/>
              <a:gd name="connsiteY539" fmla="*/ 739968 h 1479935"/>
              <a:gd name="connsiteX540" fmla="*/ 95 w 1485658"/>
              <a:gd name="connsiteY540" fmla="*/ 799040 h 1479935"/>
              <a:gd name="connsiteX541" fmla="*/ 30648 w 1485658"/>
              <a:gd name="connsiteY541" fmla="*/ 829477 h 1479935"/>
              <a:gd name="connsiteX542" fmla="*/ 61200 w 1485658"/>
              <a:gd name="connsiteY542" fmla="*/ 799040 h 1479935"/>
              <a:gd name="connsiteX543" fmla="*/ 30648 w 1485658"/>
              <a:gd name="connsiteY543" fmla="*/ 768603 h 1479935"/>
              <a:gd name="connsiteX544" fmla="*/ 95 w 1485658"/>
              <a:gd name="connsiteY544" fmla="*/ 799040 h 1479935"/>
              <a:gd name="connsiteX545" fmla="*/ 118784 w 1485658"/>
              <a:gd name="connsiteY545" fmla="*/ 799040 h 1479935"/>
              <a:gd name="connsiteX546" fmla="*/ 149337 w 1485658"/>
              <a:gd name="connsiteY546" fmla="*/ 829477 h 1479935"/>
              <a:gd name="connsiteX547" fmla="*/ 179889 w 1485658"/>
              <a:gd name="connsiteY547" fmla="*/ 799040 h 1479935"/>
              <a:gd name="connsiteX548" fmla="*/ 149337 w 1485658"/>
              <a:gd name="connsiteY548" fmla="*/ 768603 h 1479935"/>
              <a:gd name="connsiteX549" fmla="*/ 118784 w 1485658"/>
              <a:gd name="connsiteY549" fmla="*/ 799040 h 1479935"/>
              <a:gd name="connsiteX550" fmla="*/ 178081 w 1485658"/>
              <a:gd name="connsiteY550" fmla="*/ 799040 h 1479935"/>
              <a:gd name="connsiteX551" fmla="*/ 208634 w 1485658"/>
              <a:gd name="connsiteY551" fmla="*/ 829477 h 1479935"/>
              <a:gd name="connsiteX552" fmla="*/ 239186 w 1485658"/>
              <a:gd name="connsiteY552" fmla="*/ 799040 h 1479935"/>
              <a:gd name="connsiteX553" fmla="*/ 208634 w 1485658"/>
              <a:gd name="connsiteY553" fmla="*/ 768603 h 1479935"/>
              <a:gd name="connsiteX554" fmla="*/ 178081 w 1485658"/>
              <a:gd name="connsiteY554" fmla="*/ 799040 h 1479935"/>
              <a:gd name="connsiteX555" fmla="*/ 237473 w 1485658"/>
              <a:gd name="connsiteY555" fmla="*/ 799040 h 1479935"/>
              <a:gd name="connsiteX556" fmla="*/ 268026 w 1485658"/>
              <a:gd name="connsiteY556" fmla="*/ 829477 h 1479935"/>
              <a:gd name="connsiteX557" fmla="*/ 298578 w 1485658"/>
              <a:gd name="connsiteY557" fmla="*/ 799040 h 1479935"/>
              <a:gd name="connsiteX558" fmla="*/ 268026 w 1485658"/>
              <a:gd name="connsiteY558" fmla="*/ 768603 h 1479935"/>
              <a:gd name="connsiteX559" fmla="*/ 237473 w 1485658"/>
              <a:gd name="connsiteY559" fmla="*/ 799040 h 1479935"/>
              <a:gd name="connsiteX560" fmla="*/ 415554 w 1485658"/>
              <a:gd name="connsiteY560" fmla="*/ 799040 h 1479935"/>
              <a:gd name="connsiteX561" fmla="*/ 446107 w 1485658"/>
              <a:gd name="connsiteY561" fmla="*/ 829477 h 1479935"/>
              <a:gd name="connsiteX562" fmla="*/ 476659 w 1485658"/>
              <a:gd name="connsiteY562" fmla="*/ 799040 h 1479935"/>
              <a:gd name="connsiteX563" fmla="*/ 446107 w 1485658"/>
              <a:gd name="connsiteY563" fmla="*/ 768603 h 1479935"/>
              <a:gd name="connsiteX564" fmla="*/ 415554 w 1485658"/>
              <a:gd name="connsiteY564" fmla="*/ 799040 h 1479935"/>
              <a:gd name="connsiteX565" fmla="*/ 474851 w 1485658"/>
              <a:gd name="connsiteY565" fmla="*/ 799040 h 1479935"/>
              <a:gd name="connsiteX566" fmla="*/ 505404 w 1485658"/>
              <a:gd name="connsiteY566" fmla="*/ 829477 h 1479935"/>
              <a:gd name="connsiteX567" fmla="*/ 535956 w 1485658"/>
              <a:gd name="connsiteY567" fmla="*/ 799040 h 1479935"/>
              <a:gd name="connsiteX568" fmla="*/ 505404 w 1485658"/>
              <a:gd name="connsiteY568" fmla="*/ 768603 h 1479935"/>
              <a:gd name="connsiteX569" fmla="*/ 474851 w 1485658"/>
              <a:gd name="connsiteY569" fmla="*/ 799040 h 1479935"/>
              <a:gd name="connsiteX570" fmla="*/ 534243 w 1485658"/>
              <a:gd name="connsiteY570" fmla="*/ 799040 h 1479935"/>
              <a:gd name="connsiteX571" fmla="*/ 564796 w 1485658"/>
              <a:gd name="connsiteY571" fmla="*/ 829477 h 1479935"/>
              <a:gd name="connsiteX572" fmla="*/ 595348 w 1485658"/>
              <a:gd name="connsiteY572" fmla="*/ 799040 h 1479935"/>
              <a:gd name="connsiteX573" fmla="*/ 564796 w 1485658"/>
              <a:gd name="connsiteY573" fmla="*/ 768603 h 1479935"/>
              <a:gd name="connsiteX574" fmla="*/ 534243 w 1485658"/>
              <a:gd name="connsiteY574" fmla="*/ 799040 h 1479935"/>
              <a:gd name="connsiteX575" fmla="*/ 593635 w 1485658"/>
              <a:gd name="connsiteY575" fmla="*/ 799040 h 1479935"/>
              <a:gd name="connsiteX576" fmla="*/ 624188 w 1485658"/>
              <a:gd name="connsiteY576" fmla="*/ 829477 h 1479935"/>
              <a:gd name="connsiteX577" fmla="*/ 654740 w 1485658"/>
              <a:gd name="connsiteY577" fmla="*/ 799040 h 1479935"/>
              <a:gd name="connsiteX578" fmla="*/ 624188 w 1485658"/>
              <a:gd name="connsiteY578" fmla="*/ 768603 h 1479935"/>
              <a:gd name="connsiteX579" fmla="*/ 593635 w 1485658"/>
              <a:gd name="connsiteY579" fmla="*/ 799040 h 1479935"/>
              <a:gd name="connsiteX580" fmla="*/ 712324 w 1485658"/>
              <a:gd name="connsiteY580" fmla="*/ 799040 h 1479935"/>
              <a:gd name="connsiteX581" fmla="*/ 742877 w 1485658"/>
              <a:gd name="connsiteY581" fmla="*/ 829477 h 1479935"/>
              <a:gd name="connsiteX582" fmla="*/ 773429 w 1485658"/>
              <a:gd name="connsiteY582" fmla="*/ 799040 h 1479935"/>
              <a:gd name="connsiteX583" fmla="*/ 742877 w 1485658"/>
              <a:gd name="connsiteY583" fmla="*/ 768603 h 1479935"/>
              <a:gd name="connsiteX584" fmla="*/ 712324 w 1485658"/>
              <a:gd name="connsiteY584" fmla="*/ 799040 h 1479935"/>
              <a:gd name="connsiteX585" fmla="*/ 771621 w 1485658"/>
              <a:gd name="connsiteY585" fmla="*/ 799040 h 1479935"/>
              <a:gd name="connsiteX586" fmla="*/ 802174 w 1485658"/>
              <a:gd name="connsiteY586" fmla="*/ 829477 h 1479935"/>
              <a:gd name="connsiteX587" fmla="*/ 832726 w 1485658"/>
              <a:gd name="connsiteY587" fmla="*/ 799040 h 1479935"/>
              <a:gd name="connsiteX588" fmla="*/ 802174 w 1485658"/>
              <a:gd name="connsiteY588" fmla="*/ 768603 h 1479935"/>
              <a:gd name="connsiteX589" fmla="*/ 771621 w 1485658"/>
              <a:gd name="connsiteY589" fmla="*/ 799040 h 1479935"/>
              <a:gd name="connsiteX590" fmla="*/ 949702 w 1485658"/>
              <a:gd name="connsiteY590" fmla="*/ 799040 h 1479935"/>
              <a:gd name="connsiteX591" fmla="*/ 980255 w 1485658"/>
              <a:gd name="connsiteY591" fmla="*/ 829477 h 1479935"/>
              <a:gd name="connsiteX592" fmla="*/ 1010807 w 1485658"/>
              <a:gd name="connsiteY592" fmla="*/ 799040 h 1479935"/>
              <a:gd name="connsiteX593" fmla="*/ 980255 w 1485658"/>
              <a:gd name="connsiteY593" fmla="*/ 768603 h 1479935"/>
              <a:gd name="connsiteX594" fmla="*/ 949702 w 1485658"/>
              <a:gd name="connsiteY594" fmla="*/ 799040 h 1479935"/>
              <a:gd name="connsiteX595" fmla="*/ 1009094 w 1485658"/>
              <a:gd name="connsiteY595" fmla="*/ 799040 h 1479935"/>
              <a:gd name="connsiteX596" fmla="*/ 1039647 w 1485658"/>
              <a:gd name="connsiteY596" fmla="*/ 829477 h 1479935"/>
              <a:gd name="connsiteX597" fmla="*/ 1070199 w 1485658"/>
              <a:gd name="connsiteY597" fmla="*/ 799040 h 1479935"/>
              <a:gd name="connsiteX598" fmla="*/ 1039647 w 1485658"/>
              <a:gd name="connsiteY598" fmla="*/ 768603 h 1479935"/>
              <a:gd name="connsiteX599" fmla="*/ 1009094 w 1485658"/>
              <a:gd name="connsiteY599" fmla="*/ 799040 h 1479935"/>
              <a:gd name="connsiteX600" fmla="*/ 1127783 w 1485658"/>
              <a:gd name="connsiteY600" fmla="*/ 799040 h 1479935"/>
              <a:gd name="connsiteX601" fmla="*/ 1158336 w 1485658"/>
              <a:gd name="connsiteY601" fmla="*/ 829477 h 1479935"/>
              <a:gd name="connsiteX602" fmla="*/ 1188888 w 1485658"/>
              <a:gd name="connsiteY602" fmla="*/ 799040 h 1479935"/>
              <a:gd name="connsiteX603" fmla="*/ 1158336 w 1485658"/>
              <a:gd name="connsiteY603" fmla="*/ 768603 h 1479935"/>
              <a:gd name="connsiteX604" fmla="*/ 1127783 w 1485658"/>
              <a:gd name="connsiteY604" fmla="*/ 799040 h 1479935"/>
              <a:gd name="connsiteX605" fmla="*/ 1246472 w 1485658"/>
              <a:gd name="connsiteY605" fmla="*/ 799040 h 1479935"/>
              <a:gd name="connsiteX606" fmla="*/ 1277025 w 1485658"/>
              <a:gd name="connsiteY606" fmla="*/ 829477 h 1479935"/>
              <a:gd name="connsiteX607" fmla="*/ 1307577 w 1485658"/>
              <a:gd name="connsiteY607" fmla="*/ 799040 h 1479935"/>
              <a:gd name="connsiteX608" fmla="*/ 1277025 w 1485658"/>
              <a:gd name="connsiteY608" fmla="*/ 768603 h 1479935"/>
              <a:gd name="connsiteX609" fmla="*/ 1246472 w 1485658"/>
              <a:gd name="connsiteY609" fmla="*/ 799040 h 1479935"/>
              <a:gd name="connsiteX610" fmla="*/ 1365161 w 1485658"/>
              <a:gd name="connsiteY610" fmla="*/ 799040 h 1479935"/>
              <a:gd name="connsiteX611" fmla="*/ 1395714 w 1485658"/>
              <a:gd name="connsiteY611" fmla="*/ 829477 h 1479935"/>
              <a:gd name="connsiteX612" fmla="*/ 1426266 w 1485658"/>
              <a:gd name="connsiteY612" fmla="*/ 799040 h 1479935"/>
              <a:gd name="connsiteX613" fmla="*/ 1395714 w 1485658"/>
              <a:gd name="connsiteY613" fmla="*/ 768603 h 1479935"/>
              <a:gd name="connsiteX614" fmla="*/ 1365161 w 1485658"/>
              <a:gd name="connsiteY614" fmla="*/ 799040 h 1479935"/>
              <a:gd name="connsiteX615" fmla="*/ 95 w 1485658"/>
              <a:gd name="connsiteY615" fmla="*/ 858207 h 1479935"/>
              <a:gd name="connsiteX616" fmla="*/ 30648 w 1485658"/>
              <a:gd name="connsiteY616" fmla="*/ 888644 h 1479935"/>
              <a:gd name="connsiteX617" fmla="*/ 61200 w 1485658"/>
              <a:gd name="connsiteY617" fmla="*/ 858207 h 1479935"/>
              <a:gd name="connsiteX618" fmla="*/ 30648 w 1485658"/>
              <a:gd name="connsiteY618" fmla="*/ 827770 h 1479935"/>
              <a:gd name="connsiteX619" fmla="*/ 95 w 1485658"/>
              <a:gd name="connsiteY619" fmla="*/ 858207 h 1479935"/>
              <a:gd name="connsiteX620" fmla="*/ 118784 w 1485658"/>
              <a:gd name="connsiteY620" fmla="*/ 858207 h 1479935"/>
              <a:gd name="connsiteX621" fmla="*/ 149337 w 1485658"/>
              <a:gd name="connsiteY621" fmla="*/ 888644 h 1479935"/>
              <a:gd name="connsiteX622" fmla="*/ 179889 w 1485658"/>
              <a:gd name="connsiteY622" fmla="*/ 858207 h 1479935"/>
              <a:gd name="connsiteX623" fmla="*/ 149337 w 1485658"/>
              <a:gd name="connsiteY623" fmla="*/ 827770 h 1479935"/>
              <a:gd name="connsiteX624" fmla="*/ 118784 w 1485658"/>
              <a:gd name="connsiteY624" fmla="*/ 858207 h 1479935"/>
              <a:gd name="connsiteX625" fmla="*/ 178081 w 1485658"/>
              <a:gd name="connsiteY625" fmla="*/ 858207 h 1479935"/>
              <a:gd name="connsiteX626" fmla="*/ 208634 w 1485658"/>
              <a:gd name="connsiteY626" fmla="*/ 888644 h 1479935"/>
              <a:gd name="connsiteX627" fmla="*/ 239186 w 1485658"/>
              <a:gd name="connsiteY627" fmla="*/ 858207 h 1479935"/>
              <a:gd name="connsiteX628" fmla="*/ 208634 w 1485658"/>
              <a:gd name="connsiteY628" fmla="*/ 827770 h 1479935"/>
              <a:gd name="connsiteX629" fmla="*/ 178081 w 1485658"/>
              <a:gd name="connsiteY629" fmla="*/ 858207 h 1479935"/>
              <a:gd name="connsiteX630" fmla="*/ 356162 w 1485658"/>
              <a:gd name="connsiteY630" fmla="*/ 858207 h 1479935"/>
              <a:gd name="connsiteX631" fmla="*/ 386715 w 1485658"/>
              <a:gd name="connsiteY631" fmla="*/ 888644 h 1479935"/>
              <a:gd name="connsiteX632" fmla="*/ 417267 w 1485658"/>
              <a:gd name="connsiteY632" fmla="*/ 858207 h 1479935"/>
              <a:gd name="connsiteX633" fmla="*/ 386715 w 1485658"/>
              <a:gd name="connsiteY633" fmla="*/ 827770 h 1479935"/>
              <a:gd name="connsiteX634" fmla="*/ 356162 w 1485658"/>
              <a:gd name="connsiteY634" fmla="*/ 858207 h 1479935"/>
              <a:gd name="connsiteX635" fmla="*/ 474851 w 1485658"/>
              <a:gd name="connsiteY635" fmla="*/ 858207 h 1479935"/>
              <a:gd name="connsiteX636" fmla="*/ 505404 w 1485658"/>
              <a:gd name="connsiteY636" fmla="*/ 888644 h 1479935"/>
              <a:gd name="connsiteX637" fmla="*/ 535956 w 1485658"/>
              <a:gd name="connsiteY637" fmla="*/ 858207 h 1479935"/>
              <a:gd name="connsiteX638" fmla="*/ 505404 w 1485658"/>
              <a:gd name="connsiteY638" fmla="*/ 827770 h 1479935"/>
              <a:gd name="connsiteX639" fmla="*/ 474851 w 1485658"/>
              <a:gd name="connsiteY639" fmla="*/ 858207 h 1479935"/>
              <a:gd name="connsiteX640" fmla="*/ 771621 w 1485658"/>
              <a:gd name="connsiteY640" fmla="*/ 858207 h 1479935"/>
              <a:gd name="connsiteX641" fmla="*/ 802174 w 1485658"/>
              <a:gd name="connsiteY641" fmla="*/ 888644 h 1479935"/>
              <a:gd name="connsiteX642" fmla="*/ 832726 w 1485658"/>
              <a:gd name="connsiteY642" fmla="*/ 858207 h 1479935"/>
              <a:gd name="connsiteX643" fmla="*/ 802174 w 1485658"/>
              <a:gd name="connsiteY643" fmla="*/ 827770 h 1479935"/>
              <a:gd name="connsiteX644" fmla="*/ 771621 w 1485658"/>
              <a:gd name="connsiteY644" fmla="*/ 858207 h 1479935"/>
              <a:gd name="connsiteX645" fmla="*/ 831013 w 1485658"/>
              <a:gd name="connsiteY645" fmla="*/ 858207 h 1479935"/>
              <a:gd name="connsiteX646" fmla="*/ 861566 w 1485658"/>
              <a:gd name="connsiteY646" fmla="*/ 888644 h 1479935"/>
              <a:gd name="connsiteX647" fmla="*/ 892118 w 1485658"/>
              <a:gd name="connsiteY647" fmla="*/ 858207 h 1479935"/>
              <a:gd name="connsiteX648" fmla="*/ 861566 w 1485658"/>
              <a:gd name="connsiteY648" fmla="*/ 827770 h 1479935"/>
              <a:gd name="connsiteX649" fmla="*/ 831013 w 1485658"/>
              <a:gd name="connsiteY649" fmla="*/ 858207 h 1479935"/>
              <a:gd name="connsiteX650" fmla="*/ 890310 w 1485658"/>
              <a:gd name="connsiteY650" fmla="*/ 858207 h 1479935"/>
              <a:gd name="connsiteX651" fmla="*/ 920863 w 1485658"/>
              <a:gd name="connsiteY651" fmla="*/ 888644 h 1479935"/>
              <a:gd name="connsiteX652" fmla="*/ 951415 w 1485658"/>
              <a:gd name="connsiteY652" fmla="*/ 858207 h 1479935"/>
              <a:gd name="connsiteX653" fmla="*/ 920863 w 1485658"/>
              <a:gd name="connsiteY653" fmla="*/ 827770 h 1479935"/>
              <a:gd name="connsiteX654" fmla="*/ 890310 w 1485658"/>
              <a:gd name="connsiteY654" fmla="*/ 858207 h 1479935"/>
              <a:gd name="connsiteX655" fmla="*/ 949702 w 1485658"/>
              <a:gd name="connsiteY655" fmla="*/ 858207 h 1479935"/>
              <a:gd name="connsiteX656" fmla="*/ 980255 w 1485658"/>
              <a:gd name="connsiteY656" fmla="*/ 888644 h 1479935"/>
              <a:gd name="connsiteX657" fmla="*/ 1010807 w 1485658"/>
              <a:gd name="connsiteY657" fmla="*/ 858207 h 1479935"/>
              <a:gd name="connsiteX658" fmla="*/ 980255 w 1485658"/>
              <a:gd name="connsiteY658" fmla="*/ 827770 h 1479935"/>
              <a:gd name="connsiteX659" fmla="*/ 949702 w 1485658"/>
              <a:gd name="connsiteY659" fmla="*/ 858207 h 1479935"/>
              <a:gd name="connsiteX660" fmla="*/ 1068391 w 1485658"/>
              <a:gd name="connsiteY660" fmla="*/ 858207 h 1479935"/>
              <a:gd name="connsiteX661" fmla="*/ 1098944 w 1485658"/>
              <a:gd name="connsiteY661" fmla="*/ 888644 h 1479935"/>
              <a:gd name="connsiteX662" fmla="*/ 1129496 w 1485658"/>
              <a:gd name="connsiteY662" fmla="*/ 858207 h 1479935"/>
              <a:gd name="connsiteX663" fmla="*/ 1098944 w 1485658"/>
              <a:gd name="connsiteY663" fmla="*/ 827770 h 1479935"/>
              <a:gd name="connsiteX664" fmla="*/ 1068391 w 1485658"/>
              <a:gd name="connsiteY664" fmla="*/ 858207 h 1479935"/>
              <a:gd name="connsiteX665" fmla="*/ 1127783 w 1485658"/>
              <a:gd name="connsiteY665" fmla="*/ 858207 h 1479935"/>
              <a:gd name="connsiteX666" fmla="*/ 1158336 w 1485658"/>
              <a:gd name="connsiteY666" fmla="*/ 888644 h 1479935"/>
              <a:gd name="connsiteX667" fmla="*/ 1188888 w 1485658"/>
              <a:gd name="connsiteY667" fmla="*/ 858207 h 1479935"/>
              <a:gd name="connsiteX668" fmla="*/ 1158336 w 1485658"/>
              <a:gd name="connsiteY668" fmla="*/ 827770 h 1479935"/>
              <a:gd name="connsiteX669" fmla="*/ 1127783 w 1485658"/>
              <a:gd name="connsiteY669" fmla="*/ 858207 h 1479935"/>
              <a:gd name="connsiteX670" fmla="*/ 1187080 w 1485658"/>
              <a:gd name="connsiteY670" fmla="*/ 858207 h 1479935"/>
              <a:gd name="connsiteX671" fmla="*/ 1217633 w 1485658"/>
              <a:gd name="connsiteY671" fmla="*/ 888644 h 1479935"/>
              <a:gd name="connsiteX672" fmla="*/ 1248185 w 1485658"/>
              <a:gd name="connsiteY672" fmla="*/ 858207 h 1479935"/>
              <a:gd name="connsiteX673" fmla="*/ 1217633 w 1485658"/>
              <a:gd name="connsiteY673" fmla="*/ 827770 h 1479935"/>
              <a:gd name="connsiteX674" fmla="*/ 1187080 w 1485658"/>
              <a:gd name="connsiteY674" fmla="*/ 858207 h 1479935"/>
              <a:gd name="connsiteX675" fmla="*/ 1246472 w 1485658"/>
              <a:gd name="connsiteY675" fmla="*/ 858207 h 1479935"/>
              <a:gd name="connsiteX676" fmla="*/ 1277025 w 1485658"/>
              <a:gd name="connsiteY676" fmla="*/ 888644 h 1479935"/>
              <a:gd name="connsiteX677" fmla="*/ 1307577 w 1485658"/>
              <a:gd name="connsiteY677" fmla="*/ 858207 h 1479935"/>
              <a:gd name="connsiteX678" fmla="*/ 1277025 w 1485658"/>
              <a:gd name="connsiteY678" fmla="*/ 827770 h 1479935"/>
              <a:gd name="connsiteX679" fmla="*/ 1246472 w 1485658"/>
              <a:gd name="connsiteY679" fmla="*/ 858207 h 1479935"/>
              <a:gd name="connsiteX680" fmla="*/ 1365161 w 1485658"/>
              <a:gd name="connsiteY680" fmla="*/ 858207 h 1479935"/>
              <a:gd name="connsiteX681" fmla="*/ 1395714 w 1485658"/>
              <a:gd name="connsiteY681" fmla="*/ 888644 h 1479935"/>
              <a:gd name="connsiteX682" fmla="*/ 1426266 w 1485658"/>
              <a:gd name="connsiteY682" fmla="*/ 858207 h 1479935"/>
              <a:gd name="connsiteX683" fmla="*/ 1395714 w 1485658"/>
              <a:gd name="connsiteY683" fmla="*/ 827770 h 1479935"/>
              <a:gd name="connsiteX684" fmla="*/ 1365161 w 1485658"/>
              <a:gd name="connsiteY684" fmla="*/ 858207 h 1479935"/>
              <a:gd name="connsiteX685" fmla="*/ 1424553 w 1485658"/>
              <a:gd name="connsiteY685" fmla="*/ 858207 h 1479935"/>
              <a:gd name="connsiteX686" fmla="*/ 1455106 w 1485658"/>
              <a:gd name="connsiteY686" fmla="*/ 888644 h 1479935"/>
              <a:gd name="connsiteX687" fmla="*/ 1485658 w 1485658"/>
              <a:gd name="connsiteY687" fmla="*/ 858207 h 1479935"/>
              <a:gd name="connsiteX688" fmla="*/ 1455106 w 1485658"/>
              <a:gd name="connsiteY688" fmla="*/ 827770 h 1479935"/>
              <a:gd name="connsiteX689" fmla="*/ 1424553 w 1485658"/>
              <a:gd name="connsiteY689" fmla="*/ 858207 h 1479935"/>
              <a:gd name="connsiteX690" fmla="*/ 95 w 1485658"/>
              <a:gd name="connsiteY690" fmla="*/ 917374 h 1479935"/>
              <a:gd name="connsiteX691" fmla="*/ 30648 w 1485658"/>
              <a:gd name="connsiteY691" fmla="*/ 947811 h 1479935"/>
              <a:gd name="connsiteX692" fmla="*/ 61200 w 1485658"/>
              <a:gd name="connsiteY692" fmla="*/ 917374 h 1479935"/>
              <a:gd name="connsiteX693" fmla="*/ 30648 w 1485658"/>
              <a:gd name="connsiteY693" fmla="*/ 886937 h 1479935"/>
              <a:gd name="connsiteX694" fmla="*/ 95 w 1485658"/>
              <a:gd name="connsiteY694" fmla="*/ 917374 h 1479935"/>
              <a:gd name="connsiteX695" fmla="*/ 593635 w 1485658"/>
              <a:gd name="connsiteY695" fmla="*/ 917374 h 1479935"/>
              <a:gd name="connsiteX696" fmla="*/ 624188 w 1485658"/>
              <a:gd name="connsiteY696" fmla="*/ 947811 h 1479935"/>
              <a:gd name="connsiteX697" fmla="*/ 654740 w 1485658"/>
              <a:gd name="connsiteY697" fmla="*/ 917374 h 1479935"/>
              <a:gd name="connsiteX698" fmla="*/ 624188 w 1485658"/>
              <a:gd name="connsiteY698" fmla="*/ 886937 h 1479935"/>
              <a:gd name="connsiteX699" fmla="*/ 593635 w 1485658"/>
              <a:gd name="connsiteY699" fmla="*/ 917374 h 1479935"/>
              <a:gd name="connsiteX700" fmla="*/ 712324 w 1485658"/>
              <a:gd name="connsiteY700" fmla="*/ 917374 h 1479935"/>
              <a:gd name="connsiteX701" fmla="*/ 742877 w 1485658"/>
              <a:gd name="connsiteY701" fmla="*/ 947811 h 1479935"/>
              <a:gd name="connsiteX702" fmla="*/ 773429 w 1485658"/>
              <a:gd name="connsiteY702" fmla="*/ 917374 h 1479935"/>
              <a:gd name="connsiteX703" fmla="*/ 742877 w 1485658"/>
              <a:gd name="connsiteY703" fmla="*/ 886937 h 1479935"/>
              <a:gd name="connsiteX704" fmla="*/ 712324 w 1485658"/>
              <a:gd name="connsiteY704" fmla="*/ 917374 h 1479935"/>
              <a:gd name="connsiteX705" fmla="*/ 771621 w 1485658"/>
              <a:gd name="connsiteY705" fmla="*/ 917374 h 1479935"/>
              <a:gd name="connsiteX706" fmla="*/ 802174 w 1485658"/>
              <a:gd name="connsiteY706" fmla="*/ 947811 h 1479935"/>
              <a:gd name="connsiteX707" fmla="*/ 832726 w 1485658"/>
              <a:gd name="connsiteY707" fmla="*/ 917374 h 1479935"/>
              <a:gd name="connsiteX708" fmla="*/ 802174 w 1485658"/>
              <a:gd name="connsiteY708" fmla="*/ 886937 h 1479935"/>
              <a:gd name="connsiteX709" fmla="*/ 771621 w 1485658"/>
              <a:gd name="connsiteY709" fmla="*/ 917374 h 1479935"/>
              <a:gd name="connsiteX710" fmla="*/ 890310 w 1485658"/>
              <a:gd name="connsiteY710" fmla="*/ 917374 h 1479935"/>
              <a:gd name="connsiteX711" fmla="*/ 920863 w 1485658"/>
              <a:gd name="connsiteY711" fmla="*/ 947811 h 1479935"/>
              <a:gd name="connsiteX712" fmla="*/ 951415 w 1485658"/>
              <a:gd name="connsiteY712" fmla="*/ 917374 h 1479935"/>
              <a:gd name="connsiteX713" fmla="*/ 920863 w 1485658"/>
              <a:gd name="connsiteY713" fmla="*/ 886937 h 1479935"/>
              <a:gd name="connsiteX714" fmla="*/ 890310 w 1485658"/>
              <a:gd name="connsiteY714" fmla="*/ 917374 h 1479935"/>
              <a:gd name="connsiteX715" fmla="*/ 949702 w 1485658"/>
              <a:gd name="connsiteY715" fmla="*/ 917374 h 1479935"/>
              <a:gd name="connsiteX716" fmla="*/ 980255 w 1485658"/>
              <a:gd name="connsiteY716" fmla="*/ 947811 h 1479935"/>
              <a:gd name="connsiteX717" fmla="*/ 1010807 w 1485658"/>
              <a:gd name="connsiteY717" fmla="*/ 917374 h 1479935"/>
              <a:gd name="connsiteX718" fmla="*/ 980255 w 1485658"/>
              <a:gd name="connsiteY718" fmla="*/ 886937 h 1479935"/>
              <a:gd name="connsiteX719" fmla="*/ 949702 w 1485658"/>
              <a:gd name="connsiteY719" fmla="*/ 917374 h 1479935"/>
              <a:gd name="connsiteX720" fmla="*/ 1127783 w 1485658"/>
              <a:gd name="connsiteY720" fmla="*/ 917374 h 1479935"/>
              <a:gd name="connsiteX721" fmla="*/ 1158336 w 1485658"/>
              <a:gd name="connsiteY721" fmla="*/ 947811 h 1479935"/>
              <a:gd name="connsiteX722" fmla="*/ 1188888 w 1485658"/>
              <a:gd name="connsiteY722" fmla="*/ 917374 h 1479935"/>
              <a:gd name="connsiteX723" fmla="*/ 1158336 w 1485658"/>
              <a:gd name="connsiteY723" fmla="*/ 886937 h 1479935"/>
              <a:gd name="connsiteX724" fmla="*/ 1127783 w 1485658"/>
              <a:gd name="connsiteY724" fmla="*/ 917374 h 1479935"/>
              <a:gd name="connsiteX725" fmla="*/ 1187080 w 1485658"/>
              <a:gd name="connsiteY725" fmla="*/ 917374 h 1479935"/>
              <a:gd name="connsiteX726" fmla="*/ 1217633 w 1485658"/>
              <a:gd name="connsiteY726" fmla="*/ 947811 h 1479935"/>
              <a:gd name="connsiteX727" fmla="*/ 1248185 w 1485658"/>
              <a:gd name="connsiteY727" fmla="*/ 917374 h 1479935"/>
              <a:gd name="connsiteX728" fmla="*/ 1217633 w 1485658"/>
              <a:gd name="connsiteY728" fmla="*/ 886937 h 1479935"/>
              <a:gd name="connsiteX729" fmla="*/ 1187080 w 1485658"/>
              <a:gd name="connsiteY729" fmla="*/ 917374 h 1479935"/>
              <a:gd name="connsiteX730" fmla="*/ 1424553 w 1485658"/>
              <a:gd name="connsiteY730" fmla="*/ 917374 h 1479935"/>
              <a:gd name="connsiteX731" fmla="*/ 1455106 w 1485658"/>
              <a:gd name="connsiteY731" fmla="*/ 947811 h 1479935"/>
              <a:gd name="connsiteX732" fmla="*/ 1485658 w 1485658"/>
              <a:gd name="connsiteY732" fmla="*/ 917374 h 1479935"/>
              <a:gd name="connsiteX733" fmla="*/ 1455106 w 1485658"/>
              <a:gd name="connsiteY733" fmla="*/ 886937 h 1479935"/>
              <a:gd name="connsiteX734" fmla="*/ 1424553 w 1485658"/>
              <a:gd name="connsiteY734" fmla="*/ 917374 h 1479935"/>
              <a:gd name="connsiteX735" fmla="*/ 95 w 1485658"/>
              <a:gd name="connsiteY735" fmla="*/ 976446 h 1479935"/>
              <a:gd name="connsiteX736" fmla="*/ 30648 w 1485658"/>
              <a:gd name="connsiteY736" fmla="*/ 1006883 h 1479935"/>
              <a:gd name="connsiteX737" fmla="*/ 61200 w 1485658"/>
              <a:gd name="connsiteY737" fmla="*/ 976446 h 1479935"/>
              <a:gd name="connsiteX738" fmla="*/ 30648 w 1485658"/>
              <a:gd name="connsiteY738" fmla="*/ 946009 h 1479935"/>
              <a:gd name="connsiteX739" fmla="*/ 95 w 1485658"/>
              <a:gd name="connsiteY739" fmla="*/ 976446 h 1479935"/>
              <a:gd name="connsiteX740" fmla="*/ 178081 w 1485658"/>
              <a:gd name="connsiteY740" fmla="*/ 976446 h 1479935"/>
              <a:gd name="connsiteX741" fmla="*/ 208634 w 1485658"/>
              <a:gd name="connsiteY741" fmla="*/ 1006883 h 1479935"/>
              <a:gd name="connsiteX742" fmla="*/ 239186 w 1485658"/>
              <a:gd name="connsiteY742" fmla="*/ 976446 h 1479935"/>
              <a:gd name="connsiteX743" fmla="*/ 208634 w 1485658"/>
              <a:gd name="connsiteY743" fmla="*/ 946009 h 1479935"/>
              <a:gd name="connsiteX744" fmla="*/ 178081 w 1485658"/>
              <a:gd name="connsiteY744" fmla="*/ 976446 h 1479935"/>
              <a:gd name="connsiteX745" fmla="*/ 356162 w 1485658"/>
              <a:gd name="connsiteY745" fmla="*/ 976446 h 1479935"/>
              <a:gd name="connsiteX746" fmla="*/ 386715 w 1485658"/>
              <a:gd name="connsiteY746" fmla="*/ 1006883 h 1479935"/>
              <a:gd name="connsiteX747" fmla="*/ 417267 w 1485658"/>
              <a:gd name="connsiteY747" fmla="*/ 976446 h 1479935"/>
              <a:gd name="connsiteX748" fmla="*/ 386715 w 1485658"/>
              <a:gd name="connsiteY748" fmla="*/ 946009 h 1479935"/>
              <a:gd name="connsiteX749" fmla="*/ 356162 w 1485658"/>
              <a:gd name="connsiteY749" fmla="*/ 976446 h 1479935"/>
              <a:gd name="connsiteX750" fmla="*/ 415554 w 1485658"/>
              <a:gd name="connsiteY750" fmla="*/ 976446 h 1479935"/>
              <a:gd name="connsiteX751" fmla="*/ 446107 w 1485658"/>
              <a:gd name="connsiteY751" fmla="*/ 1006883 h 1479935"/>
              <a:gd name="connsiteX752" fmla="*/ 476659 w 1485658"/>
              <a:gd name="connsiteY752" fmla="*/ 976446 h 1479935"/>
              <a:gd name="connsiteX753" fmla="*/ 446107 w 1485658"/>
              <a:gd name="connsiteY753" fmla="*/ 946009 h 1479935"/>
              <a:gd name="connsiteX754" fmla="*/ 415554 w 1485658"/>
              <a:gd name="connsiteY754" fmla="*/ 976446 h 1479935"/>
              <a:gd name="connsiteX755" fmla="*/ 534243 w 1485658"/>
              <a:gd name="connsiteY755" fmla="*/ 976446 h 1479935"/>
              <a:gd name="connsiteX756" fmla="*/ 564796 w 1485658"/>
              <a:gd name="connsiteY756" fmla="*/ 1006883 h 1479935"/>
              <a:gd name="connsiteX757" fmla="*/ 595348 w 1485658"/>
              <a:gd name="connsiteY757" fmla="*/ 976446 h 1479935"/>
              <a:gd name="connsiteX758" fmla="*/ 564796 w 1485658"/>
              <a:gd name="connsiteY758" fmla="*/ 946009 h 1479935"/>
              <a:gd name="connsiteX759" fmla="*/ 534243 w 1485658"/>
              <a:gd name="connsiteY759" fmla="*/ 976446 h 1479935"/>
              <a:gd name="connsiteX760" fmla="*/ 593635 w 1485658"/>
              <a:gd name="connsiteY760" fmla="*/ 976446 h 1479935"/>
              <a:gd name="connsiteX761" fmla="*/ 624188 w 1485658"/>
              <a:gd name="connsiteY761" fmla="*/ 1006883 h 1479935"/>
              <a:gd name="connsiteX762" fmla="*/ 654740 w 1485658"/>
              <a:gd name="connsiteY762" fmla="*/ 976446 h 1479935"/>
              <a:gd name="connsiteX763" fmla="*/ 624188 w 1485658"/>
              <a:gd name="connsiteY763" fmla="*/ 946009 h 1479935"/>
              <a:gd name="connsiteX764" fmla="*/ 593635 w 1485658"/>
              <a:gd name="connsiteY764" fmla="*/ 976446 h 1479935"/>
              <a:gd name="connsiteX765" fmla="*/ 712324 w 1485658"/>
              <a:gd name="connsiteY765" fmla="*/ 976446 h 1479935"/>
              <a:gd name="connsiteX766" fmla="*/ 742877 w 1485658"/>
              <a:gd name="connsiteY766" fmla="*/ 1006883 h 1479935"/>
              <a:gd name="connsiteX767" fmla="*/ 773429 w 1485658"/>
              <a:gd name="connsiteY767" fmla="*/ 976446 h 1479935"/>
              <a:gd name="connsiteX768" fmla="*/ 742877 w 1485658"/>
              <a:gd name="connsiteY768" fmla="*/ 946009 h 1479935"/>
              <a:gd name="connsiteX769" fmla="*/ 712324 w 1485658"/>
              <a:gd name="connsiteY769" fmla="*/ 976446 h 1479935"/>
              <a:gd name="connsiteX770" fmla="*/ 831013 w 1485658"/>
              <a:gd name="connsiteY770" fmla="*/ 976446 h 1479935"/>
              <a:gd name="connsiteX771" fmla="*/ 861566 w 1485658"/>
              <a:gd name="connsiteY771" fmla="*/ 1006883 h 1479935"/>
              <a:gd name="connsiteX772" fmla="*/ 892118 w 1485658"/>
              <a:gd name="connsiteY772" fmla="*/ 976446 h 1479935"/>
              <a:gd name="connsiteX773" fmla="*/ 861566 w 1485658"/>
              <a:gd name="connsiteY773" fmla="*/ 946009 h 1479935"/>
              <a:gd name="connsiteX774" fmla="*/ 831013 w 1485658"/>
              <a:gd name="connsiteY774" fmla="*/ 976446 h 1479935"/>
              <a:gd name="connsiteX775" fmla="*/ 890310 w 1485658"/>
              <a:gd name="connsiteY775" fmla="*/ 976446 h 1479935"/>
              <a:gd name="connsiteX776" fmla="*/ 920863 w 1485658"/>
              <a:gd name="connsiteY776" fmla="*/ 1006883 h 1479935"/>
              <a:gd name="connsiteX777" fmla="*/ 951415 w 1485658"/>
              <a:gd name="connsiteY777" fmla="*/ 976446 h 1479935"/>
              <a:gd name="connsiteX778" fmla="*/ 920863 w 1485658"/>
              <a:gd name="connsiteY778" fmla="*/ 946009 h 1479935"/>
              <a:gd name="connsiteX779" fmla="*/ 890310 w 1485658"/>
              <a:gd name="connsiteY779" fmla="*/ 976446 h 1479935"/>
              <a:gd name="connsiteX780" fmla="*/ 949702 w 1485658"/>
              <a:gd name="connsiteY780" fmla="*/ 976446 h 1479935"/>
              <a:gd name="connsiteX781" fmla="*/ 980255 w 1485658"/>
              <a:gd name="connsiteY781" fmla="*/ 1006883 h 1479935"/>
              <a:gd name="connsiteX782" fmla="*/ 1010807 w 1485658"/>
              <a:gd name="connsiteY782" fmla="*/ 976446 h 1479935"/>
              <a:gd name="connsiteX783" fmla="*/ 980255 w 1485658"/>
              <a:gd name="connsiteY783" fmla="*/ 946009 h 1479935"/>
              <a:gd name="connsiteX784" fmla="*/ 949702 w 1485658"/>
              <a:gd name="connsiteY784" fmla="*/ 976446 h 1479935"/>
              <a:gd name="connsiteX785" fmla="*/ 1009094 w 1485658"/>
              <a:gd name="connsiteY785" fmla="*/ 976446 h 1479935"/>
              <a:gd name="connsiteX786" fmla="*/ 1039647 w 1485658"/>
              <a:gd name="connsiteY786" fmla="*/ 1006883 h 1479935"/>
              <a:gd name="connsiteX787" fmla="*/ 1070199 w 1485658"/>
              <a:gd name="connsiteY787" fmla="*/ 976446 h 1479935"/>
              <a:gd name="connsiteX788" fmla="*/ 1039647 w 1485658"/>
              <a:gd name="connsiteY788" fmla="*/ 946009 h 1479935"/>
              <a:gd name="connsiteX789" fmla="*/ 1009094 w 1485658"/>
              <a:gd name="connsiteY789" fmla="*/ 976446 h 1479935"/>
              <a:gd name="connsiteX790" fmla="*/ 1068391 w 1485658"/>
              <a:gd name="connsiteY790" fmla="*/ 976446 h 1479935"/>
              <a:gd name="connsiteX791" fmla="*/ 1098944 w 1485658"/>
              <a:gd name="connsiteY791" fmla="*/ 1006883 h 1479935"/>
              <a:gd name="connsiteX792" fmla="*/ 1129496 w 1485658"/>
              <a:gd name="connsiteY792" fmla="*/ 976446 h 1479935"/>
              <a:gd name="connsiteX793" fmla="*/ 1098944 w 1485658"/>
              <a:gd name="connsiteY793" fmla="*/ 946009 h 1479935"/>
              <a:gd name="connsiteX794" fmla="*/ 1068391 w 1485658"/>
              <a:gd name="connsiteY794" fmla="*/ 976446 h 1479935"/>
              <a:gd name="connsiteX795" fmla="*/ 1127783 w 1485658"/>
              <a:gd name="connsiteY795" fmla="*/ 976446 h 1479935"/>
              <a:gd name="connsiteX796" fmla="*/ 1158336 w 1485658"/>
              <a:gd name="connsiteY796" fmla="*/ 1006883 h 1479935"/>
              <a:gd name="connsiteX797" fmla="*/ 1188888 w 1485658"/>
              <a:gd name="connsiteY797" fmla="*/ 976446 h 1479935"/>
              <a:gd name="connsiteX798" fmla="*/ 1158336 w 1485658"/>
              <a:gd name="connsiteY798" fmla="*/ 946009 h 1479935"/>
              <a:gd name="connsiteX799" fmla="*/ 1127783 w 1485658"/>
              <a:gd name="connsiteY799" fmla="*/ 976446 h 1479935"/>
              <a:gd name="connsiteX800" fmla="*/ 1187080 w 1485658"/>
              <a:gd name="connsiteY800" fmla="*/ 976446 h 1479935"/>
              <a:gd name="connsiteX801" fmla="*/ 1217633 w 1485658"/>
              <a:gd name="connsiteY801" fmla="*/ 1006883 h 1479935"/>
              <a:gd name="connsiteX802" fmla="*/ 1248185 w 1485658"/>
              <a:gd name="connsiteY802" fmla="*/ 976446 h 1479935"/>
              <a:gd name="connsiteX803" fmla="*/ 1217633 w 1485658"/>
              <a:gd name="connsiteY803" fmla="*/ 946009 h 1479935"/>
              <a:gd name="connsiteX804" fmla="*/ 1187080 w 1485658"/>
              <a:gd name="connsiteY804" fmla="*/ 976446 h 1479935"/>
              <a:gd name="connsiteX805" fmla="*/ 1305769 w 1485658"/>
              <a:gd name="connsiteY805" fmla="*/ 976446 h 1479935"/>
              <a:gd name="connsiteX806" fmla="*/ 1336322 w 1485658"/>
              <a:gd name="connsiteY806" fmla="*/ 1006883 h 1479935"/>
              <a:gd name="connsiteX807" fmla="*/ 1366874 w 1485658"/>
              <a:gd name="connsiteY807" fmla="*/ 976446 h 1479935"/>
              <a:gd name="connsiteX808" fmla="*/ 1336322 w 1485658"/>
              <a:gd name="connsiteY808" fmla="*/ 946009 h 1479935"/>
              <a:gd name="connsiteX809" fmla="*/ 1305769 w 1485658"/>
              <a:gd name="connsiteY809" fmla="*/ 976446 h 1479935"/>
              <a:gd name="connsiteX810" fmla="*/ 474851 w 1485658"/>
              <a:gd name="connsiteY810" fmla="*/ 1035613 h 1479935"/>
              <a:gd name="connsiteX811" fmla="*/ 505404 w 1485658"/>
              <a:gd name="connsiteY811" fmla="*/ 1066050 h 1479935"/>
              <a:gd name="connsiteX812" fmla="*/ 535956 w 1485658"/>
              <a:gd name="connsiteY812" fmla="*/ 1035613 h 1479935"/>
              <a:gd name="connsiteX813" fmla="*/ 505404 w 1485658"/>
              <a:gd name="connsiteY813" fmla="*/ 1005176 h 1479935"/>
              <a:gd name="connsiteX814" fmla="*/ 474851 w 1485658"/>
              <a:gd name="connsiteY814" fmla="*/ 1035613 h 1479935"/>
              <a:gd name="connsiteX815" fmla="*/ 534243 w 1485658"/>
              <a:gd name="connsiteY815" fmla="*/ 1035613 h 1479935"/>
              <a:gd name="connsiteX816" fmla="*/ 564796 w 1485658"/>
              <a:gd name="connsiteY816" fmla="*/ 1066050 h 1479935"/>
              <a:gd name="connsiteX817" fmla="*/ 595348 w 1485658"/>
              <a:gd name="connsiteY817" fmla="*/ 1035613 h 1479935"/>
              <a:gd name="connsiteX818" fmla="*/ 564796 w 1485658"/>
              <a:gd name="connsiteY818" fmla="*/ 1005176 h 1479935"/>
              <a:gd name="connsiteX819" fmla="*/ 534243 w 1485658"/>
              <a:gd name="connsiteY819" fmla="*/ 1035613 h 1479935"/>
              <a:gd name="connsiteX820" fmla="*/ 593635 w 1485658"/>
              <a:gd name="connsiteY820" fmla="*/ 1035613 h 1479935"/>
              <a:gd name="connsiteX821" fmla="*/ 624188 w 1485658"/>
              <a:gd name="connsiteY821" fmla="*/ 1066050 h 1479935"/>
              <a:gd name="connsiteX822" fmla="*/ 654740 w 1485658"/>
              <a:gd name="connsiteY822" fmla="*/ 1035613 h 1479935"/>
              <a:gd name="connsiteX823" fmla="*/ 624188 w 1485658"/>
              <a:gd name="connsiteY823" fmla="*/ 1005176 h 1479935"/>
              <a:gd name="connsiteX824" fmla="*/ 593635 w 1485658"/>
              <a:gd name="connsiteY824" fmla="*/ 1035613 h 1479935"/>
              <a:gd name="connsiteX825" fmla="*/ 890310 w 1485658"/>
              <a:gd name="connsiteY825" fmla="*/ 1035613 h 1479935"/>
              <a:gd name="connsiteX826" fmla="*/ 920863 w 1485658"/>
              <a:gd name="connsiteY826" fmla="*/ 1066050 h 1479935"/>
              <a:gd name="connsiteX827" fmla="*/ 951415 w 1485658"/>
              <a:gd name="connsiteY827" fmla="*/ 1035613 h 1479935"/>
              <a:gd name="connsiteX828" fmla="*/ 920863 w 1485658"/>
              <a:gd name="connsiteY828" fmla="*/ 1005176 h 1479935"/>
              <a:gd name="connsiteX829" fmla="*/ 890310 w 1485658"/>
              <a:gd name="connsiteY829" fmla="*/ 1035613 h 1479935"/>
              <a:gd name="connsiteX830" fmla="*/ 949702 w 1485658"/>
              <a:gd name="connsiteY830" fmla="*/ 1035613 h 1479935"/>
              <a:gd name="connsiteX831" fmla="*/ 980255 w 1485658"/>
              <a:gd name="connsiteY831" fmla="*/ 1066050 h 1479935"/>
              <a:gd name="connsiteX832" fmla="*/ 1010807 w 1485658"/>
              <a:gd name="connsiteY832" fmla="*/ 1035613 h 1479935"/>
              <a:gd name="connsiteX833" fmla="*/ 980255 w 1485658"/>
              <a:gd name="connsiteY833" fmla="*/ 1005176 h 1479935"/>
              <a:gd name="connsiteX834" fmla="*/ 949702 w 1485658"/>
              <a:gd name="connsiteY834" fmla="*/ 1035613 h 1479935"/>
              <a:gd name="connsiteX835" fmla="*/ 1187080 w 1485658"/>
              <a:gd name="connsiteY835" fmla="*/ 1035613 h 1479935"/>
              <a:gd name="connsiteX836" fmla="*/ 1217633 w 1485658"/>
              <a:gd name="connsiteY836" fmla="*/ 1066050 h 1479935"/>
              <a:gd name="connsiteX837" fmla="*/ 1248185 w 1485658"/>
              <a:gd name="connsiteY837" fmla="*/ 1035613 h 1479935"/>
              <a:gd name="connsiteX838" fmla="*/ 1217633 w 1485658"/>
              <a:gd name="connsiteY838" fmla="*/ 1005176 h 1479935"/>
              <a:gd name="connsiteX839" fmla="*/ 1187080 w 1485658"/>
              <a:gd name="connsiteY839" fmla="*/ 1035613 h 1479935"/>
              <a:gd name="connsiteX840" fmla="*/ 1246472 w 1485658"/>
              <a:gd name="connsiteY840" fmla="*/ 1035613 h 1479935"/>
              <a:gd name="connsiteX841" fmla="*/ 1277025 w 1485658"/>
              <a:gd name="connsiteY841" fmla="*/ 1066050 h 1479935"/>
              <a:gd name="connsiteX842" fmla="*/ 1307577 w 1485658"/>
              <a:gd name="connsiteY842" fmla="*/ 1035613 h 1479935"/>
              <a:gd name="connsiteX843" fmla="*/ 1277025 w 1485658"/>
              <a:gd name="connsiteY843" fmla="*/ 1005176 h 1479935"/>
              <a:gd name="connsiteX844" fmla="*/ 1246472 w 1485658"/>
              <a:gd name="connsiteY844" fmla="*/ 1035613 h 1479935"/>
              <a:gd name="connsiteX845" fmla="*/ 652932 w 1485658"/>
              <a:gd name="connsiteY845" fmla="*/ 1094685 h 1479935"/>
              <a:gd name="connsiteX846" fmla="*/ 683485 w 1485658"/>
              <a:gd name="connsiteY846" fmla="*/ 1125122 h 1479935"/>
              <a:gd name="connsiteX847" fmla="*/ 714037 w 1485658"/>
              <a:gd name="connsiteY847" fmla="*/ 1094685 h 1479935"/>
              <a:gd name="connsiteX848" fmla="*/ 683485 w 1485658"/>
              <a:gd name="connsiteY848" fmla="*/ 1064249 h 1479935"/>
              <a:gd name="connsiteX849" fmla="*/ 652932 w 1485658"/>
              <a:gd name="connsiteY849" fmla="*/ 1094685 h 1479935"/>
              <a:gd name="connsiteX850" fmla="*/ 712324 w 1485658"/>
              <a:gd name="connsiteY850" fmla="*/ 1094685 h 1479935"/>
              <a:gd name="connsiteX851" fmla="*/ 742877 w 1485658"/>
              <a:gd name="connsiteY851" fmla="*/ 1125122 h 1479935"/>
              <a:gd name="connsiteX852" fmla="*/ 773429 w 1485658"/>
              <a:gd name="connsiteY852" fmla="*/ 1094685 h 1479935"/>
              <a:gd name="connsiteX853" fmla="*/ 742877 w 1485658"/>
              <a:gd name="connsiteY853" fmla="*/ 1064249 h 1479935"/>
              <a:gd name="connsiteX854" fmla="*/ 712324 w 1485658"/>
              <a:gd name="connsiteY854" fmla="*/ 1094685 h 1479935"/>
              <a:gd name="connsiteX855" fmla="*/ 949702 w 1485658"/>
              <a:gd name="connsiteY855" fmla="*/ 1094685 h 1479935"/>
              <a:gd name="connsiteX856" fmla="*/ 980255 w 1485658"/>
              <a:gd name="connsiteY856" fmla="*/ 1125122 h 1479935"/>
              <a:gd name="connsiteX857" fmla="*/ 1010807 w 1485658"/>
              <a:gd name="connsiteY857" fmla="*/ 1094685 h 1479935"/>
              <a:gd name="connsiteX858" fmla="*/ 980255 w 1485658"/>
              <a:gd name="connsiteY858" fmla="*/ 1064249 h 1479935"/>
              <a:gd name="connsiteX859" fmla="*/ 949702 w 1485658"/>
              <a:gd name="connsiteY859" fmla="*/ 1094685 h 1479935"/>
              <a:gd name="connsiteX860" fmla="*/ 1068391 w 1485658"/>
              <a:gd name="connsiteY860" fmla="*/ 1094685 h 1479935"/>
              <a:gd name="connsiteX861" fmla="*/ 1098944 w 1485658"/>
              <a:gd name="connsiteY861" fmla="*/ 1125122 h 1479935"/>
              <a:gd name="connsiteX862" fmla="*/ 1129496 w 1485658"/>
              <a:gd name="connsiteY862" fmla="*/ 1094685 h 1479935"/>
              <a:gd name="connsiteX863" fmla="*/ 1098944 w 1485658"/>
              <a:gd name="connsiteY863" fmla="*/ 1064249 h 1479935"/>
              <a:gd name="connsiteX864" fmla="*/ 1068391 w 1485658"/>
              <a:gd name="connsiteY864" fmla="*/ 1094685 h 1479935"/>
              <a:gd name="connsiteX865" fmla="*/ 1187080 w 1485658"/>
              <a:gd name="connsiteY865" fmla="*/ 1094685 h 1479935"/>
              <a:gd name="connsiteX866" fmla="*/ 1217633 w 1485658"/>
              <a:gd name="connsiteY866" fmla="*/ 1125122 h 1479935"/>
              <a:gd name="connsiteX867" fmla="*/ 1248185 w 1485658"/>
              <a:gd name="connsiteY867" fmla="*/ 1094685 h 1479935"/>
              <a:gd name="connsiteX868" fmla="*/ 1217633 w 1485658"/>
              <a:gd name="connsiteY868" fmla="*/ 1064249 h 1479935"/>
              <a:gd name="connsiteX869" fmla="*/ 1187080 w 1485658"/>
              <a:gd name="connsiteY869" fmla="*/ 1094685 h 1479935"/>
              <a:gd name="connsiteX870" fmla="*/ 1305769 w 1485658"/>
              <a:gd name="connsiteY870" fmla="*/ 1094685 h 1479935"/>
              <a:gd name="connsiteX871" fmla="*/ 1336322 w 1485658"/>
              <a:gd name="connsiteY871" fmla="*/ 1125122 h 1479935"/>
              <a:gd name="connsiteX872" fmla="*/ 1366874 w 1485658"/>
              <a:gd name="connsiteY872" fmla="*/ 1094685 h 1479935"/>
              <a:gd name="connsiteX873" fmla="*/ 1336322 w 1485658"/>
              <a:gd name="connsiteY873" fmla="*/ 1064249 h 1479935"/>
              <a:gd name="connsiteX874" fmla="*/ 1305769 w 1485658"/>
              <a:gd name="connsiteY874" fmla="*/ 1094685 h 1479935"/>
              <a:gd name="connsiteX875" fmla="*/ 1365161 w 1485658"/>
              <a:gd name="connsiteY875" fmla="*/ 1094685 h 1479935"/>
              <a:gd name="connsiteX876" fmla="*/ 1395714 w 1485658"/>
              <a:gd name="connsiteY876" fmla="*/ 1125122 h 1479935"/>
              <a:gd name="connsiteX877" fmla="*/ 1426266 w 1485658"/>
              <a:gd name="connsiteY877" fmla="*/ 1094685 h 1479935"/>
              <a:gd name="connsiteX878" fmla="*/ 1395714 w 1485658"/>
              <a:gd name="connsiteY878" fmla="*/ 1064249 h 1479935"/>
              <a:gd name="connsiteX879" fmla="*/ 1365161 w 1485658"/>
              <a:gd name="connsiteY879" fmla="*/ 1094685 h 1479935"/>
              <a:gd name="connsiteX880" fmla="*/ 1424553 w 1485658"/>
              <a:gd name="connsiteY880" fmla="*/ 1094685 h 1479935"/>
              <a:gd name="connsiteX881" fmla="*/ 1455106 w 1485658"/>
              <a:gd name="connsiteY881" fmla="*/ 1125122 h 1479935"/>
              <a:gd name="connsiteX882" fmla="*/ 1485658 w 1485658"/>
              <a:gd name="connsiteY882" fmla="*/ 1094685 h 1479935"/>
              <a:gd name="connsiteX883" fmla="*/ 1455106 w 1485658"/>
              <a:gd name="connsiteY883" fmla="*/ 1064249 h 1479935"/>
              <a:gd name="connsiteX884" fmla="*/ 1424553 w 1485658"/>
              <a:gd name="connsiteY884" fmla="*/ 1094685 h 1479935"/>
              <a:gd name="connsiteX885" fmla="*/ 474851 w 1485658"/>
              <a:gd name="connsiteY885" fmla="*/ 1153853 h 1479935"/>
              <a:gd name="connsiteX886" fmla="*/ 505404 w 1485658"/>
              <a:gd name="connsiteY886" fmla="*/ 1184289 h 1479935"/>
              <a:gd name="connsiteX887" fmla="*/ 535956 w 1485658"/>
              <a:gd name="connsiteY887" fmla="*/ 1153853 h 1479935"/>
              <a:gd name="connsiteX888" fmla="*/ 505404 w 1485658"/>
              <a:gd name="connsiteY888" fmla="*/ 1123416 h 1479935"/>
              <a:gd name="connsiteX889" fmla="*/ 474851 w 1485658"/>
              <a:gd name="connsiteY889" fmla="*/ 1153853 h 1479935"/>
              <a:gd name="connsiteX890" fmla="*/ 593635 w 1485658"/>
              <a:gd name="connsiteY890" fmla="*/ 1153853 h 1479935"/>
              <a:gd name="connsiteX891" fmla="*/ 624188 w 1485658"/>
              <a:gd name="connsiteY891" fmla="*/ 1184289 h 1479935"/>
              <a:gd name="connsiteX892" fmla="*/ 654740 w 1485658"/>
              <a:gd name="connsiteY892" fmla="*/ 1153853 h 1479935"/>
              <a:gd name="connsiteX893" fmla="*/ 624188 w 1485658"/>
              <a:gd name="connsiteY893" fmla="*/ 1123416 h 1479935"/>
              <a:gd name="connsiteX894" fmla="*/ 593635 w 1485658"/>
              <a:gd name="connsiteY894" fmla="*/ 1153853 h 1479935"/>
              <a:gd name="connsiteX895" fmla="*/ 652932 w 1485658"/>
              <a:gd name="connsiteY895" fmla="*/ 1153853 h 1479935"/>
              <a:gd name="connsiteX896" fmla="*/ 683485 w 1485658"/>
              <a:gd name="connsiteY896" fmla="*/ 1184289 h 1479935"/>
              <a:gd name="connsiteX897" fmla="*/ 714037 w 1485658"/>
              <a:gd name="connsiteY897" fmla="*/ 1153853 h 1479935"/>
              <a:gd name="connsiteX898" fmla="*/ 683485 w 1485658"/>
              <a:gd name="connsiteY898" fmla="*/ 1123416 h 1479935"/>
              <a:gd name="connsiteX899" fmla="*/ 652932 w 1485658"/>
              <a:gd name="connsiteY899" fmla="*/ 1153853 h 1479935"/>
              <a:gd name="connsiteX900" fmla="*/ 831013 w 1485658"/>
              <a:gd name="connsiteY900" fmla="*/ 1153853 h 1479935"/>
              <a:gd name="connsiteX901" fmla="*/ 861566 w 1485658"/>
              <a:gd name="connsiteY901" fmla="*/ 1184289 h 1479935"/>
              <a:gd name="connsiteX902" fmla="*/ 892118 w 1485658"/>
              <a:gd name="connsiteY902" fmla="*/ 1153853 h 1479935"/>
              <a:gd name="connsiteX903" fmla="*/ 861566 w 1485658"/>
              <a:gd name="connsiteY903" fmla="*/ 1123416 h 1479935"/>
              <a:gd name="connsiteX904" fmla="*/ 831013 w 1485658"/>
              <a:gd name="connsiteY904" fmla="*/ 1153853 h 1479935"/>
              <a:gd name="connsiteX905" fmla="*/ 949702 w 1485658"/>
              <a:gd name="connsiteY905" fmla="*/ 1153853 h 1479935"/>
              <a:gd name="connsiteX906" fmla="*/ 980255 w 1485658"/>
              <a:gd name="connsiteY906" fmla="*/ 1184289 h 1479935"/>
              <a:gd name="connsiteX907" fmla="*/ 1010807 w 1485658"/>
              <a:gd name="connsiteY907" fmla="*/ 1153853 h 1479935"/>
              <a:gd name="connsiteX908" fmla="*/ 980255 w 1485658"/>
              <a:gd name="connsiteY908" fmla="*/ 1123416 h 1479935"/>
              <a:gd name="connsiteX909" fmla="*/ 949702 w 1485658"/>
              <a:gd name="connsiteY909" fmla="*/ 1153853 h 1479935"/>
              <a:gd name="connsiteX910" fmla="*/ 1187080 w 1485658"/>
              <a:gd name="connsiteY910" fmla="*/ 1153853 h 1479935"/>
              <a:gd name="connsiteX911" fmla="*/ 1217633 w 1485658"/>
              <a:gd name="connsiteY911" fmla="*/ 1184289 h 1479935"/>
              <a:gd name="connsiteX912" fmla="*/ 1248185 w 1485658"/>
              <a:gd name="connsiteY912" fmla="*/ 1153853 h 1479935"/>
              <a:gd name="connsiteX913" fmla="*/ 1217633 w 1485658"/>
              <a:gd name="connsiteY913" fmla="*/ 1123416 h 1479935"/>
              <a:gd name="connsiteX914" fmla="*/ 1187080 w 1485658"/>
              <a:gd name="connsiteY914" fmla="*/ 1153853 h 1479935"/>
              <a:gd name="connsiteX915" fmla="*/ 1246472 w 1485658"/>
              <a:gd name="connsiteY915" fmla="*/ 1153853 h 1479935"/>
              <a:gd name="connsiteX916" fmla="*/ 1277025 w 1485658"/>
              <a:gd name="connsiteY916" fmla="*/ 1184289 h 1479935"/>
              <a:gd name="connsiteX917" fmla="*/ 1307577 w 1485658"/>
              <a:gd name="connsiteY917" fmla="*/ 1153853 h 1479935"/>
              <a:gd name="connsiteX918" fmla="*/ 1277025 w 1485658"/>
              <a:gd name="connsiteY918" fmla="*/ 1123416 h 1479935"/>
              <a:gd name="connsiteX919" fmla="*/ 1246472 w 1485658"/>
              <a:gd name="connsiteY919" fmla="*/ 1153853 h 1479935"/>
              <a:gd name="connsiteX920" fmla="*/ 1424553 w 1485658"/>
              <a:gd name="connsiteY920" fmla="*/ 1153853 h 1479935"/>
              <a:gd name="connsiteX921" fmla="*/ 1455106 w 1485658"/>
              <a:gd name="connsiteY921" fmla="*/ 1184289 h 1479935"/>
              <a:gd name="connsiteX922" fmla="*/ 1485658 w 1485658"/>
              <a:gd name="connsiteY922" fmla="*/ 1153853 h 1479935"/>
              <a:gd name="connsiteX923" fmla="*/ 1455106 w 1485658"/>
              <a:gd name="connsiteY923" fmla="*/ 1123416 h 1479935"/>
              <a:gd name="connsiteX924" fmla="*/ 1424553 w 1485658"/>
              <a:gd name="connsiteY924" fmla="*/ 1153853 h 1479935"/>
              <a:gd name="connsiteX925" fmla="*/ 474851 w 1485658"/>
              <a:gd name="connsiteY925" fmla="*/ 1212925 h 1479935"/>
              <a:gd name="connsiteX926" fmla="*/ 505404 w 1485658"/>
              <a:gd name="connsiteY926" fmla="*/ 1243362 h 1479935"/>
              <a:gd name="connsiteX927" fmla="*/ 535956 w 1485658"/>
              <a:gd name="connsiteY927" fmla="*/ 1212925 h 1479935"/>
              <a:gd name="connsiteX928" fmla="*/ 505404 w 1485658"/>
              <a:gd name="connsiteY928" fmla="*/ 1182488 h 1479935"/>
              <a:gd name="connsiteX929" fmla="*/ 474851 w 1485658"/>
              <a:gd name="connsiteY929" fmla="*/ 1212925 h 1479935"/>
              <a:gd name="connsiteX930" fmla="*/ 534243 w 1485658"/>
              <a:gd name="connsiteY930" fmla="*/ 1212925 h 1479935"/>
              <a:gd name="connsiteX931" fmla="*/ 564796 w 1485658"/>
              <a:gd name="connsiteY931" fmla="*/ 1243362 h 1479935"/>
              <a:gd name="connsiteX932" fmla="*/ 595348 w 1485658"/>
              <a:gd name="connsiteY932" fmla="*/ 1212925 h 1479935"/>
              <a:gd name="connsiteX933" fmla="*/ 564796 w 1485658"/>
              <a:gd name="connsiteY933" fmla="*/ 1182488 h 1479935"/>
              <a:gd name="connsiteX934" fmla="*/ 534243 w 1485658"/>
              <a:gd name="connsiteY934" fmla="*/ 1212925 h 1479935"/>
              <a:gd name="connsiteX935" fmla="*/ 652932 w 1485658"/>
              <a:gd name="connsiteY935" fmla="*/ 1212925 h 1479935"/>
              <a:gd name="connsiteX936" fmla="*/ 683485 w 1485658"/>
              <a:gd name="connsiteY936" fmla="*/ 1243362 h 1479935"/>
              <a:gd name="connsiteX937" fmla="*/ 714037 w 1485658"/>
              <a:gd name="connsiteY937" fmla="*/ 1212925 h 1479935"/>
              <a:gd name="connsiteX938" fmla="*/ 683485 w 1485658"/>
              <a:gd name="connsiteY938" fmla="*/ 1182488 h 1479935"/>
              <a:gd name="connsiteX939" fmla="*/ 652932 w 1485658"/>
              <a:gd name="connsiteY939" fmla="*/ 1212925 h 1479935"/>
              <a:gd name="connsiteX940" fmla="*/ 890310 w 1485658"/>
              <a:gd name="connsiteY940" fmla="*/ 1212925 h 1479935"/>
              <a:gd name="connsiteX941" fmla="*/ 920863 w 1485658"/>
              <a:gd name="connsiteY941" fmla="*/ 1243362 h 1479935"/>
              <a:gd name="connsiteX942" fmla="*/ 951415 w 1485658"/>
              <a:gd name="connsiteY942" fmla="*/ 1212925 h 1479935"/>
              <a:gd name="connsiteX943" fmla="*/ 920863 w 1485658"/>
              <a:gd name="connsiteY943" fmla="*/ 1182488 h 1479935"/>
              <a:gd name="connsiteX944" fmla="*/ 890310 w 1485658"/>
              <a:gd name="connsiteY944" fmla="*/ 1212925 h 1479935"/>
              <a:gd name="connsiteX945" fmla="*/ 949702 w 1485658"/>
              <a:gd name="connsiteY945" fmla="*/ 1212925 h 1479935"/>
              <a:gd name="connsiteX946" fmla="*/ 980255 w 1485658"/>
              <a:gd name="connsiteY946" fmla="*/ 1243362 h 1479935"/>
              <a:gd name="connsiteX947" fmla="*/ 1010807 w 1485658"/>
              <a:gd name="connsiteY947" fmla="*/ 1212925 h 1479935"/>
              <a:gd name="connsiteX948" fmla="*/ 980255 w 1485658"/>
              <a:gd name="connsiteY948" fmla="*/ 1182488 h 1479935"/>
              <a:gd name="connsiteX949" fmla="*/ 949702 w 1485658"/>
              <a:gd name="connsiteY949" fmla="*/ 1212925 h 1479935"/>
              <a:gd name="connsiteX950" fmla="*/ 1009094 w 1485658"/>
              <a:gd name="connsiteY950" fmla="*/ 1212925 h 1479935"/>
              <a:gd name="connsiteX951" fmla="*/ 1039647 w 1485658"/>
              <a:gd name="connsiteY951" fmla="*/ 1243362 h 1479935"/>
              <a:gd name="connsiteX952" fmla="*/ 1070199 w 1485658"/>
              <a:gd name="connsiteY952" fmla="*/ 1212925 h 1479935"/>
              <a:gd name="connsiteX953" fmla="*/ 1039647 w 1485658"/>
              <a:gd name="connsiteY953" fmla="*/ 1182488 h 1479935"/>
              <a:gd name="connsiteX954" fmla="*/ 1009094 w 1485658"/>
              <a:gd name="connsiteY954" fmla="*/ 1212925 h 1479935"/>
              <a:gd name="connsiteX955" fmla="*/ 1068391 w 1485658"/>
              <a:gd name="connsiteY955" fmla="*/ 1212925 h 1479935"/>
              <a:gd name="connsiteX956" fmla="*/ 1098944 w 1485658"/>
              <a:gd name="connsiteY956" fmla="*/ 1243362 h 1479935"/>
              <a:gd name="connsiteX957" fmla="*/ 1129496 w 1485658"/>
              <a:gd name="connsiteY957" fmla="*/ 1212925 h 1479935"/>
              <a:gd name="connsiteX958" fmla="*/ 1098944 w 1485658"/>
              <a:gd name="connsiteY958" fmla="*/ 1182488 h 1479935"/>
              <a:gd name="connsiteX959" fmla="*/ 1068391 w 1485658"/>
              <a:gd name="connsiteY959" fmla="*/ 1212925 h 1479935"/>
              <a:gd name="connsiteX960" fmla="*/ 1127783 w 1485658"/>
              <a:gd name="connsiteY960" fmla="*/ 1212925 h 1479935"/>
              <a:gd name="connsiteX961" fmla="*/ 1158336 w 1485658"/>
              <a:gd name="connsiteY961" fmla="*/ 1243362 h 1479935"/>
              <a:gd name="connsiteX962" fmla="*/ 1188888 w 1485658"/>
              <a:gd name="connsiteY962" fmla="*/ 1212925 h 1479935"/>
              <a:gd name="connsiteX963" fmla="*/ 1158336 w 1485658"/>
              <a:gd name="connsiteY963" fmla="*/ 1182488 h 1479935"/>
              <a:gd name="connsiteX964" fmla="*/ 1127783 w 1485658"/>
              <a:gd name="connsiteY964" fmla="*/ 1212925 h 1479935"/>
              <a:gd name="connsiteX965" fmla="*/ 1187080 w 1485658"/>
              <a:gd name="connsiteY965" fmla="*/ 1212925 h 1479935"/>
              <a:gd name="connsiteX966" fmla="*/ 1217633 w 1485658"/>
              <a:gd name="connsiteY966" fmla="*/ 1243362 h 1479935"/>
              <a:gd name="connsiteX967" fmla="*/ 1248185 w 1485658"/>
              <a:gd name="connsiteY967" fmla="*/ 1212925 h 1479935"/>
              <a:gd name="connsiteX968" fmla="*/ 1217633 w 1485658"/>
              <a:gd name="connsiteY968" fmla="*/ 1182488 h 1479935"/>
              <a:gd name="connsiteX969" fmla="*/ 1187080 w 1485658"/>
              <a:gd name="connsiteY969" fmla="*/ 1212925 h 1479935"/>
              <a:gd name="connsiteX970" fmla="*/ 1305769 w 1485658"/>
              <a:gd name="connsiteY970" fmla="*/ 1212925 h 1479935"/>
              <a:gd name="connsiteX971" fmla="*/ 1336322 w 1485658"/>
              <a:gd name="connsiteY971" fmla="*/ 1243362 h 1479935"/>
              <a:gd name="connsiteX972" fmla="*/ 1366874 w 1485658"/>
              <a:gd name="connsiteY972" fmla="*/ 1212925 h 1479935"/>
              <a:gd name="connsiteX973" fmla="*/ 1336322 w 1485658"/>
              <a:gd name="connsiteY973" fmla="*/ 1182488 h 1479935"/>
              <a:gd name="connsiteX974" fmla="*/ 1305769 w 1485658"/>
              <a:gd name="connsiteY974" fmla="*/ 1212925 h 1479935"/>
              <a:gd name="connsiteX975" fmla="*/ 1365161 w 1485658"/>
              <a:gd name="connsiteY975" fmla="*/ 1212925 h 1479935"/>
              <a:gd name="connsiteX976" fmla="*/ 1395714 w 1485658"/>
              <a:gd name="connsiteY976" fmla="*/ 1243362 h 1479935"/>
              <a:gd name="connsiteX977" fmla="*/ 1426266 w 1485658"/>
              <a:gd name="connsiteY977" fmla="*/ 1212925 h 1479935"/>
              <a:gd name="connsiteX978" fmla="*/ 1395714 w 1485658"/>
              <a:gd name="connsiteY978" fmla="*/ 1182488 h 1479935"/>
              <a:gd name="connsiteX979" fmla="*/ 1365161 w 1485658"/>
              <a:gd name="connsiteY979" fmla="*/ 1212925 h 1479935"/>
              <a:gd name="connsiteX980" fmla="*/ 1424553 w 1485658"/>
              <a:gd name="connsiteY980" fmla="*/ 1212925 h 1479935"/>
              <a:gd name="connsiteX981" fmla="*/ 1455106 w 1485658"/>
              <a:gd name="connsiteY981" fmla="*/ 1243362 h 1479935"/>
              <a:gd name="connsiteX982" fmla="*/ 1485658 w 1485658"/>
              <a:gd name="connsiteY982" fmla="*/ 1212925 h 1479935"/>
              <a:gd name="connsiteX983" fmla="*/ 1455106 w 1485658"/>
              <a:gd name="connsiteY983" fmla="*/ 1182488 h 1479935"/>
              <a:gd name="connsiteX984" fmla="*/ 1424553 w 1485658"/>
              <a:gd name="connsiteY984" fmla="*/ 1212925 h 1479935"/>
              <a:gd name="connsiteX985" fmla="*/ 474851 w 1485658"/>
              <a:gd name="connsiteY985" fmla="*/ 1272092 h 1479935"/>
              <a:gd name="connsiteX986" fmla="*/ 505404 w 1485658"/>
              <a:gd name="connsiteY986" fmla="*/ 1302529 h 1479935"/>
              <a:gd name="connsiteX987" fmla="*/ 535956 w 1485658"/>
              <a:gd name="connsiteY987" fmla="*/ 1272092 h 1479935"/>
              <a:gd name="connsiteX988" fmla="*/ 505404 w 1485658"/>
              <a:gd name="connsiteY988" fmla="*/ 1241655 h 1479935"/>
              <a:gd name="connsiteX989" fmla="*/ 474851 w 1485658"/>
              <a:gd name="connsiteY989" fmla="*/ 1272092 h 1479935"/>
              <a:gd name="connsiteX990" fmla="*/ 534243 w 1485658"/>
              <a:gd name="connsiteY990" fmla="*/ 1272092 h 1479935"/>
              <a:gd name="connsiteX991" fmla="*/ 564796 w 1485658"/>
              <a:gd name="connsiteY991" fmla="*/ 1302529 h 1479935"/>
              <a:gd name="connsiteX992" fmla="*/ 595348 w 1485658"/>
              <a:gd name="connsiteY992" fmla="*/ 1272092 h 1479935"/>
              <a:gd name="connsiteX993" fmla="*/ 564796 w 1485658"/>
              <a:gd name="connsiteY993" fmla="*/ 1241655 h 1479935"/>
              <a:gd name="connsiteX994" fmla="*/ 534243 w 1485658"/>
              <a:gd name="connsiteY994" fmla="*/ 1272092 h 1479935"/>
              <a:gd name="connsiteX995" fmla="*/ 712324 w 1485658"/>
              <a:gd name="connsiteY995" fmla="*/ 1272092 h 1479935"/>
              <a:gd name="connsiteX996" fmla="*/ 742877 w 1485658"/>
              <a:gd name="connsiteY996" fmla="*/ 1302529 h 1479935"/>
              <a:gd name="connsiteX997" fmla="*/ 773429 w 1485658"/>
              <a:gd name="connsiteY997" fmla="*/ 1272092 h 1479935"/>
              <a:gd name="connsiteX998" fmla="*/ 742877 w 1485658"/>
              <a:gd name="connsiteY998" fmla="*/ 1241655 h 1479935"/>
              <a:gd name="connsiteX999" fmla="*/ 712324 w 1485658"/>
              <a:gd name="connsiteY999" fmla="*/ 1272092 h 1479935"/>
              <a:gd name="connsiteX1000" fmla="*/ 771621 w 1485658"/>
              <a:gd name="connsiteY1000" fmla="*/ 1272092 h 1479935"/>
              <a:gd name="connsiteX1001" fmla="*/ 802174 w 1485658"/>
              <a:gd name="connsiteY1001" fmla="*/ 1302529 h 1479935"/>
              <a:gd name="connsiteX1002" fmla="*/ 832726 w 1485658"/>
              <a:gd name="connsiteY1002" fmla="*/ 1272092 h 1479935"/>
              <a:gd name="connsiteX1003" fmla="*/ 802174 w 1485658"/>
              <a:gd name="connsiteY1003" fmla="*/ 1241655 h 1479935"/>
              <a:gd name="connsiteX1004" fmla="*/ 771621 w 1485658"/>
              <a:gd name="connsiteY1004" fmla="*/ 1272092 h 1479935"/>
              <a:gd name="connsiteX1005" fmla="*/ 831013 w 1485658"/>
              <a:gd name="connsiteY1005" fmla="*/ 1272092 h 1479935"/>
              <a:gd name="connsiteX1006" fmla="*/ 861566 w 1485658"/>
              <a:gd name="connsiteY1006" fmla="*/ 1302529 h 1479935"/>
              <a:gd name="connsiteX1007" fmla="*/ 892118 w 1485658"/>
              <a:gd name="connsiteY1007" fmla="*/ 1272092 h 1479935"/>
              <a:gd name="connsiteX1008" fmla="*/ 861566 w 1485658"/>
              <a:gd name="connsiteY1008" fmla="*/ 1241655 h 1479935"/>
              <a:gd name="connsiteX1009" fmla="*/ 831013 w 1485658"/>
              <a:gd name="connsiteY1009" fmla="*/ 1272092 h 1479935"/>
              <a:gd name="connsiteX1010" fmla="*/ 890310 w 1485658"/>
              <a:gd name="connsiteY1010" fmla="*/ 1272092 h 1479935"/>
              <a:gd name="connsiteX1011" fmla="*/ 920863 w 1485658"/>
              <a:gd name="connsiteY1011" fmla="*/ 1302529 h 1479935"/>
              <a:gd name="connsiteX1012" fmla="*/ 951415 w 1485658"/>
              <a:gd name="connsiteY1012" fmla="*/ 1272092 h 1479935"/>
              <a:gd name="connsiteX1013" fmla="*/ 920863 w 1485658"/>
              <a:gd name="connsiteY1013" fmla="*/ 1241655 h 1479935"/>
              <a:gd name="connsiteX1014" fmla="*/ 890310 w 1485658"/>
              <a:gd name="connsiteY1014" fmla="*/ 1272092 h 1479935"/>
              <a:gd name="connsiteX1015" fmla="*/ 1009094 w 1485658"/>
              <a:gd name="connsiteY1015" fmla="*/ 1272092 h 1479935"/>
              <a:gd name="connsiteX1016" fmla="*/ 1039647 w 1485658"/>
              <a:gd name="connsiteY1016" fmla="*/ 1302529 h 1479935"/>
              <a:gd name="connsiteX1017" fmla="*/ 1070199 w 1485658"/>
              <a:gd name="connsiteY1017" fmla="*/ 1272092 h 1479935"/>
              <a:gd name="connsiteX1018" fmla="*/ 1039647 w 1485658"/>
              <a:gd name="connsiteY1018" fmla="*/ 1241655 h 1479935"/>
              <a:gd name="connsiteX1019" fmla="*/ 1009094 w 1485658"/>
              <a:gd name="connsiteY1019" fmla="*/ 1272092 h 1479935"/>
              <a:gd name="connsiteX1020" fmla="*/ 1068391 w 1485658"/>
              <a:gd name="connsiteY1020" fmla="*/ 1272092 h 1479935"/>
              <a:gd name="connsiteX1021" fmla="*/ 1098944 w 1485658"/>
              <a:gd name="connsiteY1021" fmla="*/ 1302529 h 1479935"/>
              <a:gd name="connsiteX1022" fmla="*/ 1129496 w 1485658"/>
              <a:gd name="connsiteY1022" fmla="*/ 1272092 h 1479935"/>
              <a:gd name="connsiteX1023" fmla="*/ 1098944 w 1485658"/>
              <a:gd name="connsiteY1023" fmla="*/ 1241655 h 1479935"/>
              <a:gd name="connsiteX1024" fmla="*/ 1068391 w 1485658"/>
              <a:gd name="connsiteY1024" fmla="*/ 1272092 h 1479935"/>
              <a:gd name="connsiteX1025" fmla="*/ 1187080 w 1485658"/>
              <a:gd name="connsiteY1025" fmla="*/ 1272092 h 1479935"/>
              <a:gd name="connsiteX1026" fmla="*/ 1217633 w 1485658"/>
              <a:gd name="connsiteY1026" fmla="*/ 1302529 h 1479935"/>
              <a:gd name="connsiteX1027" fmla="*/ 1248185 w 1485658"/>
              <a:gd name="connsiteY1027" fmla="*/ 1272092 h 1479935"/>
              <a:gd name="connsiteX1028" fmla="*/ 1217633 w 1485658"/>
              <a:gd name="connsiteY1028" fmla="*/ 1241655 h 1479935"/>
              <a:gd name="connsiteX1029" fmla="*/ 1187080 w 1485658"/>
              <a:gd name="connsiteY1029" fmla="*/ 1272092 h 1479935"/>
              <a:gd name="connsiteX1030" fmla="*/ 1246472 w 1485658"/>
              <a:gd name="connsiteY1030" fmla="*/ 1272092 h 1479935"/>
              <a:gd name="connsiteX1031" fmla="*/ 1277025 w 1485658"/>
              <a:gd name="connsiteY1031" fmla="*/ 1302529 h 1479935"/>
              <a:gd name="connsiteX1032" fmla="*/ 1307577 w 1485658"/>
              <a:gd name="connsiteY1032" fmla="*/ 1272092 h 1479935"/>
              <a:gd name="connsiteX1033" fmla="*/ 1277025 w 1485658"/>
              <a:gd name="connsiteY1033" fmla="*/ 1241655 h 1479935"/>
              <a:gd name="connsiteX1034" fmla="*/ 1246472 w 1485658"/>
              <a:gd name="connsiteY1034" fmla="*/ 1272092 h 1479935"/>
              <a:gd name="connsiteX1035" fmla="*/ 1305769 w 1485658"/>
              <a:gd name="connsiteY1035" fmla="*/ 1272092 h 1479935"/>
              <a:gd name="connsiteX1036" fmla="*/ 1336322 w 1485658"/>
              <a:gd name="connsiteY1036" fmla="*/ 1302529 h 1479935"/>
              <a:gd name="connsiteX1037" fmla="*/ 1366874 w 1485658"/>
              <a:gd name="connsiteY1037" fmla="*/ 1272092 h 1479935"/>
              <a:gd name="connsiteX1038" fmla="*/ 1336322 w 1485658"/>
              <a:gd name="connsiteY1038" fmla="*/ 1241655 h 1479935"/>
              <a:gd name="connsiteX1039" fmla="*/ 1305769 w 1485658"/>
              <a:gd name="connsiteY1039" fmla="*/ 1272092 h 1479935"/>
              <a:gd name="connsiteX1040" fmla="*/ 1365161 w 1485658"/>
              <a:gd name="connsiteY1040" fmla="*/ 1272092 h 1479935"/>
              <a:gd name="connsiteX1041" fmla="*/ 1395714 w 1485658"/>
              <a:gd name="connsiteY1041" fmla="*/ 1302529 h 1479935"/>
              <a:gd name="connsiteX1042" fmla="*/ 1426266 w 1485658"/>
              <a:gd name="connsiteY1042" fmla="*/ 1272092 h 1479935"/>
              <a:gd name="connsiteX1043" fmla="*/ 1395714 w 1485658"/>
              <a:gd name="connsiteY1043" fmla="*/ 1241655 h 1479935"/>
              <a:gd name="connsiteX1044" fmla="*/ 1365161 w 1485658"/>
              <a:gd name="connsiteY1044" fmla="*/ 1272092 h 1479935"/>
              <a:gd name="connsiteX1045" fmla="*/ 1424553 w 1485658"/>
              <a:gd name="connsiteY1045" fmla="*/ 1272092 h 1479935"/>
              <a:gd name="connsiteX1046" fmla="*/ 1455106 w 1485658"/>
              <a:gd name="connsiteY1046" fmla="*/ 1302529 h 1479935"/>
              <a:gd name="connsiteX1047" fmla="*/ 1485658 w 1485658"/>
              <a:gd name="connsiteY1047" fmla="*/ 1272092 h 1479935"/>
              <a:gd name="connsiteX1048" fmla="*/ 1455106 w 1485658"/>
              <a:gd name="connsiteY1048" fmla="*/ 1241655 h 1479935"/>
              <a:gd name="connsiteX1049" fmla="*/ 1424553 w 1485658"/>
              <a:gd name="connsiteY1049" fmla="*/ 1272092 h 1479935"/>
              <a:gd name="connsiteX1050" fmla="*/ 474851 w 1485658"/>
              <a:gd name="connsiteY1050" fmla="*/ 1331259 h 1479935"/>
              <a:gd name="connsiteX1051" fmla="*/ 505404 w 1485658"/>
              <a:gd name="connsiteY1051" fmla="*/ 1361696 h 1479935"/>
              <a:gd name="connsiteX1052" fmla="*/ 535956 w 1485658"/>
              <a:gd name="connsiteY1052" fmla="*/ 1331259 h 1479935"/>
              <a:gd name="connsiteX1053" fmla="*/ 505404 w 1485658"/>
              <a:gd name="connsiteY1053" fmla="*/ 1300822 h 1479935"/>
              <a:gd name="connsiteX1054" fmla="*/ 474851 w 1485658"/>
              <a:gd name="connsiteY1054" fmla="*/ 1331259 h 1479935"/>
              <a:gd name="connsiteX1055" fmla="*/ 593635 w 1485658"/>
              <a:gd name="connsiteY1055" fmla="*/ 1331259 h 1479935"/>
              <a:gd name="connsiteX1056" fmla="*/ 624188 w 1485658"/>
              <a:gd name="connsiteY1056" fmla="*/ 1361696 h 1479935"/>
              <a:gd name="connsiteX1057" fmla="*/ 654740 w 1485658"/>
              <a:gd name="connsiteY1057" fmla="*/ 1331259 h 1479935"/>
              <a:gd name="connsiteX1058" fmla="*/ 624188 w 1485658"/>
              <a:gd name="connsiteY1058" fmla="*/ 1300822 h 1479935"/>
              <a:gd name="connsiteX1059" fmla="*/ 593635 w 1485658"/>
              <a:gd name="connsiteY1059" fmla="*/ 1331259 h 1479935"/>
              <a:gd name="connsiteX1060" fmla="*/ 771621 w 1485658"/>
              <a:gd name="connsiteY1060" fmla="*/ 1331259 h 1479935"/>
              <a:gd name="connsiteX1061" fmla="*/ 802174 w 1485658"/>
              <a:gd name="connsiteY1061" fmla="*/ 1361696 h 1479935"/>
              <a:gd name="connsiteX1062" fmla="*/ 832726 w 1485658"/>
              <a:gd name="connsiteY1062" fmla="*/ 1331259 h 1479935"/>
              <a:gd name="connsiteX1063" fmla="*/ 802174 w 1485658"/>
              <a:gd name="connsiteY1063" fmla="*/ 1300822 h 1479935"/>
              <a:gd name="connsiteX1064" fmla="*/ 771621 w 1485658"/>
              <a:gd name="connsiteY1064" fmla="*/ 1331259 h 1479935"/>
              <a:gd name="connsiteX1065" fmla="*/ 831013 w 1485658"/>
              <a:gd name="connsiteY1065" fmla="*/ 1331259 h 1479935"/>
              <a:gd name="connsiteX1066" fmla="*/ 861566 w 1485658"/>
              <a:gd name="connsiteY1066" fmla="*/ 1361696 h 1479935"/>
              <a:gd name="connsiteX1067" fmla="*/ 892118 w 1485658"/>
              <a:gd name="connsiteY1067" fmla="*/ 1331259 h 1479935"/>
              <a:gd name="connsiteX1068" fmla="*/ 861566 w 1485658"/>
              <a:gd name="connsiteY1068" fmla="*/ 1300822 h 1479935"/>
              <a:gd name="connsiteX1069" fmla="*/ 831013 w 1485658"/>
              <a:gd name="connsiteY1069" fmla="*/ 1331259 h 1479935"/>
              <a:gd name="connsiteX1070" fmla="*/ 1246472 w 1485658"/>
              <a:gd name="connsiteY1070" fmla="*/ 1331259 h 1479935"/>
              <a:gd name="connsiteX1071" fmla="*/ 1277025 w 1485658"/>
              <a:gd name="connsiteY1071" fmla="*/ 1361696 h 1479935"/>
              <a:gd name="connsiteX1072" fmla="*/ 1307577 w 1485658"/>
              <a:gd name="connsiteY1072" fmla="*/ 1331259 h 1479935"/>
              <a:gd name="connsiteX1073" fmla="*/ 1277025 w 1485658"/>
              <a:gd name="connsiteY1073" fmla="*/ 1300822 h 1479935"/>
              <a:gd name="connsiteX1074" fmla="*/ 1246472 w 1485658"/>
              <a:gd name="connsiteY1074" fmla="*/ 1331259 h 1479935"/>
              <a:gd name="connsiteX1075" fmla="*/ 1305769 w 1485658"/>
              <a:gd name="connsiteY1075" fmla="*/ 1331259 h 1479935"/>
              <a:gd name="connsiteX1076" fmla="*/ 1336322 w 1485658"/>
              <a:gd name="connsiteY1076" fmla="*/ 1361696 h 1479935"/>
              <a:gd name="connsiteX1077" fmla="*/ 1366874 w 1485658"/>
              <a:gd name="connsiteY1077" fmla="*/ 1331259 h 1479935"/>
              <a:gd name="connsiteX1078" fmla="*/ 1336322 w 1485658"/>
              <a:gd name="connsiteY1078" fmla="*/ 1300822 h 1479935"/>
              <a:gd name="connsiteX1079" fmla="*/ 1305769 w 1485658"/>
              <a:gd name="connsiteY1079" fmla="*/ 1331259 h 1479935"/>
              <a:gd name="connsiteX1080" fmla="*/ 1424553 w 1485658"/>
              <a:gd name="connsiteY1080" fmla="*/ 1331259 h 1479935"/>
              <a:gd name="connsiteX1081" fmla="*/ 1455106 w 1485658"/>
              <a:gd name="connsiteY1081" fmla="*/ 1361696 h 1479935"/>
              <a:gd name="connsiteX1082" fmla="*/ 1485658 w 1485658"/>
              <a:gd name="connsiteY1082" fmla="*/ 1331259 h 1479935"/>
              <a:gd name="connsiteX1083" fmla="*/ 1455106 w 1485658"/>
              <a:gd name="connsiteY1083" fmla="*/ 1300822 h 1479935"/>
              <a:gd name="connsiteX1084" fmla="*/ 1424553 w 1485658"/>
              <a:gd name="connsiteY1084" fmla="*/ 1331259 h 1479935"/>
              <a:gd name="connsiteX1085" fmla="*/ 712324 w 1485658"/>
              <a:gd name="connsiteY1085" fmla="*/ 1390331 h 1479935"/>
              <a:gd name="connsiteX1086" fmla="*/ 742877 w 1485658"/>
              <a:gd name="connsiteY1086" fmla="*/ 1420768 h 1479935"/>
              <a:gd name="connsiteX1087" fmla="*/ 773429 w 1485658"/>
              <a:gd name="connsiteY1087" fmla="*/ 1390331 h 1479935"/>
              <a:gd name="connsiteX1088" fmla="*/ 742877 w 1485658"/>
              <a:gd name="connsiteY1088" fmla="*/ 1359894 h 1479935"/>
              <a:gd name="connsiteX1089" fmla="*/ 712324 w 1485658"/>
              <a:gd name="connsiteY1089" fmla="*/ 1390331 h 1479935"/>
              <a:gd name="connsiteX1090" fmla="*/ 771621 w 1485658"/>
              <a:gd name="connsiteY1090" fmla="*/ 1390331 h 1479935"/>
              <a:gd name="connsiteX1091" fmla="*/ 802174 w 1485658"/>
              <a:gd name="connsiteY1091" fmla="*/ 1420768 h 1479935"/>
              <a:gd name="connsiteX1092" fmla="*/ 832726 w 1485658"/>
              <a:gd name="connsiteY1092" fmla="*/ 1390331 h 1479935"/>
              <a:gd name="connsiteX1093" fmla="*/ 802174 w 1485658"/>
              <a:gd name="connsiteY1093" fmla="*/ 1359894 h 1479935"/>
              <a:gd name="connsiteX1094" fmla="*/ 771621 w 1485658"/>
              <a:gd name="connsiteY1094" fmla="*/ 1390331 h 1479935"/>
              <a:gd name="connsiteX1095" fmla="*/ 949702 w 1485658"/>
              <a:gd name="connsiteY1095" fmla="*/ 1390331 h 1479935"/>
              <a:gd name="connsiteX1096" fmla="*/ 980255 w 1485658"/>
              <a:gd name="connsiteY1096" fmla="*/ 1420768 h 1479935"/>
              <a:gd name="connsiteX1097" fmla="*/ 1010807 w 1485658"/>
              <a:gd name="connsiteY1097" fmla="*/ 1390331 h 1479935"/>
              <a:gd name="connsiteX1098" fmla="*/ 980255 w 1485658"/>
              <a:gd name="connsiteY1098" fmla="*/ 1359894 h 1479935"/>
              <a:gd name="connsiteX1099" fmla="*/ 949702 w 1485658"/>
              <a:gd name="connsiteY1099" fmla="*/ 1390331 h 1479935"/>
              <a:gd name="connsiteX1100" fmla="*/ 1068391 w 1485658"/>
              <a:gd name="connsiteY1100" fmla="*/ 1390331 h 1479935"/>
              <a:gd name="connsiteX1101" fmla="*/ 1098944 w 1485658"/>
              <a:gd name="connsiteY1101" fmla="*/ 1420768 h 1479935"/>
              <a:gd name="connsiteX1102" fmla="*/ 1129496 w 1485658"/>
              <a:gd name="connsiteY1102" fmla="*/ 1390331 h 1479935"/>
              <a:gd name="connsiteX1103" fmla="*/ 1098944 w 1485658"/>
              <a:gd name="connsiteY1103" fmla="*/ 1359894 h 1479935"/>
              <a:gd name="connsiteX1104" fmla="*/ 1068391 w 1485658"/>
              <a:gd name="connsiteY1104" fmla="*/ 1390331 h 1479935"/>
              <a:gd name="connsiteX1105" fmla="*/ 1127783 w 1485658"/>
              <a:gd name="connsiteY1105" fmla="*/ 1390331 h 1479935"/>
              <a:gd name="connsiteX1106" fmla="*/ 1158336 w 1485658"/>
              <a:gd name="connsiteY1106" fmla="*/ 1420768 h 1479935"/>
              <a:gd name="connsiteX1107" fmla="*/ 1188888 w 1485658"/>
              <a:gd name="connsiteY1107" fmla="*/ 1390331 h 1479935"/>
              <a:gd name="connsiteX1108" fmla="*/ 1158336 w 1485658"/>
              <a:gd name="connsiteY1108" fmla="*/ 1359894 h 1479935"/>
              <a:gd name="connsiteX1109" fmla="*/ 1127783 w 1485658"/>
              <a:gd name="connsiteY1109" fmla="*/ 1390331 h 1479935"/>
              <a:gd name="connsiteX1110" fmla="*/ 1187080 w 1485658"/>
              <a:gd name="connsiteY1110" fmla="*/ 1390331 h 1479935"/>
              <a:gd name="connsiteX1111" fmla="*/ 1217633 w 1485658"/>
              <a:gd name="connsiteY1111" fmla="*/ 1420768 h 1479935"/>
              <a:gd name="connsiteX1112" fmla="*/ 1248185 w 1485658"/>
              <a:gd name="connsiteY1112" fmla="*/ 1390331 h 1479935"/>
              <a:gd name="connsiteX1113" fmla="*/ 1217633 w 1485658"/>
              <a:gd name="connsiteY1113" fmla="*/ 1359894 h 1479935"/>
              <a:gd name="connsiteX1114" fmla="*/ 1187080 w 1485658"/>
              <a:gd name="connsiteY1114" fmla="*/ 1390331 h 1479935"/>
              <a:gd name="connsiteX1115" fmla="*/ 1246472 w 1485658"/>
              <a:gd name="connsiteY1115" fmla="*/ 1390331 h 1479935"/>
              <a:gd name="connsiteX1116" fmla="*/ 1277025 w 1485658"/>
              <a:gd name="connsiteY1116" fmla="*/ 1420768 h 1479935"/>
              <a:gd name="connsiteX1117" fmla="*/ 1307577 w 1485658"/>
              <a:gd name="connsiteY1117" fmla="*/ 1390331 h 1479935"/>
              <a:gd name="connsiteX1118" fmla="*/ 1277025 w 1485658"/>
              <a:gd name="connsiteY1118" fmla="*/ 1359894 h 1479935"/>
              <a:gd name="connsiteX1119" fmla="*/ 1246472 w 1485658"/>
              <a:gd name="connsiteY1119" fmla="*/ 1390331 h 1479935"/>
              <a:gd name="connsiteX1120" fmla="*/ 1424553 w 1485658"/>
              <a:gd name="connsiteY1120" fmla="*/ 1390331 h 1479935"/>
              <a:gd name="connsiteX1121" fmla="*/ 1455106 w 1485658"/>
              <a:gd name="connsiteY1121" fmla="*/ 1420768 h 1479935"/>
              <a:gd name="connsiteX1122" fmla="*/ 1485658 w 1485658"/>
              <a:gd name="connsiteY1122" fmla="*/ 1390331 h 1479935"/>
              <a:gd name="connsiteX1123" fmla="*/ 1455106 w 1485658"/>
              <a:gd name="connsiteY1123" fmla="*/ 1359894 h 1479935"/>
              <a:gd name="connsiteX1124" fmla="*/ 1424553 w 1485658"/>
              <a:gd name="connsiteY1124" fmla="*/ 1390331 h 1479935"/>
              <a:gd name="connsiteX1125" fmla="*/ 474851 w 1485658"/>
              <a:gd name="connsiteY1125" fmla="*/ 1449498 h 1479935"/>
              <a:gd name="connsiteX1126" fmla="*/ 505404 w 1485658"/>
              <a:gd name="connsiteY1126" fmla="*/ 1479935 h 1479935"/>
              <a:gd name="connsiteX1127" fmla="*/ 535956 w 1485658"/>
              <a:gd name="connsiteY1127" fmla="*/ 1449498 h 1479935"/>
              <a:gd name="connsiteX1128" fmla="*/ 505404 w 1485658"/>
              <a:gd name="connsiteY1128" fmla="*/ 1419061 h 1479935"/>
              <a:gd name="connsiteX1129" fmla="*/ 474851 w 1485658"/>
              <a:gd name="connsiteY1129" fmla="*/ 1449498 h 1479935"/>
              <a:gd name="connsiteX1130" fmla="*/ 593635 w 1485658"/>
              <a:gd name="connsiteY1130" fmla="*/ 1449498 h 1479935"/>
              <a:gd name="connsiteX1131" fmla="*/ 624188 w 1485658"/>
              <a:gd name="connsiteY1131" fmla="*/ 1479935 h 1479935"/>
              <a:gd name="connsiteX1132" fmla="*/ 654740 w 1485658"/>
              <a:gd name="connsiteY1132" fmla="*/ 1449498 h 1479935"/>
              <a:gd name="connsiteX1133" fmla="*/ 624188 w 1485658"/>
              <a:gd name="connsiteY1133" fmla="*/ 1419061 h 1479935"/>
              <a:gd name="connsiteX1134" fmla="*/ 593635 w 1485658"/>
              <a:gd name="connsiteY1134" fmla="*/ 1449498 h 1479935"/>
              <a:gd name="connsiteX1135" fmla="*/ 712324 w 1485658"/>
              <a:gd name="connsiteY1135" fmla="*/ 1449498 h 1479935"/>
              <a:gd name="connsiteX1136" fmla="*/ 742877 w 1485658"/>
              <a:gd name="connsiteY1136" fmla="*/ 1479935 h 1479935"/>
              <a:gd name="connsiteX1137" fmla="*/ 773429 w 1485658"/>
              <a:gd name="connsiteY1137" fmla="*/ 1449498 h 1479935"/>
              <a:gd name="connsiteX1138" fmla="*/ 742877 w 1485658"/>
              <a:gd name="connsiteY1138" fmla="*/ 1419061 h 1479935"/>
              <a:gd name="connsiteX1139" fmla="*/ 712324 w 1485658"/>
              <a:gd name="connsiteY1139" fmla="*/ 1449498 h 1479935"/>
              <a:gd name="connsiteX1140" fmla="*/ 831013 w 1485658"/>
              <a:gd name="connsiteY1140" fmla="*/ 1449498 h 1479935"/>
              <a:gd name="connsiteX1141" fmla="*/ 861566 w 1485658"/>
              <a:gd name="connsiteY1141" fmla="*/ 1479935 h 1479935"/>
              <a:gd name="connsiteX1142" fmla="*/ 892118 w 1485658"/>
              <a:gd name="connsiteY1142" fmla="*/ 1449498 h 1479935"/>
              <a:gd name="connsiteX1143" fmla="*/ 861566 w 1485658"/>
              <a:gd name="connsiteY1143" fmla="*/ 1419061 h 1479935"/>
              <a:gd name="connsiteX1144" fmla="*/ 831013 w 1485658"/>
              <a:gd name="connsiteY1144" fmla="*/ 1449498 h 1479935"/>
              <a:gd name="connsiteX1145" fmla="*/ 1009094 w 1485658"/>
              <a:gd name="connsiteY1145" fmla="*/ 1449498 h 1479935"/>
              <a:gd name="connsiteX1146" fmla="*/ 1039647 w 1485658"/>
              <a:gd name="connsiteY1146" fmla="*/ 1479935 h 1479935"/>
              <a:gd name="connsiteX1147" fmla="*/ 1070199 w 1485658"/>
              <a:gd name="connsiteY1147" fmla="*/ 1449498 h 1479935"/>
              <a:gd name="connsiteX1148" fmla="*/ 1039647 w 1485658"/>
              <a:gd name="connsiteY1148" fmla="*/ 1419061 h 1479935"/>
              <a:gd name="connsiteX1149" fmla="*/ 1009094 w 1485658"/>
              <a:gd name="connsiteY1149" fmla="*/ 1449498 h 1479935"/>
              <a:gd name="connsiteX1150" fmla="*/ 1068391 w 1485658"/>
              <a:gd name="connsiteY1150" fmla="*/ 1449498 h 1479935"/>
              <a:gd name="connsiteX1151" fmla="*/ 1098944 w 1485658"/>
              <a:gd name="connsiteY1151" fmla="*/ 1479935 h 1479935"/>
              <a:gd name="connsiteX1152" fmla="*/ 1129496 w 1485658"/>
              <a:gd name="connsiteY1152" fmla="*/ 1449498 h 1479935"/>
              <a:gd name="connsiteX1153" fmla="*/ 1098944 w 1485658"/>
              <a:gd name="connsiteY1153" fmla="*/ 1419061 h 1479935"/>
              <a:gd name="connsiteX1154" fmla="*/ 1068391 w 1485658"/>
              <a:gd name="connsiteY1154" fmla="*/ 1449498 h 1479935"/>
              <a:gd name="connsiteX1155" fmla="*/ 1127783 w 1485658"/>
              <a:gd name="connsiteY1155" fmla="*/ 1449498 h 1479935"/>
              <a:gd name="connsiteX1156" fmla="*/ 1158336 w 1485658"/>
              <a:gd name="connsiteY1156" fmla="*/ 1479935 h 1479935"/>
              <a:gd name="connsiteX1157" fmla="*/ 1188888 w 1485658"/>
              <a:gd name="connsiteY1157" fmla="*/ 1449498 h 1479935"/>
              <a:gd name="connsiteX1158" fmla="*/ 1158336 w 1485658"/>
              <a:gd name="connsiteY1158" fmla="*/ 1419061 h 1479935"/>
              <a:gd name="connsiteX1159" fmla="*/ 1127783 w 1485658"/>
              <a:gd name="connsiteY1159" fmla="*/ 1449498 h 1479935"/>
              <a:gd name="connsiteX1160" fmla="*/ 1187080 w 1485658"/>
              <a:gd name="connsiteY1160" fmla="*/ 1449498 h 1479935"/>
              <a:gd name="connsiteX1161" fmla="*/ 1217633 w 1485658"/>
              <a:gd name="connsiteY1161" fmla="*/ 1479935 h 1479935"/>
              <a:gd name="connsiteX1162" fmla="*/ 1248185 w 1485658"/>
              <a:gd name="connsiteY1162" fmla="*/ 1449498 h 1479935"/>
              <a:gd name="connsiteX1163" fmla="*/ 1217633 w 1485658"/>
              <a:gd name="connsiteY1163" fmla="*/ 1419061 h 1479935"/>
              <a:gd name="connsiteX1164" fmla="*/ 1187080 w 1485658"/>
              <a:gd name="connsiteY1164" fmla="*/ 1449498 h 1479935"/>
              <a:gd name="connsiteX1165" fmla="*/ 1246472 w 1485658"/>
              <a:gd name="connsiteY1165" fmla="*/ 1449498 h 1479935"/>
              <a:gd name="connsiteX1166" fmla="*/ 1277025 w 1485658"/>
              <a:gd name="connsiteY1166" fmla="*/ 1479935 h 1479935"/>
              <a:gd name="connsiteX1167" fmla="*/ 1307577 w 1485658"/>
              <a:gd name="connsiteY1167" fmla="*/ 1449498 h 1479935"/>
              <a:gd name="connsiteX1168" fmla="*/ 1277025 w 1485658"/>
              <a:gd name="connsiteY1168" fmla="*/ 1419061 h 1479935"/>
              <a:gd name="connsiteX1169" fmla="*/ 1246472 w 1485658"/>
              <a:gd name="connsiteY1169" fmla="*/ 1449498 h 1479935"/>
              <a:gd name="connsiteX1170" fmla="*/ 1305769 w 1485658"/>
              <a:gd name="connsiteY1170" fmla="*/ 1449498 h 1479935"/>
              <a:gd name="connsiteX1171" fmla="*/ 1336322 w 1485658"/>
              <a:gd name="connsiteY1171" fmla="*/ 1479935 h 1479935"/>
              <a:gd name="connsiteX1172" fmla="*/ 1366874 w 1485658"/>
              <a:gd name="connsiteY1172" fmla="*/ 1449498 h 1479935"/>
              <a:gd name="connsiteX1173" fmla="*/ 1336322 w 1485658"/>
              <a:gd name="connsiteY1173" fmla="*/ 1419061 h 1479935"/>
              <a:gd name="connsiteX1174" fmla="*/ 1305769 w 1485658"/>
              <a:gd name="connsiteY1174" fmla="*/ 1449498 h 1479935"/>
              <a:gd name="connsiteX1175" fmla="*/ 1365161 w 1485658"/>
              <a:gd name="connsiteY1175" fmla="*/ 1449498 h 1479935"/>
              <a:gd name="connsiteX1176" fmla="*/ 1395714 w 1485658"/>
              <a:gd name="connsiteY1176" fmla="*/ 1479935 h 1479935"/>
              <a:gd name="connsiteX1177" fmla="*/ 1426266 w 1485658"/>
              <a:gd name="connsiteY1177" fmla="*/ 1449498 h 1479935"/>
              <a:gd name="connsiteX1178" fmla="*/ 1395714 w 1485658"/>
              <a:gd name="connsiteY1178" fmla="*/ 1419061 h 1479935"/>
              <a:gd name="connsiteX1179" fmla="*/ 1365161 w 1485658"/>
              <a:gd name="connsiteY1179" fmla="*/ 1449498 h 1479935"/>
              <a:gd name="connsiteX1180" fmla="*/ 1424553 w 1485658"/>
              <a:gd name="connsiteY1180" fmla="*/ 1449498 h 1479935"/>
              <a:gd name="connsiteX1181" fmla="*/ 1455106 w 1485658"/>
              <a:gd name="connsiteY1181" fmla="*/ 1479935 h 1479935"/>
              <a:gd name="connsiteX1182" fmla="*/ 1485658 w 1485658"/>
              <a:gd name="connsiteY1182" fmla="*/ 1449498 h 1479935"/>
              <a:gd name="connsiteX1183" fmla="*/ 1455106 w 1485658"/>
              <a:gd name="connsiteY1183" fmla="*/ 1419061 h 1479935"/>
              <a:gd name="connsiteX1184" fmla="*/ 1424553 w 1485658"/>
              <a:gd name="connsiteY1184" fmla="*/ 1449498 h 1479935"/>
              <a:gd name="connsiteX1185" fmla="*/ 207777 w 1485658"/>
              <a:gd name="connsiteY1185" fmla="*/ 0 h 1479935"/>
              <a:gd name="connsiteX1186" fmla="*/ 207777 w 1485658"/>
              <a:gd name="connsiteY1186" fmla="*/ 0 h 1479935"/>
              <a:gd name="connsiteX1187" fmla="*/ 415554 w 1485658"/>
              <a:gd name="connsiteY1187" fmla="*/ 206990 h 1479935"/>
              <a:gd name="connsiteX1188" fmla="*/ 415554 w 1485658"/>
              <a:gd name="connsiteY1188" fmla="*/ 206990 h 1479935"/>
              <a:gd name="connsiteX1189" fmla="*/ 207777 w 1485658"/>
              <a:gd name="connsiteY1189" fmla="*/ 413980 h 1479935"/>
              <a:gd name="connsiteX1190" fmla="*/ 207777 w 1485658"/>
              <a:gd name="connsiteY1190" fmla="*/ 413980 h 1479935"/>
              <a:gd name="connsiteX1191" fmla="*/ 0 w 1485658"/>
              <a:gd name="connsiteY1191" fmla="*/ 206990 h 1479935"/>
              <a:gd name="connsiteX1192" fmla="*/ 0 w 1485658"/>
              <a:gd name="connsiteY1192" fmla="*/ 206990 h 1479935"/>
              <a:gd name="connsiteX1193" fmla="*/ 207777 w 1485658"/>
              <a:gd name="connsiteY1193" fmla="*/ 0 h 1479935"/>
              <a:gd name="connsiteX1194" fmla="*/ 356162 w 1485658"/>
              <a:gd name="connsiteY1194" fmla="*/ 206895 h 1479935"/>
              <a:gd name="connsiteX1195" fmla="*/ 356162 w 1485658"/>
              <a:gd name="connsiteY1195" fmla="*/ 206895 h 1479935"/>
              <a:gd name="connsiteX1196" fmla="*/ 207777 w 1485658"/>
              <a:gd name="connsiteY1196" fmla="*/ 59072 h 1479935"/>
              <a:gd name="connsiteX1197" fmla="*/ 207777 w 1485658"/>
              <a:gd name="connsiteY1197" fmla="*/ 59072 h 1479935"/>
              <a:gd name="connsiteX1198" fmla="*/ 59392 w 1485658"/>
              <a:gd name="connsiteY1198" fmla="*/ 206895 h 1479935"/>
              <a:gd name="connsiteX1199" fmla="*/ 59392 w 1485658"/>
              <a:gd name="connsiteY1199" fmla="*/ 206895 h 1479935"/>
              <a:gd name="connsiteX1200" fmla="*/ 207777 w 1485658"/>
              <a:gd name="connsiteY1200" fmla="*/ 354718 h 1479935"/>
              <a:gd name="connsiteX1201" fmla="*/ 207777 w 1485658"/>
              <a:gd name="connsiteY1201" fmla="*/ 354718 h 1479935"/>
              <a:gd name="connsiteX1202" fmla="*/ 356162 w 1485658"/>
              <a:gd name="connsiteY1202" fmla="*/ 206895 h 1479935"/>
              <a:gd name="connsiteX1203" fmla="*/ 1276168 w 1485658"/>
              <a:gd name="connsiteY1203" fmla="*/ 0 h 1479935"/>
              <a:gd name="connsiteX1204" fmla="*/ 1276168 w 1485658"/>
              <a:gd name="connsiteY1204" fmla="*/ 0 h 1479935"/>
              <a:gd name="connsiteX1205" fmla="*/ 1483945 w 1485658"/>
              <a:gd name="connsiteY1205" fmla="*/ 206990 h 1479935"/>
              <a:gd name="connsiteX1206" fmla="*/ 1483945 w 1485658"/>
              <a:gd name="connsiteY1206" fmla="*/ 206990 h 1479935"/>
              <a:gd name="connsiteX1207" fmla="*/ 1276168 w 1485658"/>
              <a:gd name="connsiteY1207" fmla="*/ 413980 h 1479935"/>
              <a:gd name="connsiteX1208" fmla="*/ 1276168 w 1485658"/>
              <a:gd name="connsiteY1208" fmla="*/ 413980 h 1479935"/>
              <a:gd name="connsiteX1209" fmla="*/ 1068391 w 1485658"/>
              <a:gd name="connsiteY1209" fmla="*/ 206990 h 1479935"/>
              <a:gd name="connsiteX1210" fmla="*/ 1068391 w 1485658"/>
              <a:gd name="connsiteY1210" fmla="*/ 206990 h 1479935"/>
              <a:gd name="connsiteX1211" fmla="*/ 1276168 w 1485658"/>
              <a:gd name="connsiteY1211" fmla="*/ 0 h 1479935"/>
              <a:gd name="connsiteX1212" fmla="*/ 1424553 w 1485658"/>
              <a:gd name="connsiteY1212" fmla="*/ 206895 h 1479935"/>
              <a:gd name="connsiteX1213" fmla="*/ 1424553 w 1485658"/>
              <a:gd name="connsiteY1213" fmla="*/ 206895 h 1479935"/>
              <a:gd name="connsiteX1214" fmla="*/ 1276168 w 1485658"/>
              <a:gd name="connsiteY1214" fmla="*/ 59072 h 1479935"/>
              <a:gd name="connsiteX1215" fmla="*/ 1276168 w 1485658"/>
              <a:gd name="connsiteY1215" fmla="*/ 59072 h 1479935"/>
              <a:gd name="connsiteX1216" fmla="*/ 1127783 w 1485658"/>
              <a:gd name="connsiteY1216" fmla="*/ 206895 h 1479935"/>
              <a:gd name="connsiteX1217" fmla="*/ 1127783 w 1485658"/>
              <a:gd name="connsiteY1217" fmla="*/ 206895 h 1479935"/>
              <a:gd name="connsiteX1218" fmla="*/ 1276168 w 1485658"/>
              <a:gd name="connsiteY1218" fmla="*/ 354718 h 1479935"/>
              <a:gd name="connsiteX1219" fmla="*/ 1276168 w 1485658"/>
              <a:gd name="connsiteY1219" fmla="*/ 354718 h 1479935"/>
              <a:gd name="connsiteX1220" fmla="*/ 1424553 w 1485658"/>
              <a:gd name="connsiteY1220" fmla="*/ 206895 h 1479935"/>
              <a:gd name="connsiteX1221" fmla="*/ 207777 w 1485658"/>
              <a:gd name="connsiteY1221" fmla="*/ 1064249 h 1479935"/>
              <a:gd name="connsiteX1222" fmla="*/ 207777 w 1485658"/>
              <a:gd name="connsiteY1222" fmla="*/ 1064249 h 1479935"/>
              <a:gd name="connsiteX1223" fmla="*/ 415554 w 1485658"/>
              <a:gd name="connsiteY1223" fmla="*/ 1271238 h 1479935"/>
              <a:gd name="connsiteX1224" fmla="*/ 415554 w 1485658"/>
              <a:gd name="connsiteY1224" fmla="*/ 1271238 h 1479935"/>
              <a:gd name="connsiteX1225" fmla="*/ 207777 w 1485658"/>
              <a:gd name="connsiteY1225" fmla="*/ 1478228 h 1479935"/>
              <a:gd name="connsiteX1226" fmla="*/ 207777 w 1485658"/>
              <a:gd name="connsiteY1226" fmla="*/ 1478228 h 1479935"/>
              <a:gd name="connsiteX1227" fmla="*/ 0 w 1485658"/>
              <a:gd name="connsiteY1227" fmla="*/ 1271238 h 1479935"/>
              <a:gd name="connsiteX1228" fmla="*/ 0 w 1485658"/>
              <a:gd name="connsiteY1228" fmla="*/ 1271238 h 1479935"/>
              <a:gd name="connsiteX1229" fmla="*/ 207777 w 1485658"/>
              <a:gd name="connsiteY1229" fmla="*/ 1064249 h 1479935"/>
              <a:gd name="connsiteX1230" fmla="*/ 356162 w 1485658"/>
              <a:gd name="connsiteY1230" fmla="*/ 1271238 h 1479935"/>
              <a:gd name="connsiteX1231" fmla="*/ 356162 w 1485658"/>
              <a:gd name="connsiteY1231" fmla="*/ 1271238 h 1479935"/>
              <a:gd name="connsiteX1232" fmla="*/ 207777 w 1485658"/>
              <a:gd name="connsiteY1232" fmla="*/ 1123416 h 1479935"/>
              <a:gd name="connsiteX1233" fmla="*/ 207777 w 1485658"/>
              <a:gd name="connsiteY1233" fmla="*/ 1123416 h 1479935"/>
              <a:gd name="connsiteX1234" fmla="*/ 59392 w 1485658"/>
              <a:gd name="connsiteY1234" fmla="*/ 1271238 h 1479935"/>
              <a:gd name="connsiteX1235" fmla="*/ 59392 w 1485658"/>
              <a:gd name="connsiteY1235" fmla="*/ 1271238 h 1479935"/>
              <a:gd name="connsiteX1236" fmla="*/ 207777 w 1485658"/>
              <a:gd name="connsiteY1236" fmla="*/ 1419061 h 1479935"/>
              <a:gd name="connsiteX1237" fmla="*/ 207777 w 1485658"/>
              <a:gd name="connsiteY1237" fmla="*/ 1419061 h 1479935"/>
              <a:gd name="connsiteX1238" fmla="*/ 356162 w 1485658"/>
              <a:gd name="connsiteY1238" fmla="*/ 1271238 h 1479935"/>
              <a:gd name="connsiteX1239" fmla="*/ 118784 w 1485658"/>
              <a:gd name="connsiteY1239" fmla="*/ 206895 h 1479935"/>
              <a:gd name="connsiteX1240" fmla="*/ 207777 w 1485658"/>
              <a:gd name="connsiteY1240" fmla="*/ 295551 h 1479935"/>
              <a:gd name="connsiteX1241" fmla="*/ 296770 w 1485658"/>
              <a:gd name="connsiteY1241" fmla="*/ 206895 h 1479935"/>
              <a:gd name="connsiteX1242" fmla="*/ 207777 w 1485658"/>
              <a:gd name="connsiteY1242" fmla="*/ 118239 h 1479935"/>
              <a:gd name="connsiteX1243" fmla="*/ 118784 w 1485658"/>
              <a:gd name="connsiteY1243" fmla="*/ 206895 h 1479935"/>
              <a:gd name="connsiteX1244" fmla="*/ 1187080 w 1485658"/>
              <a:gd name="connsiteY1244" fmla="*/ 206895 h 1479935"/>
              <a:gd name="connsiteX1245" fmla="*/ 1276073 w 1485658"/>
              <a:gd name="connsiteY1245" fmla="*/ 295551 h 1479935"/>
              <a:gd name="connsiteX1246" fmla="*/ 1365066 w 1485658"/>
              <a:gd name="connsiteY1246" fmla="*/ 206895 h 1479935"/>
              <a:gd name="connsiteX1247" fmla="*/ 1276073 w 1485658"/>
              <a:gd name="connsiteY1247" fmla="*/ 118239 h 1479935"/>
              <a:gd name="connsiteX1248" fmla="*/ 1187080 w 1485658"/>
              <a:gd name="connsiteY1248" fmla="*/ 206895 h 1479935"/>
              <a:gd name="connsiteX1249" fmla="*/ 118784 w 1485658"/>
              <a:gd name="connsiteY1249" fmla="*/ 1271238 h 1479935"/>
              <a:gd name="connsiteX1250" fmla="*/ 207777 w 1485658"/>
              <a:gd name="connsiteY1250" fmla="*/ 1359894 h 1479935"/>
              <a:gd name="connsiteX1251" fmla="*/ 296770 w 1485658"/>
              <a:gd name="connsiteY1251" fmla="*/ 1271238 h 1479935"/>
              <a:gd name="connsiteX1252" fmla="*/ 207777 w 1485658"/>
              <a:gd name="connsiteY1252" fmla="*/ 1182583 h 1479935"/>
              <a:gd name="connsiteX1253" fmla="*/ 118784 w 1485658"/>
              <a:gd name="connsiteY1253" fmla="*/ 1271238 h 1479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</a:cxnLst>
            <a:rect l="l" t="t" r="r" b="b"/>
            <a:pathLst>
              <a:path w="1485658" h="1479935">
                <a:moveTo>
                  <a:pt x="564796" y="0"/>
                </a:moveTo>
                <a:cubicBezTo>
                  <a:pt x="581643" y="0"/>
                  <a:pt x="595348" y="13654"/>
                  <a:pt x="595348" y="30437"/>
                </a:cubicBezTo>
                <a:cubicBezTo>
                  <a:pt x="595348" y="47220"/>
                  <a:pt x="581643" y="60874"/>
                  <a:pt x="564796" y="60874"/>
                </a:cubicBezTo>
                <a:cubicBezTo>
                  <a:pt x="547949" y="60874"/>
                  <a:pt x="534243" y="47220"/>
                  <a:pt x="534243" y="30437"/>
                </a:cubicBezTo>
                <a:cubicBezTo>
                  <a:pt x="534243" y="13654"/>
                  <a:pt x="547949" y="0"/>
                  <a:pt x="564796" y="0"/>
                </a:cubicBezTo>
                <a:close/>
                <a:moveTo>
                  <a:pt x="593635" y="30437"/>
                </a:moveTo>
                <a:cubicBezTo>
                  <a:pt x="593635" y="47220"/>
                  <a:pt x="607341" y="60874"/>
                  <a:pt x="624188" y="60874"/>
                </a:cubicBezTo>
                <a:cubicBezTo>
                  <a:pt x="641035" y="60874"/>
                  <a:pt x="654740" y="47220"/>
                  <a:pt x="654740" y="30437"/>
                </a:cubicBezTo>
                <a:cubicBezTo>
                  <a:pt x="654740" y="13654"/>
                  <a:pt x="641035" y="0"/>
                  <a:pt x="624188" y="0"/>
                </a:cubicBezTo>
                <a:cubicBezTo>
                  <a:pt x="607341" y="0"/>
                  <a:pt x="593635" y="13654"/>
                  <a:pt x="593635" y="30437"/>
                </a:cubicBezTo>
                <a:close/>
                <a:moveTo>
                  <a:pt x="652932" y="30437"/>
                </a:moveTo>
                <a:cubicBezTo>
                  <a:pt x="652932" y="47220"/>
                  <a:pt x="666638" y="60874"/>
                  <a:pt x="683485" y="60874"/>
                </a:cubicBezTo>
                <a:cubicBezTo>
                  <a:pt x="700332" y="60874"/>
                  <a:pt x="714037" y="47220"/>
                  <a:pt x="714037" y="30437"/>
                </a:cubicBezTo>
                <a:cubicBezTo>
                  <a:pt x="714037" y="13654"/>
                  <a:pt x="700332" y="0"/>
                  <a:pt x="683485" y="0"/>
                </a:cubicBezTo>
                <a:cubicBezTo>
                  <a:pt x="666638" y="0"/>
                  <a:pt x="652932" y="13654"/>
                  <a:pt x="652932" y="30437"/>
                </a:cubicBezTo>
                <a:close/>
                <a:moveTo>
                  <a:pt x="831013" y="30437"/>
                </a:moveTo>
                <a:cubicBezTo>
                  <a:pt x="831013" y="47220"/>
                  <a:pt x="844719" y="60874"/>
                  <a:pt x="861566" y="60874"/>
                </a:cubicBezTo>
                <a:cubicBezTo>
                  <a:pt x="878413" y="60874"/>
                  <a:pt x="892118" y="47220"/>
                  <a:pt x="892118" y="30437"/>
                </a:cubicBezTo>
                <a:cubicBezTo>
                  <a:pt x="892118" y="13654"/>
                  <a:pt x="878413" y="0"/>
                  <a:pt x="861566" y="0"/>
                </a:cubicBezTo>
                <a:cubicBezTo>
                  <a:pt x="844719" y="0"/>
                  <a:pt x="831013" y="13654"/>
                  <a:pt x="831013" y="30437"/>
                </a:cubicBezTo>
                <a:close/>
                <a:moveTo>
                  <a:pt x="949702" y="30437"/>
                </a:moveTo>
                <a:cubicBezTo>
                  <a:pt x="949702" y="47220"/>
                  <a:pt x="963408" y="60874"/>
                  <a:pt x="980255" y="60874"/>
                </a:cubicBezTo>
                <a:cubicBezTo>
                  <a:pt x="997101" y="60874"/>
                  <a:pt x="1010807" y="47220"/>
                  <a:pt x="1010807" y="30437"/>
                </a:cubicBezTo>
                <a:cubicBezTo>
                  <a:pt x="1010807" y="13654"/>
                  <a:pt x="997101" y="0"/>
                  <a:pt x="980255" y="0"/>
                </a:cubicBezTo>
                <a:cubicBezTo>
                  <a:pt x="963408" y="0"/>
                  <a:pt x="949702" y="13654"/>
                  <a:pt x="949702" y="30437"/>
                </a:cubicBezTo>
                <a:close/>
                <a:moveTo>
                  <a:pt x="593635" y="89509"/>
                </a:moveTo>
                <a:cubicBezTo>
                  <a:pt x="593635" y="106292"/>
                  <a:pt x="607341" y="119946"/>
                  <a:pt x="624188" y="119946"/>
                </a:cubicBezTo>
                <a:cubicBezTo>
                  <a:pt x="641035" y="119946"/>
                  <a:pt x="654740" y="106292"/>
                  <a:pt x="654740" y="89509"/>
                </a:cubicBezTo>
                <a:cubicBezTo>
                  <a:pt x="654740" y="72726"/>
                  <a:pt x="641035" y="59072"/>
                  <a:pt x="624188" y="59072"/>
                </a:cubicBezTo>
                <a:cubicBezTo>
                  <a:pt x="607341" y="59072"/>
                  <a:pt x="593635" y="72726"/>
                  <a:pt x="593635" y="89509"/>
                </a:cubicBezTo>
                <a:close/>
                <a:moveTo>
                  <a:pt x="771621" y="89509"/>
                </a:moveTo>
                <a:cubicBezTo>
                  <a:pt x="771621" y="106292"/>
                  <a:pt x="785327" y="119946"/>
                  <a:pt x="802174" y="119946"/>
                </a:cubicBezTo>
                <a:cubicBezTo>
                  <a:pt x="819021" y="119946"/>
                  <a:pt x="832726" y="106292"/>
                  <a:pt x="832726" y="89509"/>
                </a:cubicBezTo>
                <a:cubicBezTo>
                  <a:pt x="832726" y="72726"/>
                  <a:pt x="819021" y="59072"/>
                  <a:pt x="802174" y="59072"/>
                </a:cubicBezTo>
                <a:cubicBezTo>
                  <a:pt x="785327" y="59072"/>
                  <a:pt x="771621" y="72726"/>
                  <a:pt x="771621" y="89509"/>
                </a:cubicBezTo>
                <a:close/>
                <a:moveTo>
                  <a:pt x="890310" y="89509"/>
                </a:moveTo>
                <a:cubicBezTo>
                  <a:pt x="890310" y="106292"/>
                  <a:pt x="904016" y="119946"/>
                  <a:pt x="920863" y="119946"/>
                </a:cubicBezTo>
                <a:cubicBezTo>
                  <a:pt x="937709" y="119946"/>
                  <a:pt x="951415" y="106292"/>
                  <a:pt x="951415" y="89509"/>
                </a:cubicBezTo>
                <a:cubicBezTo>
                  <a:pt x="951415" y="72726"/>
                  <a:pt x="937709" y="59072"/>
                  <a:pt x="920863" y="59072"/>
                </a:cubicBezTo>
                <a:cubicBezTo>
                  <a:pt x="904016" y="59072"/>
                  <a:pt x="890310" y="72726"/>
                  <a:pt x="890310" y="89509"/>
                </a:cubicBezTo>
                <a:close/>
                <a:moveTo>
                  <a:pt x="474851" y="148676"/>
                </a:moveTo>
                <a:cubicBezTo>
                  <a:pt x="474851" y="165459"/>
                  <a:pt x="488557" y="179113"/>
                  <a:pt x="505404" y="179113"/>
                </a:cubicBezTo>
                <a:cubicBezTo>
                  <a:pt x="522250" y="179113"/>
                  <a:pt x="535956" y="165459"/>
                  <a:pt x="535956" y="148676"/>
                </a:cubicBezTo>
                <a:cubicBezTo>
                  <a:pt x="535956" y="131893"/>
                  <a:pt x="522250" y="118239"/>
                  <a:pt x="505404" y="118239"/>
                </a:cubicBezTo>
                <a:cubicBezTo>
                  <a:pt x="488557" y="118239"/>
                  <a:pt x="474851" y="131893"/>
                  <a:pt x="474851" y="148676"/>
                </a:cubicBezTo>
                <a:close/>
                <a:moveTo>
                  <a:pt x="712324" y="148676"/>
                </a:moveTo>
                <a:cubicBezTo>
                  <a:pt x="712324" y="165459"/>
                  <a:pt x="726030" y="179113"/>
                  <a:pt x="742877" y="179113"/>
                </a:cubicBezTo>
                <a:cubicBezTo>
                  <a:pt x="759724" y="179113"/>
                  <a:pt x="773429" y="165459"/>
                  <a:pt x="773429" y="148676"/>
                </a:cubicBezTo>
                <a:cubicBezTo>
                  <a:pt x="773429" y="131893"/>
                  <a:pt x="759724" y="118239"/>
                  <a:pt x="742877" y="118239"/>
                </a:cubicBezTo>
                <a:cubicBezTo>
                  <a:pt x="726030" y="118239"/>
                  <a:pt x="712324" y="131893"/>
                  <a:pt x="712324" y="148676"/>
                </a:cubicBezTo>
                <a:close/>
                <a:moveTo>
                  <a:pt x="949702" y="148676"/>
                </a:moveTo>
                <a:cubicBezTo>
                  <a:pt x="949702" y="165459"/>
                  <a:pt x="963408" y="179113"/>
                  <a:pt x="980255" y="179113"/>
                </a:cubicBezTo>
                <a:cubicBezTo>
                  <a:pt x="997101" y="179113"/>
                  <a:pt x="1010807" y="165459"/>
                  <a:pt x="1010807" y="148676"/>
                </a:cubicBezTo>
                <a:cubicBezTo>
                  <a:pt x="1010807" y="131893"/>
                  <a:pt x="997101" y="118239"/>
                  <a:pt x="980255" y="118239"/>
                </a:cubicBezTo>
                <a:cubicBezTo>
                  <a:pt x="963408" y="118239"/>
                  <a:pt x="949702" y="131893"/>
                  <a:pt x="949702" y="148676"/>
                </a:cubicBezTo>
                <a:close/>
                <a:moveTo>
                  <a:pt x="474851" y="207843"/>
                </a:moveTo>
                <a:cubicBezTo>
                  <a:pt x="474851" y="224626"/>
                  <a:pt x="488557" y="238280"/>
                  <a:pt x="505404" y="238280"/>
                </a:cubicBezTo>
                <a:cubicBezTo>
                  <a:pt x="522250" y="238280"/>
                  <a:pt x="535956" y="224626"/>
                  <a:pt x="535956" y="207843"/>
                </a:cubicBezTo>
                <a:cubicBezTo>
                  <a:pt x="535956" y="191060"/>
                  <a:pt x="522250" y="177406"/>
                  <a:pt x="505404" y="177406"/>
                </a:cubicBezTo>
                <a:cubicBezTo>
                  <a:pt x="488557" y="177406"/>
                  <a:pt x="474851" y="191060"/>
                  <a:pt x="474851" y="207843"/>
                </a:cubicBezTo>
                <a:close/>
                <a:moveTo>
                  <a:pt x="534243" y="207843"/>
                </a:moveTo>
                <a:cubicBezTo>
                  <a:pt x="534243" y="224626"/>
                  <a:pt x="547949" y="238280"/>
                  <a:pt x="564796" y="238280"/>
                </a:cubicBezTo>
                <a:cubicBezTo>
                  <a:pt x="581643" y="238280"/>
                  <a:pt x="595348" y="224626"/>
                  <a:pt x="595348" y="207843"/>
                </a:cubicBezTo>
                <a:cubicBezTo>
                  <a:pt x="595348" y="191060"/>
                  <a:pt x="581643" y="177406"/>
                  <a:pt x="564796" y="177406"/>
                </a:cubicBezTo>
                <a:cubicBezTo>
                  <a:pt x="547949" y="177406"/>
                  <a:pt x="534243" y="191060"/>
                  <a:pt x="534243" y="207843"/>
                </a:cubicBezTo>
                <a:close/>
                <a:moveTo>
                  <a:pt x="593635" y="207843"/>
                </a:moveTo>
                <a:cubicBezTo>
                  <a:pt x="593635" y="224626"/>
                  <a:pt x="607341" y="238280"/>
                  <a:pt x="624188" y="238280"/>
                </a:cubicBezTo>
                <a:cubicBezTo>
                  <a:pt x="641035" y="238280"/>
                  <a:pt x="654740" y="224626"/>
                  <a:pt x="654740" y="207843"/>
                </a:cubicBezTo>
                <a:cubicBezTo>
                  <a:pt x="654740" y="191060"/>
                  <a:pt x="641035" y="177406"/>
                  <a:pt x="624188" y="177406"/>
                </a:cubicBezTo>
                <a:cubicBezTo>
                  <a:pt x="607341" y="177406"/>
                  <a:pt x="593635" y="191060"/>
                  <a:pt x="593635" y="207843"/>
                </a:cubicBezTo>
                <a:close/>
                <a:moveTo>
                  <a:pt x="652932" y="207843"/>
                </a:moveTo>
                <a:cubicBezTo>
                  <a:pt x="652932" y="224626"/>
                  <a:pt x="666638" y="238280"/>
                  <a:pt x="683485" y="238280"/>
                </a:cubicBezTo>
                <a:cubicBezTo>
                  <a:pt x="700332" y="238280"/>
                  <a:pt x="714037" y="224626"/>
                  <a:pt x="714037" y="207843"/>
                </a:cubicBezTo>
                <a:cubicBezTo>
                  <a:pt x="714037" y="191060"/>
                  <a:pt x="700332" y="177406"/>
                  <a:pt x="683485" y="177406"/>
                </a:cubicBezTo>
                <a:cubicBezTo>
                  <a:pt x="666638" y="177406"/>
                  <a:pt x="652932" y="191060"/>
                  <a:pt x="652932" y="207843"/>
                </a:cubicBezTo>
                <a:close/>
                <a:moveTo>
                  <a:pt x="771621" y="207843"/>
                </a:moveTo>
                <a:cubicBezTo>
                  <a:pt x="771621" y="224626"/>
                  <a:pt x="785327" y="238280"/>
                  <a:pt x="802174" y="238280"/>
                </a:cubicBezTo>
                <a:cubicBezTo>
                  <a:pt x="819021" y="238280"/>
                  <a:pt x="832726" y="224626"/>
                  <a:pt x="832726" y="207843"/>
                </a:cubicBezTo>
                <a:cubicBezTo>
                  <a:pt x="832726" y="191060"/>
                  <a:pt x="819021" y="177406"/>
                  <a:pt x="802174" y="177406"/>
                </a:cubicBezTo>
                <a:cubicBezTo>
                  <a:pt x="785327" y="177406"/>
                  <a:pt x="771621" y="191060"/>
                  <a:pt x="771621" y="207843"/>
                </a:cubicBezTo>
                <a:close/>
                <a:moveTo>
                  <a:pt x="831013" y="207843"/>
                </a:moveTo>
                <a:cubicBezTo>
                  <a:pt x="831013" y="224626"/>
                  <a:pt x="844719" y="238280"/>
                  <a:pt x="861566" y="238280"/>
                </a:cubicBezTo>
                <a:cubicBezTo>
                  <a:pt x="878413" y="238280"/>
                  <a:pt x="892118" y="224626"/>
                  <a:pt x="892118" y="207843"/>
                </a:cubicBezTo>
                <a:cubicBezTo>
                  <a:pt x="892118" y="191060"/>
                  <a:pt x="878413" y="177406"/>
                  <a:pt x="861566" y="177406"/>
                </a:cubicBezTo>
                <a:cubicBezTo>
                  <a:pt x="844719" y="177406"/>
                  <a:pt x="831013" y="191060"/>
                  <a:pt x="831013" y="207843"/>
                </a:cubicBezTo>
                <a:close/>
                <a:moveTo>
                  <a:pt x="474851" y="266915"/>
                </a:moveTo>
                <a:cubicBezTo>
                  <a:pt x="474851" y="283698"/>
                  <a:pt x="488557" y="297352"/>
                  <a:pt x="505404" y="297352"/>
                </a:cubicBezTo>
                <a:cubicBezTo>
                  <a:pt x="522250" y="297352"/>
                  <a:pt x="535956" y="283698"/>
                  <a:pt x="535956" y="266915"/>
                </a:cubicBezTo>
                <a:cubicBezTo>
                  <a:pt x="535956" y="250133"/>
                  <a:pt x="522250" y="236479"/>
                  <a:pt x="505404" y="236479"/>
                </a:cubicBezTo>
                <a:cubicBezTo>
                  <a:pt x="488557" y="236479"/>
                  <a:pt x="474851" y="250133"/>
                  <a:pt x="474851" y="266915"/>
                </a:cubicBezTo>
                <a:close/>
                <a:moveTo>
                  <a:pt x="652932" y="266915"/>
                </a:moveTo>
                <a:cubicBezTo>
                  <a:pt x="652932" y="283698"/>
                  <a:pt x="666638" y="297352"/>
                  <a:pt x="683485" y="297352"/>
                </a:cubicBezTo>
                <a:cubicBezTo>
                  <a:pt x="700332" y="297352"/>
                  <a:pt x="714037" y="283698"/>
                  <a:pt x="714037" y="266915"/>
                </a:cubicBezTo>
                <a:cubicBezTo>
                  <a:pt x="714037" y="250133"/>
                  <a:pt x="700332" y="236479"/>
                  <a:pt x="683485" y="236479"/>
                </a:cubicBezTo>
                <a:cubicBezTo>
                  <a:pt x="666638" y="236479"/>
                  <a:pt x="652932" y="250133"/>
                  <a:pt x="652932" y="266915"/>
                </a:cubicBezTo>
                <a:close/>
                <a:moveTo>
                  <a:pt x="712324" y="266915"/>
                </a:moveTo>
                <a:cubicBezTo>
                  <a:pt x="712324" y="283698"/>
                  <a:pt x="726030" y="297352"/>
                  <a:pt x="742877" y="297352"/>
                </a:cubicBezTo>
                <a:cubicBezTo>
                  <a:pt x="759724" y="297352"/>
                  <a:pt x="773429" y="283698"/>
                  <a:pt x="773429" y="266915"/>
                </a:cubicBezTo>
                <a:cubicBezTo>
                  <a:pt x="773429" y="250133"/>
                  <a:pt x="759724" y="236479"/>
                  <a:pt x="742877" y="236479"/>
                </a:cubicBezTo>
                <a:cubicBezTo>
                  <a:pt x="726030" y="236479"/>
                  <a:pt x="712324" y="250133"/>
                  <a:pt x="712324" y="266915"/>
                </a:cubicBezTo>
                <a:close/>
                <a:moveTo>
                  <a:pt x="831013" y="266915"/>
                </a:moveTo>
                <a:cubicBezTo>
                  <a:pt x="831013" y="283698"/>
                  <a:pt x="844719" y="297352"/>
                  <a:pt x="861566" y="297352"/>
                </a:cubicBezTo>
                <a:cubicBezTo>
                  <a:pt x="878413" y="297352"/>
                  <a:pt x="892118" y="283698"/>
                  <a:pt x="892118" y="266915"/>
                </a:cubicBezTo>
                <a:cubicBezTo>
                  <a:pt x="892118" y="250133"/>
                  <a:pt x="878413" y="236479"/>
                  <a:pt x="861566" y="236479"/>
                </a:cubicBezTo>
                <a:cubicBezTo>
                  <a:pt x="844719" y="236479"/>
                  <a:pt x="831013" y="250133"/>
                  <a:pt x="831013" y="266915"/>
                </a:cubicBezTo>
                <a:close/>
                <a:moveTo>
                  <a:pt x="474851" y="326083"/>
                </a:moveTo>
                <a:cubicBezTo>
                  <a:pt x="474851" y="342866"/>
                  <a:pt x="488557" y="356519"/>
                  <a:pt x="505404" y="356519"/>
                </a:cubicBezTo>
                <a:cubicBezTo>
                  <a:pt x="522250" y="356519"/>
                  <a:pt x="535956" y="342866"/>
                  <a:pt x="535956" y="326083"/>
                </a:cubicBezTo>
                <a:cubicBezTo>
                  <a:pt x="535956" y="309300"/>
                  <a:pt x="522250" y="295646"/>
                  <a:pt x="505404" y="295646"/>
                </a:cubicBezTo>
                <a:cubicBezTo>
                  <a:pt x="488557" y="295646"/>
                  <a:pt x="474851" y="309300"/>
                  <a:pt x="474851" y="326083"/>
                </a:cubicBezTo>
                <a:close/>
                <a:moveTo>
                  <a:pt x="593635" y="326083"/>
                </a:moveTo>
                <a:cubicBezTo>
                  <a:pt x="593635" y="342866"/>
                  <a:pt x="607341" y="356519"/>
                  <a:pt x="624188" y="356519"/>
                </a:cubicBezTo>
                <a:cubicBezTo>
                  <a:pt x="641035" y="356519"/>
                  <a:pt x="654740" y="342866"/>
                  <a:pt x="654740" y="326083"/>
                </a:cubicBezTo>
                <a:cubicBezTo>
                  <a:pt x="654740" y="309300"/>
                  <a:pt x="641035" y="295646"/>
                  <a:pt x="624188" y="295646"/>
                </a:cubicBezTo>
                <a:cubicBezTo>
                  <a:pt x="607341" y="295646"/>
                  <a:pt x="593635" y="309300"/>
                  <a:pt x="593635" y="326083"/>
                </a:cubicBezTo>
                <a:close/>
                <a:moveTo>
                  <a:pt x="831013" y="326083"/>
                </a:moveTo>
                <a:cubicBezTo>
                  <a:pt x="831013" y="342866"/>
                  <a:pt x="844719" y="356519"/>
                  <a:pt x="861566" y="356519"/>
                </a:cubicBezTo>
                <a:cubicBezTo>
                  <a:pt x="878413" y="356519"/>
                  <a:pt x="892118" y="342866"/>
                  <a:pt x="892118" y="326083"/>
                </a:cubicBezTo>
                <a:cubicBezTo>
                  <a:pt x="892118" y="309300"/>
                  <a:pt x="878413" y="295646"/>
                  <a:pt x="861566" y="295646"/>
                </a:cubicBezTo>
                <a:cubicBezTo>
                  <a:pt x="844719" y="295646"/>
                  <a:pt x="831013" y="309300"/>
                  <a:pt x="831013" y="326083"/>
                </a:cubicBezTo>
                <a:close/>
                <a:moveTo>
                  <a:pt x="890310" y="326083"/>
                </a:moveTo>
                <a:cubicBezTo>
                  <a:pt x="890310" y="342866"/>
                  <a:pt x="904016" y="356519"/>
                  <a:pt x="920863" y="356519"/>
                </a:cubicBezTo>
                <a:cubicBezTo>
                  <a:pt x="937709" y="356519"/>
                  <a:pt x="951415" y="342866"/>
                  <a:pt x="951415" y="326083"/>
                </a:cubicBezTo>
                <a:cubicBezTo>
                  <a:pt x="951415" y="309300"/>
                  <a:pt x="937709" y="295646"/>
                  <a:pt x="920863" y="295646"/>
                </a:cubicBezTo>
                <a:cubicBezTo>
                  <a:pt x="904016" y="295646"/>
                  <a:pt x="890310" y="309300"/>
                  <a:pt x="890310" y="326083"/>
                </a:cubicBezTo>
                <a:close/>
                <a:moveTo>
                  <a:pt x="949702" y="326083"/>
                </a:moveTo>
                <a:cubicBezTo>
                  <a:pt x="949702" y="342866"/>
                  <a:pt x="963408" y="356519"/>
                  <a:pt x="980255" y="356519"/>
                </a:cubicBezTo>
                <a:cubicBezTo>
                  <a:pt x="997101" y="356519"/>
                  <a:pt x="1010807" y="342866"/>
                  <a:pt x="1010807" y="326083"/>
                </a:cubicBezTo>
                <a:cubicBezTo>
                  <a:pt x="1010807" y="309300"/>
                  <a:pt x="997101" y="295646"/>
                  <a:pt x="980255" y="295646"/>
                </a:cubicBezTo>
                <a:cubicBezTo>
                  <a:pt x="963408" y="295646"/>
                  <a:pt x="949702" y="309300"/>
                  <a:pt x="949702" y="326083"/>
                </a:cubicBezTo>
                <a:close/>
                <a:moveTo>
                  <a:pt x="474851" y="385155"/>
                </a:moveTo>
                <a:cubicBezTo>
                  <a:pt x="474851" y="401938"/>
                  <a:pt x="488557" y="415592"/>
                  <a:pt x="505404" y="415592"/>
                </a:cubicBezTo>
                <a:cubicBezTo>
                  <a:pt x="522250" y="415592"/>
                  <a:pt x="535956" y="401938"/>
                  <a:pt x="535956" y="385155"/>
                </a:cubicBezTo>
                <a:cubicBezTo>
                  <a:pt x="535956" y="368372"/>
                  <a:pt x="522250" y="354718"/>
                  <a:pt x="505404" y="354718"/>
                </a:cubicBezTo>
                <a:cubicBezTo>
                  <a:pt x="488557" y="354718"/>
                  <a:pt x="474851" y="368372"/>
                  <a:pt x="474851" y="385155"/>
                </a:cubicBezTo>
                <a:close/>
                <a:moveTo>
                  <a:pt x="593635" y="385155"/>
                </a:moveTo>
                <a:cubicBezTo>
                  <a:pt x="593635" y="401938"/>
                  <a:pt x="607341" y="415592"/>
                  <a:pt x="624188" y="415592"/>
                </a:cubicBezTo>
                <a:cubicBezTo>
                  <a:pt x="641035" y="415592"/>
                  <a:pt x="654740" y="401938"/>
                  <a:pt x="654740" y="385155"/>
                </a:cubicBezTo>
                <a:cubicBezTo>
                  <a:pt x="654740" y="368372"/>
                  <a:pt x="641035" y="354718"/>
                  <a:pt x="624188" y="354718"/>
                </a:cubicBezTo>
                <a:cubicBezTo>
                  <a:pt x="607341" y="354718"/>
                  <a:pt x="593635" y="368372"/>
                  <a:pt x="593635" y="385155"/>
                </a:cubicBezTo>
                <a:close/>
                <a:moveTo>
                  <a:pt x="712324" y="385155"/>
                </a:moveTo>
                <a:cubicBezTo>
                  <a:pt x="712324" y="401938"/>
                  <a:pt x="726030" y="415592"/>
                  <a:pt x="742877" y="415592"/>
                </a:cubicBezTo>
                <a:cubicBezTo>
                  <a:pt x="759724" y="415592"/>
                  <a:pt x="773429" y="401938"/>
                  <a:pt x="773429" y="385155"/>
                </a:cubicBezTo>
                <a:cubicBezTo>
                  <a:pt x="773429" y="368372"/>
                  <a:pt x="759724" y="354718"/>
                  <a:pt x="742877" y="354718"/>
                </a:cubicBezTo>
                <a:cubicBezTo>
                  <a:pt x="726030" y="354718"/>
                  <a:pt x="712324" y="368372"/>
                  <a:pt x="712324" y="385155"/>
                </a:cubicBezTo>
                <a:close/>
                <a:moveTo>
                  <a:pt x="831013" y="385155"/>
                </a:moveTo>
                <a:cubicBezTo>
                  <a:pt x="831013" y="401938"/>
                  <a:pt x="844719" y="415592"/>
                  <a:pt x="861566" y="415592"/>
                </a:cubicBezTo>
                <a:cubicBezTo>
                  <a:pt x="878413" y="415592"/>
                  <a:pt x="892118" y="401938"/>
                  <a:pt x="892118" y="385155"/>
                </a:cubicBezTo>
                <a:cubicBezTo>
                  <a:pt x="892118" y="368372"/>
                  <a:pt x="878413" y="354718"/>
                  <a:pt x="861566" y="354718"/>
                </a:cubicBezTo>
                <a:cubicBezTo>
                  <a:pt x="844719" y="354718"/>
                  <a:pt x="831013" y="368372"/>
                  <a:pt x="831013" y="385155"/>
                </a:cubicBezTo>
                <a:close/>
                <a:moveTo>
                  <a:pt x="949702" y="385155"/>
                </a:moveTo>
                <a:cubicBezTo>
                  <a:pt x="949702" y="401938"/>
                  <a:pt x="963408" y="415592"/>
                  <a:pt x="980255" y="415592"/>
                </a:cubicBezTo>
                <a:cubicBezTo>
                  <a:pt x="997101" y="415592"/>
                  <a:pt x="1010807" y="401938"/>
                  <a:pt x="1010807" y="385155"/>
                </a:cubicBezTo>
                <a:cubicBezTo>
                  <a:pt x="1010807" y="368372"/>
                  <a:pt x="997101" y="354718"/>
                  <a:pt x="980255" y="354718"/>
                </a:cubicBezTo>
                <a:cubicBezTo>
                  <a:pt x="963408" y="354718"/>
                  <a:pt x="949702" y="368372"/>
                  <a:pt x="949702" y="385155"/>
                </a:cubicBezTo>
                <a:close/>
                <a:moveTo>
                  <a:pt x="474851" y="444322"/>
                </a:moveTo>
                <a:cubicBezTo>
                  <a:pt x="474851" y="461105"/>
                  <a:pt x="488557" y="474759"/>
                  <a:pt x="505404" y="474759"/>
                </a:cubicBezTo>
                <a:cubicBezTo>
                  <a:pt x="522250" y="474759"/>
                  <a:pt x="535956" y="461105"/>
                  <a:pt x="535956" y="444322"/>
                </a:cubicBezTo>
                <a:cubicBezTo>
                  <a:pt x="535956" y="427539"/>
                  <a:pt x="522250" y="413885"/>
                  <a:pt x="505404" y="413885"/>
                </a:cubicBezTo>
                <a:cubicBezTo>
                  <a:pt x="488557" y="413885"/>
                  <a:pt x="474851" y="427539"/>
                  <a:pt x="474851" y="444322"/>
                </a:cubicBezTo>
                <a:close/>
                <a:moveTo>
                  <a:pt x="831013" y="444322"/>
                </a:moveTo>
                <a:cubicBezTo>
                  <a:pt x="831013" y="461105"/>
                  <a:pt x="844719" y="474759"/>
                  <a:pt x="861566" y="474759"/>
                </a:cubicBezTo>
                <a:cubicBezTo>
                  <a:pt x="878413" y="474759"/>
                  <a:pt x="892118" y="461105"/>
                  <a:pt x="892118" y="444322"/>
                </a:cubicBezTo>
                <a:cubicBezTo>
                  <a:pt x="892118" y="427539"/>
                  <a:pt x="878413" y="413885"/>
                  <a:pt x="861566" y="413885"/>
                </a:cubicBezTo>
                <a:cubicBezTo>
                  <a:pt x="844719" y="413885"/>
                  <a:pt x="831013" y="427539"/>
                  <a:pt x="831013" y="444322"/>
                </a:cubicBezTo>
                <a:close/>
                <a:moveTo>
                  <a:pt x="890310" y="444322"/>
                </a:moveTo>
                <a:cubicBezTo>
                  <a:pt x="890310" y="461105"/>
                  <a:pt x="904016" y="474759"/>
                  <a:pt x="920863" y="474759"/>
                </a:cubicBezTo>
                <a:cubicBezTo>
                  <a:pt x="937709" y="474759"/>
                  <a:pt x="951415" y="461105"/>
                  <a:pt x="951415" y="444322"/>
                </a:cubicBezTo>
                <a:cubicBezTo>
                  <a:pt x="951415" y="427539"/>
                  <a:pt x="937709" y="413885"/>
                  <a:pt x="920863" y="413885"/>
                </a:cubicBezTo>
                <a:cubicBezTo>
                  <a:pt x="904016" y="413885"/>
                  <a:pt x="890310" y="427539"/>
                  <a:pt x="890310" y="444322"/>
                </a:cubicBezTo>
                <a:close/>
                <a:moveTo>
                  <a:pt x="95" y="503394"/>
                </a:moveTo>
                <a:cubicBezTo>
                  <a:pt x="95" y="520177"/>
                  <a:pt x="13801" y="533831"/>
                  <a:pt x="30648" y="533831"/>
                </a:cubicBezTo>
                <a:cubicBezTo>
                  <a:pt x="47495" y="533831"/>
                  <a:pt x="61200" y="520177"/>
                  <a:pt x="61200" y="503394"/>
                </a:cubicBezTo>
                <a:cubicBezTo>
                  <a:pt x="61200" y="486611"/>
                  <a:pt x="47495" y="472957"/>
                  <a:pt x="30648" y="472957"/>
                </a:cubicBezTo>
                <a:cubicBezTo>
                  <a:pt x="13801" y="472957"/>
                  <a:pt x="95" y="486611"/>
                  <a:pt x="95" y="503394"/>
                </a:cubicBezTo>
                <a:close/>
                <a:moveTo>
                  <a:pt x="118784" y="503394"/>
                </a:moveTo>
                <a:cubicBezTo>
                  <a:pt x="118784" y="520177"/>
                  <a:pt x="132490" y="533831"/>
                  <a:pt x="149337" y="533831"/>
                </a:cubicBezTo>
                <a:cubicBezTo>
                  <a:pt x="166184" y="533831"/>
                  <a:pt x="179889" y="520177"/>
                  <a:pt x="179889" y="503394"/>
                </a:cubicBezTo>
                <a:cubicBezTo>
                  <a:pt x="179889" y="486611"/>
                  <a:pt x="166184" y="472957"/>
                  <a:pt x="149337" y="472957"/>
                </a:cubicBezTo>
                <a:cubicBezTo>
                  <a:pt x="132490" y="472957"/>
                  <a:pt x="118784" y="486611"/>
                  <a:pt x="118784" y="503394"/>
                </a:cubicBezTo>
                <a:close/>
                <a:moveTo>
                  <a:pt x="178081" y="503394"/>
                </a:moveTo>
                <a:cubicBezTo>
                  <a:pt x="178081" y="520177"/>
                  <a:pt x="191787" y="533831"/>
                  <a:pt x="208634" y="533831"/>
                </a:cubicBezTo>
                <a:cubicBezTo>
                  <a:pt x="225480" y="533831"/>
                  <a:pt x="239186" y="520177"/>
                  <a:pt x="239186" y="503394"/>
                </a:cubicBezTo>
                <a:cubicBezTo>
                  <a:pt x="239186" y="486611"/>
                  <a:pt x="225480" y="472957"/>
                  <a:pt x="208634" y="472957"/>
                </a:cubicBezTo>
                <a:cubicBezTo>
                  <a:pt x="191787" y="472957"/>
                  <a:pt x="178081" y="486611"/>
                  <a:pt x="178081" y="503394"/>
                </a:cubicBezTo>
                <a:close/>
                <a:moveTo>
                  <a:pt x="237473" y="503394"/>
                </a:moveTo>
                <a:cubicBezTo>
                  <a:pt x="237473" y="520177"/>
                  <a:pt x="251179" y="533831"/>
                  <a:pt x="268026" y="533831"/>
                </a:cubicBezTo>
                <a:cubicBezTo>
                  <a:pt x="284873" y="533831"/>
                  <a:pt x="298578" y="520177"/>
                  <a:pt x="298578" y="503394"/>
                </a:cubicBezTo>
                <a:cubicBezTo>
                  <a:pt x="298578" y="486611"/>
                  <a:pt x="284873" y="472957"/>
                  <a:pt x="268026" y="472957"/>
                </a:cubicBezTo>
                <a:cubicBezTo>
                  <a:pt x="251179" y="472957"/>
                  <a:pt x="237473" y="486611"/>
                  <a:pt x="237473" y="503394"/>
                </a:cubicBezTo>
                <a:close/>
                <a:moveTo>
                  <a:pt x="296865" y="503394"/>
                </a:moveTo>
                <a:cubicBezTo>
                  <a:pt x="296865" y="520177"/>
                  <a:pt x="310571" y="533831"/>
                  <a:pt x="327418" y="533831"/>
                </a:cubicBezTo>
                <a:cubicBezTo>
                  <a:pt x="344265" y="533831"/>
                  <a:pt x="357970" y="520177"/>
                  <a:pt x="357970" y="503394"/>
                </a:cubicBezTo>
                <a:cubicBezTo>
                  <a:pt x="357970" y="486611"/>
                  <a:pt x="344265" y="472957"/>
                  <a:pt x="327418" y="472957"/>
                </a:cubicBezTo>
                <a:cubicBezTo>
                  <a:pt x="310571" y="472957"/>
                  <a:pt x="296865" y="486611"/>
                  <a:pt x="296865" y="503394"/>
                </a:cubicBezTo>
                <a:close/>
                <a:moveTo>
                  <a:pt x="356162" y="503394"/>
                </a:moveTo>
                <a:cubicBezTo>
                  <a:pt x="356162" y="520177"/>
                  <a:pt x="369868" y="533831"/>
                  <a:pt x="386715" y="533831"/>
                </a:cubicBezTo>
                <a:cubicBezTo>
                  <a:pt x="403562" y="533831"/>
                  <a:pt x="417267" y="520177"/>
                  <a:pt x="417267" y="503394"/>
                </a:cubicBezTo>
                <a:cubicBezTo>
                  <a:pt x="417267" y="486611"/>
                  <a:pt x="403562" y="472957"/>
                  <a:pt x="386715" y="472957"/>
                </a:cubicBezTo>
                <a:cubicBezTo>
                  <a:pt x="369868" y="472957"/>
                  <a:pt x="356162" y="486611"/>
                  <a:pt x="356162" y="503394"/>
                </a:cubicBezTo>
                <a:close/>
                <a:moveTo>
                  <a:pt x="534243" y="503394"/>
                </a:moveTo>
                <a:cubicBezTo>
                  <a:pt x="534243" y="520177"/>
                  <a:pt x="547949" y="533831"/>
                  <a:pt x="564796" y="533831"/>
                </a:cubicBezTo>
                <a:cubicBezTo>
                  <a:pt x="581643" y="533831"/>
                  <a:pt x="595348" y="520177"/>
                  <a:pt x="595348" y="503394"/>
                </a:cubicBezTo>
                <a:cubicBezTo>
                  <a:pt x="595348" y="486611"/>
                  <a:pt x="581643" y="472957"/>
                  <a:pt x="564796" y="472957"/>
                </a:cubicBezTo>
                <a:cubicBezTo>
                  <a:pt x="547949" y="472957"/>
                  <a:pt x="534243" y="486611"/>
                  <a:pt x="534243" y="503394"/>
                </a:cubicBezTo>
                <a:close/>
                <a:moveTo>
                  <a:pt x="712324" y="503394"/>
                </a:moveTo>
                <a:cubicBezTo>
                  <a:pt x="712324" y="520177"/>
                  <a:pt x="726030" y="533831"/>
                  <a:pt x="742877" y="533831"/>
                </a:cubicBezTo>
                <a:cubicBezTo>
                  <a:pt x="759724" y="533831"/>
                  <a:pt x="773429" y="520177"/>
                  <a:pt x="773429" y="503394"/>
                </a:cubicBezTo>
                <a:cubicBezTo>
                  <a:pt x="773429" y="486611"/>
                  <a:pt x="759724" y="472957"/>
                  <a:pt x="742877" y="472957"/>
                </a:cubicBezTo>
                <a:cubicBezTo>
                  <a:pt x="726030" y="472957"/>
                  <a:pt x="712324" y="486611"/>
                  <a:pt x="712324" y="503394"/>
                </a:cubicBezTo>
                <a:close/>
                <a:moveTo>
                  <a:pt x="771621" y="503394"/>
                </a:moveTo>
                <a:cubicBezTo>
                  <a:pt x="771621" y="520177"/>
                  <a:pt x="785327" y="533831"/>
                  <a:pt x="802174" y="533831"/>
                </a:cubicBezTo>
                <a:cubicBezTo>
                  <a:pt x="819021" y="533831"/>
                  <a:pt x="832726" y="520177"/>
                  <a:pt x="832726" y="503394"/>
                </a:cubicBezTo>
                <a:cubicBezTo>
                  <a:pt x="832726" y="486611"/>
                  <a:pt x="819021" y="472957"/>
                  <a:pt x="802174" y="472957"/>
                </a:cubicBezTo>
                <a:cubicBezTo>
                  <a:pt x="785327" y="472957"/>
                  <a:pt x="771621" y="486611"/>
                  <a:pt x="771621" y="503394"/>
                </a:cubicBezTo>
                <a:close/>
                <a:moveTo>
                  <a:pt x="949702" y="503394"/>
                </a:moveTo>
                <a:cubicBezTo>
                  <a:pt x="949702" y="520177"/>
                  <a:pt x="963408" y="533831"/>
                  <a:pt x="980255" y="533831"/>
                </a:cubicBezTo>
                <a:cubicBezTo>
                  <a:pt x="997101" y="533831"/>
                  <a:pt x="1010807" y="520177"/>
                  <a:pt x="1010807" y="503394"/>
                </a:cubicBezTo>
                <a:cubicBezTo>
                  <a:pt x="1010807" y="486611"/>
                  <a:pt x="997101" y="472957"/>
                  <a:pt x="980255" y="472957"/>
                </a:cubicBezTo>
                <a:cubicBezTo>
                  <a:pt x="963408" y="472957"/>
                  <a:pt x="949702" y="486611"/>
                  <a:pt x="949702" y="503394"/>
                </a:cubicBezTo>
                <a:close/>
                <a:moveTo>
                  <a:pt x="1068391" y="503394"/>
                </a:moveTo>
                <a:cubicBezTo>
                  <a:pt x="1068391" y="520177"/>
                  <a:pt x="1082097" y="533831"/>
                  <a:pt x="1098944" y="533831"/>
                </a:cubicBezTo>
                <a:cubicBezTo>
                  <a:pt x="1115790" y="533831"/>
                  <a:pt x="1129496" y="520177"/>
                  <a:pt x="1129496" y="503394"/>
                </a:cubicBezTo>
                <a:cubicBezTo>
                  <a:pt x="1129496" y="486611"/>
                  <a:pt x="1115790" y="472957"/>
                  <a:pt x="1098944" y="472957"/>
                </a:cubicBezTo>
                <a:cubicBezTo>
                  <a:pt x="1082097" y="472957"/>
                  <a:pt x="1068391" y="486611"/>
                  <a:pt x="1068391" y="503394"/>
                </a:cubicBezTo>
                <a:close/>
                <a:moveTo>
                  <a:pt x="1127783" y="503394"/>
                </a:moveTo>
                <a:cubicBezTo>
                  <a:pt x="1127783" y="520177"/>
                  <a:pt x="1141489" y="533831"/>
                  <a:pt x="1158336" y="533831"/>
                </a:cubicBezTo>
                <a:cubicBezTo>
                  <a:pt x="1175183" y="533831"/>
                  <a:pt x="1188888" y="520177"/>
                  <a:pt x="1188888" y="503394"/>
                </a:cubicBezTo>
                <a:cubicBezTo>
                  <a:pt x="1188888" y="486611"/>
                  <a:pt x="1175183" y="472957"/>
                  <a:pt x="1158336" y="472957"/>
                </a:cubicBezTo>
                <a:cubicBezTo>
                  <a:pt x="1141489" y="472957"/>
                  <a:pt x="1127783" y="486611"/>
                  <a:pt x="1127783" y="503394"/>
                </a:cubicBezTo>
                <a:close/>
                <a:moveTo>
                  <a:pt x="1187080" y="503394"/>
                </a:moveTo>
                <a:cubicBezTo>
                  <a:pt x="1187080" y="520177"/>
                  <a:pt x="1200786" y="533831"/>
                  <a:pt x="1217633" y="533831"/>
                </a:cubicBezTo>
                <a:cubicBezTo>
                  <a:pt x="1234479" y="533831"/>
                  <a:pt x="1248185" y="520177"/>
                  <a:pt x="1248185" y="503394"/>
                </a:cubicBezTo>
                <a:cubicBezTo>
                  <a:pt x="1248185" y="486611"/>
                  <a:pt x="1234479" y="472957"/>
                  <a:pt x="1217633" y="472957"/>
                </a:cubicBezTo>
                <a:cubicBezTo>
                  <a:pt x="1200786" y="472957"/>
                  <a:pt x="1187080" y="486611"/>
                  <a:pt x="1187080" y="503394"/>
                </a:cubicBezTo>
                <a:close/>
                <a:moveTo>
                  <a:pt x="1246472" y="503394"/>
                </a:moveTo>
                <a:cubicBezTo>
                  <a:pt x="1246472" y="520177"/>
                  <a:pt x="1260178" y="533831"/>
                  <a:pt x="1277025" y="533831"/>
                </a:cubicBezTo>
                <a:cubicBezTo>
                  <a:pt x="1293872" y="533831"/>
                  <a:pt x="1307577" y="520177"/>
                  <a:pt x="1307577" y="503394"/>
                </a:cubicBezTo>
                <a:cubicBezTo>
                  <a:pt x="1307577" y="486611"/>
                  <a:pt x="1293872" y="472957"/>
                  <a:pt x="1277025" y="472957"/>
                </a:cubicBezTo>
                <a:cubicBezTo>
                  <a:pt x="1260178" y="472957"/>
                  <a:pt x="1246472" y="486611"/>
                  <a:pt x="1246472" y="503394"/>
                </a:cubicBezTo>
                <a:close/>
                <a:moveTo>
                  <a:pt x="1305769" y="503394"/>
                </a:moveTo>
                <a:cubicBezTo>
                  <a:pt x="1305769" y="520177"/>
                  <a:pt x="1319475" y="533831"/>
                  <a:pt x="1336322" y="533831"/>
                </a:cubicBezTo>
                <a:cubicBezTo>
                  <a:pt x="1353168" y="533831"/>
                  <a:pt x="1366874" y="520177"/>
                  <a:pt x="1366874" y="503394"/>
                </a:cubicBezTo>
                <a:cubicBezTo>
                  <a:pt x="1366874" y="486611"/>
                  <a:pt x="1353168" y="472957"/>
                  <a:pt x="1336322" y="472957"/>
                </a:cubicBezTo>
                <a:cubicBezTo>
                  <a:pt x="1319475" y="472957"/>
                  <a:pt x="1305769" y="486611"/>
                  <a:pt x="1305769" y="503394"/>
                </a:cubicBezTo>
                <a:close/>
                <a:moveTo>
                  <a:pt x="95" y="562561"/>
                </a:moveTo>
                <a:cubicBezTo>
                  <a:pt x="95" y="579344"/>
                  <a:pt x="13801" y="592998"/>
                  <a:pt x="30648" y="592998"/>
                </a:cubicBezTo>
                <a:cubicBezTo>
                  <a:pt x="47495" y="592998"/>
                  <a:pt x="61200" y="579344"/>
                  <a:pt x="61200" y="562561"/>
                </a:cubicBezTo>
                <a:cubicBezTo>
                  <a:pt x="61200" y="545778"/>
                  <a:pt x="47495" y="532124"/>
                  <a:pt x="30648" y="532124"/>
                </a:cubicBezTo>
                <a:cubicBezTo>
                  <a:pt x="13801" y="532124"/>
                  <a:pt x="95" y="545778"/>
                  <a:pt x="95" y="562561"/>
                </a:cubicBezTo>
                <a:close/>
                <a:moveTo>
                  <a:pt x="118784" y="562561"/>
                </a:moveTo>
                <a:cubicBezTo>
                  <a:pt x="118784" y="579344"/>
                  <a:pt x="132490" y="592998"/>
                  <a:pt x="149337" y="592998"/>
                </a:cubicBezTo>
                <a:cubicBezTo>
                  <a:pt x="166184" y="592998"/>
                  <a:pt x="179889" y="579344"/>
                  <a:pt x="179889" y="562561"/>
                </a:cubicBezTo>
                <a:cubicBezTo>
                  <a:pt x="179889" y="545778"/>
                  <a:pt x="166184" y="532124"/>
                  <a:pt x="149337" y="532124"/>
                </a:cubicBezTo>
                <a:cubicBezTo>
                  <a:pt x="132490" y="532124"/>
                  <a:pt x="118784" y="545778"/>
                  <a:pt x="118784" y="562561"/>
                </a:cubicBezTo>
                <a:close/>
                <a:moveTo>
                  <a:pt x="237473" y="562561"/>
                </a:moveTo>
                <a:cubicBezTo>
                  <a:pt x="237473" y="579344"/>
                  <a:pt x="251179" y="592998"/>
                  <a:pt x="268026" y="592998"/>
                </a:cubicBezTo>
                <a:cubicBezTo>
                  <a:pt x="284873" y="592998"/>
                  <a:pt x="298578" y="579344"/>
                  <a:pt x="298578" y="562561"/>
                </a:cubicBezTo>
                <a:cubicBezTo>
                  <a:pt x="298578" y="545778"/>
                  <a:pt x="284873" y="532124"/>
                  <a:pt x="268026" y="532124"/>
                </a:cubicBezTo>
                <a:cubicBezTo>
                  <a:pt x="251179" y="532124"/>
                  <a:pt x="237473" y="545778"/>
                  <a:pt x="237473" y="562561"/>
                </a:cubicBezTo>
                <a:close/>
                <a:moveTo>
                  <a:pt x="534243" y="562561"/>
                </a:moveTo>
                <a:cubicBezTo>
                  <a:pt x="534243" y="579344"/>
                  <a:pt x="547949" y="592998"/>
                  <a:pt x="564796" y="592998"/>
                </a:cubicBezTo>
                <a:cubicBezTo>
                  <a:pt x="581643" y="592998"/>
                  <a:pt x="595348" y="579344"/>
                  <a:pt x="595348" y="562561"/>
                </a:cubicBezTo>
                <a:cubicBezTo>
                  <a:pt x="595348" y="545778"/>
                  <a:pt x="581643" y="532124"/>
                  <a:pt x="564796" y="532124"/>
                </a:cubicBezTo>
                <a:cubicBezTo>
                  <a:pt x="547949" y="532124"/>
                  <a:pt x="534243" y="545778"/>
                  <a:pt x="534243" y="562561"/>
                </a:cubicBezTo>
                <a:close/>
                <a:moveTo>
                  <a:pt x="712324" y="562561"/>
                </a:moveTo>
                <a:cubicBezTo>
                  <a:pt x="712324" y="579344"/>
                  <a:pt x="726030" y="592998"/>
                  <a:pt x="742877" y="592998"/>
                </a:cubicBezTo>
                <a:cubicBezTo>
                  <a:pt x="759724" y="592998"/>
                  <a:pt x="773429" y="579344"/>
                  <a:pt x="773429" y="562561"/>
                </a:cubicBezTo>
                <a:cubicBezTo>
                  <a:pt x="773429" y="545778"/>
                  <a:pt x="759724" y="532124"/>
                  <a:pt x="742877" y="532124"/>
                </a:cubicBezTo>
                <a:cubicBezTo>
                  <a:pt x="726030" y="532124"/>
                  <a:pt x="712324" y="545778"/>
                  <a:pt x="712324" y="562561"/>
                </a:cubicBezTo>
                <a:close/>
                <a:moveTo>
                  <a:pt x="771621" y="562561"/>
                </a:moveTo>
                <a:cubicBezTo>
                  <a:pt x="771621" y="579344"/>
                  <a:pt x="785327" y="592998"/>
                  <a:pt x="802174" y="592998"/>
                </a:cubicBezTo>
                <a:cubicBezTo>
                  <a:pt x="819021" y="592998"/>
                  <a:pt x="832726" y="579344"/>
                  <a:pt x="832726" y="562561"/>
                </a:cubicBezTo>
                <a:cubicBezTo>
                  <a:pt x="832726" y="545778"/>
                  <a:pt x="819021" y="532124"/>
                  <a:pt x="802174" y="532124"/>
                </a:cubicBezTo>
                <a:cubicBezTo>
                  <a:pt x="785327" y="532124"/>
                  <a:pt x="771621" y="545778"/>
                  <a:pt x="771621" y="562561"/>
                </a:cubicBezTo>
                <a:close/>
                <a:moveTo>
                  <a:pt x="949702" y="562561"/>
                </a:moveTo>
                <a:cubicBezTo>
                  <a:pt x="949702" y="579344"/>
                  <a:pt x="963408" y="592998"/>
                  <a:pt x="980255" y="592998"/>
                </a:cubicBezTo>
                <a:cubicBezTo>
                  <a:pt x="997101" y="592998"/>
                  <a:pt x="1010807" y="579344"/>
                  <a:pt x="1010807" y="562561"/>
                </a:cubicBezTo>
                <a:cubicBezTo>
                  <a:pt x="1010807" y="545778"/>
                  <a:pt x="997101" y="532124"/>
                  <a:pt x="980255" y="532124"/>
                </a:cubicBezTo>
                <a:cubicBezTo>
                  <a:pt x="963408" y="532124"/>
                  <a:pt x="949702" y="545778"/>
                  <a:pt x="949702" y="562561"/>
                </a:cubicBezTo>
                <a:close/>
                <a:moveTo>
                  <a:pt x="1009094" y="562561"/>
                </a:moveTo>
                <a:cubicBezTo>
                  <a:pt x="1009094" y="579344"/>
                  <a:pt x="1022800" y="592998"/>
                  <a:pt x="1039647" y="592998"/>
                </a:cubicBezTo>
                <a:cubicBezTo>
                  <a:pt x="1056494" y="592998"/>
                  <a:pt x="1070199" y="579344"/>
                  <a:pt x="1070199" y="562561"/>
                </a:cubicBezTo>
                <a:cubicBezTo>
                  <a:pt x="1070199" y="545778"/>
                  <a:pt x="1056494" y="532124"/>
                  <a:pt x="1039647" y="532124"/>
                </a:cubicBezTo>
                <a:cubicBezTo>
                  <a:pt x="1022800" y="532124"/>
                  <a:pt x="1009094" y="545778"/>
                  <a:pt x="1009094" y="562561"/>
                </a:cubicBezTo>
                <a:close/>
                <a:moveTo>
                  <a:pt x="1127783" y="562561"/>
                </a:moveTo>
                <a:cubicBezTo>
                  <a:pt x="1127783" y="579344"/>
                  <a:pt x="1141489" y="592998"/>
                  <a:pt x="1158336" y="592998"/>
                </a:cubicBezTo>
                <a:cubicBezTo>
                  <a:pt x="1175183" y="592998"/>
                  <a:pt x="1188888" y="579344"/>
                  <a:pt x="1188888" y="562561"/>
                </a:cubicBezTo>
                <a:cubicBezTo>
                  <a:pt x="1188888" y="545778"/>
                  <a:pt x="1175183" y="532124"/>
                  <a:pt x="1158336" y="532124"/>
                </a:cubicBezTo>
                <a:cubicBezTo>
                  <a:pt x="1141489" y="532124"/>
                  <a:pt x="1127783" y="545778"/>
                  <a:pt x="1127783" y="562561"/>
                </a:cubicBezTo>
                <a:close/>
                <a:moveTo>
                  <a:pt x="1365161" y="562561"/>
                </a:moveTo>
                <a:cubicBezTo>
                  <a:pt x="1365161" y="579344"/>
                  <a:pt x="1378867" y="592998"/>
                  <a:pt x="1395714" y="592998"/>
                </a:cubicBezTo>
                <a:cubicBezTo>
                  <a:pt x="1412561" y="592998"/>
                  <a:pt x="1426266" y="579344"/>
                  <a:pt x="1426266" y="562561"/>
                </a:cubicBezTo>
                <a:cubicBezTo>
                  <a:pt x="1426266" y="545778"/>
                  <a:pt x="1412561" y="532124"/>
                  <a:pt x="1395714" y="532124"/>
                </a:cubicBezTo>
                <a:cubicBezTo>
                  <a:pt x="1378867" y="532124"/>
                  <a:pt x="1365161" y="545778"/>
                  <a:pt x="1365161" y="562561"/>
                </a:cubicBezTo>
                <a:close/>
                <a:moveTo>
                  <a:pt x="95" y="621728"/>
                </a:moveTo>
                <a:cubicBezTo>
                  <a:pt x="95" y="638511"/>
                  <a:pt x="13801" y="652165"/>
                  <a:pt x="30648" y="652165"/>
                </a:cubicBezTo>
                <a:cubicBezTo>
                  <a:pt x="47495" y="652165"/>
                  <a:pt x="61200" y="638511"/>
                  <a:pt x="61200" y="621728"/>
                </a:cubicBezTo>
                <a:cubicBezTo>
                  <a:pt x="61200" y="604945"/>
                  <a:pt x="47495" y="591291"/>
                  <a:pt x="30648" y="591291"/>
                </a:cubicBezTo>
                <a:cubicBezTo>
                  <a:pt x="13801" y="591291"/>
                  <a:pt x="95" y="604945"/>
                  <a:pt x="95" y="621728"/>
                </a:cubicBezTo>
                <a:close/>
                <a:moveTo>
                  <a:pt x="118784" y="621728"/>
                </a:moveTo>
                <a:cubicBezTo>
                  <a:pt x="118784" y="638511"/>
                  <a:pt x="132490" y="652165"/>
                  <a:pt x="149337" y="652165"/>
                </a:cubicBezTo>
                <a:cubicBezTo>
                  <a:pt x="166184" y="652165"/>
                  <a:pt x="179889" y="638511"/>
                  <a:pt x="179889" y="621728"/>
                </a:cubicBezTo>
                <a:cubicBezTo>
                  <a:pt x="179889" y="604945"/>
                  <a:pt x="166184" y="591291"/>
                  <a:pt x="149337" y="591291"/>
                </a:cubicBezTo>
                <a:cubicBezTo>
                  <a:pt x="132490" y="591291"/>
                  <a:pt x="118784" y="604945"/>
                  <a:pt x="118784" y="621728"/>
                </a:cubicBezTo>
                <a:close/>
                <a:moveTo>
                  <a:pt x="237473" y="621728"/>
                </a:moveTo>
                <a:cubicBezTo>
                  <a:pt x="237473" y="638511"/>
                  <a:pt x="251179" y="652165"/>
                  <a:pt x="268026" y="652165"/>
                </a:cubicBezTo>
                <a:cubicBezTo>
                  <a:pt x="284873" y="652165"/>
                  <a:pt x="298578" y="638511"/>
                  <a:pt x="298578" y="621728"/>
                </a:cubicBezTo>
                <a:cubicBezTo>
                  <a:pt x="298578" y="604945"/>
                  <a:pt x="284873" y="591291"/>
                  <a:pt x="268026" y="591291"/>
                </a:cubicBezTo>
                <a:cubicBezTo>
                  <a:pt x="251179" y="591291"/>
                  <a:pt x="237473" y="604945"/>
                  <a:pt x="237473" y="621728"/>
                </a:cubicBezTo>
                <a:close/>
                <a:moveTo>
                  <a:pt x="296865" y="621728"/>
                </a:moveTo>
                <a:cubicBezTo>
                  <a:pt x="296865" y="638511"/>
                  <a:pt x="310571" y="652165"/>
                  <a:pt x="327418" y="652165"/>
                </a:cubicBezTo>
                <a:cubicBezTo>
                  <a:pt x="344265" y="652165"/>
                  <a:pt x="357970" y="638511"/>
                  <a:pt x="357970" y="621728"/>
                </a:cubicBezTo>
                <a:cubicBezTo>
                  <a:pt x="357970" y="604945"/>
                  <a:pt x="344265" y="591291"/>
                  <a:pt x="327418" y="591291"/>
                </a:cubicBezTo>
                <a:cubicBezTo>
                  <a:pt x="310571" y="591291"/>
                  <a:pt x="296865" y="604945"/>
                  <a:pt x="296865" y="621728"/>
                </a:cubicBezTo>
                <a:close/>
                <a:moveTo>
                  <a:pt x="356162" y="621728"/>
                </a:moveTo>
                <a:cubicBezTo>
                  <a:pt x="356162" y="638511"/>
                  <a:pt x="369868" y="652165"/>
                  <a:pt x="386715" y="652165"/>
                </a:cubicBezTo>
                <a:cubicBezTo>
                  <a:pt x="403562" y="652165"/>
                  <a:pt x="417267" y="638511"/>
                  <a:pt x="417267" y="621728"/>
                </a:cubicBezTo>
                <a:cubicBezTo>
                  <a:pt x="417267" y="604945"/>
                  <a:pt x="403562" y="591291"/>
                  <a:pt x="386715" y="591291"/>
                </a:cubicBezTo>
                <a:cubicBezTo>
                  <a:pt x="369868" y="591291"/>
                  <a:pt x="356162" y="604945"/>
                  <a:pt x="356162" y="621728"/>
                </a:cubicBezTo>
                <a:close/>
                <a:moveTo>
                  <a:pt x="474851" y="621728"/>
                </a:moveTo>
                <a:cubicBezTo>
                  <a:pt x="474851" y="638511"/>
                  <a:pt x="488557" y="652165"/>
                  <a:pt x="505404" y="652165"/>
                </a:cubicBezTo>
                <a:cubicBezTo>
                  <a:pt x="522250" y="652165"/>
                  <a:pt x="535956" y="638511"/>
                  <a:pt x="535956" y="621728"/>
                </a:cubicBezTo>
                <a:cubicBezTo>
                  <a:pt x="535956" y="604945"/>
                  <a:pt x="522250" y="591291"/>
                  <a:pt x="505404" y="591291"/>
                </a:cubicBezTo>
                <a:cubicBezTo>
                  <a:pt x="488557" y="591291"/>
                  <a:pt x="474851" y="604945"/>
                  <a:pt x="474851" y="621728"/>
                </a:cubicBezTo>
                <a:close/>
                <a:moveTo>
                  <a:pt x="593635" y="621728"/>
                </a:moveTo>
                <a:cubicBezTo>
                  <a:pt x="593635" y="638511"/>
                  <a:pt x="607341" y="652165"/>
                  <a:pt x="624188" y="652165"/>
                </a:cubicBezTo>
                <a:cubicBezTo>
                  <a:pt x="641035" y="652165"/>
                  <a:pt x="654740" y="638511"/>
                  <a:pt x="654740" y="621728"/>
                </a:cubicBezTo>
                <a:cubicBezTo>
                  <a:pt x="654740" y="604945"/>
                  <a:pt x="641035" y="591291"/>
                  <a:pt x="624188" y="591291"/>
                </a:cubicBezTo>
                <a:cubicBezTo>
                  <a:pt x="607341" y="591291"/>
                  <a:pt x="593635" y="604945"/>
                  <a:pt x="593635" y="621728"/>
                </a:cubicBezTo>
                <a:close/>
                <a:moveTo>
                  <a:pt x="652932" y="621728"/>
                </a:moveTo>
                <a:cubicBezTo>
                  <a:pt x="652932" y="638511"/>
                  <a:pt x="666638" y="652165"/>
                  <a:pt x="683485" y="652165"/>
                </a:cubicBezTo>
                <a:cubicBezTo>
                  <a:pt x="700332" y="652165"/>
                  <a:pt x="714037" y="638511"/>
                  <a:pt x="714037" y="621728"/>
                </a:cubicBezTo>
                <a:cubicBezTo>
                  <a:pt x="714037" y="604945"/>
                  <a:pt x="700332" y="591291"/>
                  <a:pt x="683485" y="591291"/>
                </a:cubicBezTo>
                <a:cubicBezTo>
                  <a:pt x="666638" y="591291"/>
                  <a:pt x="652932" y="604945"/>
                  <a:pt x="652932" y="621728"/>
                </a:cubicBezTo>
                <a:close/>
                <a:moveTo>
                  <a:pt x="712324" y="621728"/>
                </a:moveTo>
                <a:cubicBezTo>
                  <a:pt x="712324" y="638511"/>
                  <a:pt x="726030" y="652165"/>
                  <a:pt x="742877" y="652165"/>
                </a:cubicBezTo>
                <a:cubicBezTo>
                  <a:pt x="759724" y="652165"/>
                  <a:pt x="773429" y="638511"/>
                  <a:pt x="773429" y="621728"/>
                </a:cubicBezTo>
                <a:cubicBezTo>
                  <a:pt x="773429" y="604945"/>
                  <a:pt x="759724" y="591291"/>
                  <a:pt x="742877" y="591291"/>
                </a:cubicBezTo>
                <a:cubicBezTo>
                  <a:pt x="726030" y="591291"/>
                  <a:pt x="712324" y="604945"/>
                  <a:pt x="712324" y="621728"/>
                </a:cubicBezTo>
                <a:close/>
                <a:moveTo>
                  <a:pt x="771621" y="621728"/>
                </a:moveTo>
                <a:cubicBezTo>
                  <a:pt x="771621" y="638511"/>
                  <a:pt x="785327" y="652165"/>
                  <a:pt x="802174" y="652165"/>
                </a:cubicBezTo>
                <a:cubicBezTo>
                  <a:pt x="819021" y="652165"/>
                  <a:pt x="832726" y="638511"/>
                  <a:pt x="832726" y="621728"/>
                </a:cubicBezTo>
                <a:cubicBezTo>
                  <a:pt x="832726" y="604945"/>
                  <a:pt x="819021" y="591291"/>
                  <a:pt x="802174" y="591291"/>
                </a:cubicBezTo>
                <a:cubicBezTo>
                  <a:pt x="785327" y="591291"/>
                  <a:pt x="771621" y="604945"/>
                  <a:pt x="771621" y="621728"/>
                </a:cubicBezTo>
                <a:close/>
                <a:moveTo>
                  <a:pt x="831013" y="621728"/>
                </a:moveTo>
                <a:cubicBezTo>
                  <a:pt x="831013" y="638511"/>
                  <a:pt x="844719" y="652165"/>
                  <a:pt x="861566" y="652165"/>
                </a:cubicBezTo>
                <a:cubicBezTo>
                  <a:pt x="878413" y="652165"/>
                  <a:pt x="892118" y="638511"/>
                  <a:pt x="892118" y="621728"/>
                </a:cubicBezTo>
                <a:cubicBezTo>
                  <a:pt x="892118" y="604945"/>
                  <a:pt x="878413" y="591291"/>
                  <a:pt x="861566" y="591291"/>
                </a:cubicBezTo>
                <a:cubicBezTo>
                  <a:pt x="844719" y="591291"/>
                  <a:pt x="831013" y="604945"/>
                  <a:pt x="831013" y="621728"/>
                </a:cubicBezTo>
                <a:close/>
                <a:moveTo>
                  <a:pt x="890310" y="621728"/>
                </a:moveTo>
                <a:cubicBezTo>
                  <a:pt x="890310" y="638511"/>
                  <a:pt x="904016" y="652165"/>
                  <a:pt x="920863" y="652165"/>
                </a:cubicBezTo>
                <a:cubicBezTo>
                  <a:pt x="937709" y="652165"/>
                  <a:pt x="951415" y="638511"/>
                  <a:pt x="951415" y="621728"/>
                </a:cubicBezTo>
                <a:cubicBezTo>
                  <a:pt x="951415" y="604945"/>
                  <a:pt x="937709" y="591291"/>
                  <a:pt x="920863" y="591291"/>
                </a:cubicBezTo>
                <a:cubicBezTo>
                  <a:pt x="904016" y="591291"/>
                  <a:pt x="890310" y="604945"/>
                  <a:pt x="890310" y="621728"/>
                </a:cubicBezTo>
                <a:close/>
                <a:moveTo>
                  <a:pt x="949702" y="621728"/>
                </a:moveTo>
                <a:cubicBezTo>
                  <a:pt x="949702" y="638511"/>
                  <a:pt x="963408" y="652165"/>
                  <a:pt x="980255" y="652165"/>
                </a:cubicBezTo>
                <a:cubicBezTo>
                  <a:pt x="997101" y="652165"/>
                  <a:pt x="1010807" y="638511"/>
                  <a:pt x="1010807" y="621728"/>
                </a:cubicBezTo>
                <a:cubicBezTo>
                  <a:pt x="1010807" y="604945"/>
                  <a:pt x="997101" y="591291"/>
                  <a:pt x="980255" y="591291"/>
                </a:cubicBezTo>
                <a:cubicBezTo>
                  <a:pt x="963408" y="591291"/>
                  <a:pt x="949702" y="604945"/>
                  <a:pt x="949702" y="621728"/>
                </a:cubicBezTo>
                <a:close/>
                <a:moveTo>
                  <a:pt x="1009094" y="621728"/>
                </a:moveTo>
                <a:cubicBezTo>
                  <a:pt x="1009094" y="638511"/>
                  <a:pt x="1022800" y="652165"/>
                  <a:pt x="1039647" y="652165"/>
                </a:cubicBezTo>
                <a:cubicBezTo>
                  <a:pt x="1056494" y="652165"/>
                  <a:pt x="1070199" y="638511"/>
                  <a:pt x="1070199" y="621728"/>
                </a:cubicBezTo>
                <a:cubicBezTo>
                  <a:pt x="1070199" y="604945"/>
                  <a:pt x="1056494" y="591291"/>
                  <a:pt x="1039647" y="591291"/>
                </a:cubicBezTo>
                <a:cubicBezTo>
                  <a:pt x="1022800" y="591291"/>
                  <a:pt x="1009094" y="604945"/>
                  <a:pt x="1009094" y="621728"/>
                </a:cubicBezTo>
                <a:close/>
                <a:moveTo>
                  <a:pt x="1068391" y="621728"/>
                </a:moveTo>
                <a:cubicBezTo>
                  <a:pt x="1068391" y="638511"/>
                  <a:pt x="1082097" y="652165"/>
                  <a:pt x="1098944" y="652165"/>
                </a:cubicBezTo>
                <a:cubicBezTo>
                  <a:pt x="1115790" y="652165"/>
                  <a:pt x="1129496" y="638511"/>
                  <a:pt x="1129496" y="621728"/>
                </a:cubicBezTo>
                <a:cubicBezTo>
                  <a:pt x="1129496" y="604945"/>
                  <a:pt x="1115790" y="591291"/>
                  <a:pt x="1098944" y="591291"/>
                </a:cubicBezTo>
                <a:cubicBezTo>
                  <a:pt x="1082097" y="591291"/>
                  <a:pt x="1068391" y="604945"/>
                  <a:pt x="1068391" y="621728"/>
                </a:cubicBezTo>
                <a:close/>
                <a:moveTo>
                  <a:pt x="1127783" y="621728"/>
                </a:moveTo>
                <a:cubicBezTo>
                  <a:pt x="1127783" y="638511"/>
                  <a:pt x="1141489" y="652165"/>
                  <a:pt x="1158336" y="652165"/>
                </a:cubicBezTo>
                <a:cubicBezTo>
                  <a:pt x="1175183" y="652165"/>
                  <a:pt x="1188888" y="638511"/>
                  <a:pt x="1188888" y="621728"/>
                </a:cubicBezTo>
                <a:cubicBezTo>
                  <a:pt x="1188888" y="604945"/>
                  <a:pt x="1175183" y="591291"/>
                  <a:pt x="1158336" y="591291"/>
                </a:cubicBezTo>
                <a:cubicBezTo>
                  <a:pt x="1141489" y="591291"/>
                  <a:pt x="1127783" y="604945"/>
                  <a:pt x="1127783" y="621728"/>
                </a:cubicBezTo>
                <a:close/>
                <a:moveTo>
                  <a:pt x="1187080" y="621728"/>
                </a:moveTo>
                <a:cubicBezTo>
                  <a:pt x="1187080" y="638511"/>
                  <a:pt x="1200786" y="652165"/>
                  <a:pt x="1217633" y="652165"/>
                </a:cubicBezTo>
                <a:cubicBezTo>
                  <a:pt x="1234479" y="652165"/>
                  <a:pt x="1248185" y="638511"/>
                  <a:pt x="1248185" y="621728"/>
                </a:cubicBezTo>
                <a:cubicBezTo>
                  <a:pt x="1248185" y="604945"/>
                  <a:pt x="1234479" y="591291"/>
                  <a:pt x="1217633" y="591291"/>
                </a:cubicBezTo>
                <a:cubicBezTo>
                  <a:pt x="1200786" y="591291"/>
                  <a:pt x="1187080" y="604945"/>
                  <a:pt x="1187080" y="621728"/>
                </a:cubicBezTo>
                <a:close/>
                <a:moveTo>
                  <a:pt x="1246472" y="621728"/>
                </a:moveTo>
                <a:cubicBezTo>
                  <a:pt x="1246472" y="638511"/>
                  <a:pt x="1260178" y="652165"/>
                  <a:pt x="1277025" y="652165"/>
                </a:cubicBezTo>
                <a:cubicBezTo>
                  <a:pt x="1293872" y="652165"/>
                  <a:pt x="1307577" y="638511"/>
                  <a:pt x="1307577" y="621728"/>
                </a:cubicBezTo>
                <a:cubicBezTo>
                  <a:pt x="1307577" y="604945"/>
                  <a:pt x="1293872" y="591291"/>
                  <a:pt x="1277025" y="591291"/>
                </a:cubicBezTo>
                <a:cubicBezTo>
                  <a:pt x="1260178" y="591291"/>
                  <a:pt x="1246472" y="604945"/>
                  <a:pt x="1246472" y="621728"/>
                </a:cubicBezTo>
                <a:close/>
                <a:moveTo>
                  <a:pt x="1365161" y="621728"/>
                </a:moveTo>
                <a:cubicBezTo>
                  <a:pt x="1365161" y="638511"/>
                  <a:pt x="1378867" y="652165"/>
                  <a:pt x="1395714" y="652165"/>
                </a:cubicBezTo>
                <a:cubicBezTo>
                  <a:pt x="1412561" y="652165"/>
                  <a:pt x="1426266" y="638511"/>
                  <a:pt x="1426266" y="621728"/>
                </a:cubicBezTo>
                <a:cubicBezTo>
                  <a:pt x="1426266" y="604945"/>
                  <a:pt x="1412561" y="591291"/>
                  <a:pt x="1395714" y="591291"/>
                </a:cubicBezTo>
                <a:cubicBezTo>
                  <a:pt x="1378867" y="591291"/>
                  <a:pt x="1365161" y="604945"/>
                  <a:pt x="1365161" y="621728"/>
                </a:cubicBezTo>
                <a:close/>
                <a:moveTo>
                  <a:pt x="1424553" y="621728"/>
                </a:moveTo>
                <a:cubicBezTo>
                  <a:pt x="1424553" y="638511"/>
                  <a:pt x="1438259" y="652165"/>
                  <a:pt x="1455106" y="652165"/>
                </a:cubicBezTo>
                <a:cubicBezTo>
                  <a:pt x="1471953" y="652165"/>
                  <a:pt x="1485658" y="638511"/>
                  <a:pt x="1485658" y="621728"/>
                </a:cubicBezTo>
                <a:cubicBezTo>
                  <a:pt x="1485658" y="604945"/>
                  <a:pt x="1471953" y="591291"/>
                  <a:pt x="1455106" y="591291"/>
                </a:cubicBezTo>
                <a:cubicBezTo>
                  <a:pt x="1438259" y="591291"/>
                  <a:pt x="1424553" y="604945"/>
                  <a:pt x="1424553" y="621728"/>
                </a:cubicBezTo>
                <a:close/>
                <a:moveTo>
                  <a:pt x="118784" y="680800"/>
                </a:moveTo>
                <a:cubicBezTo>
                  <a:pt x="118784" y="697583"/>
                  <a:pt x="132490" y="711237"/>
                  <a:pt x="149337" y="711237"/>
                </a:cubicBezTo>
                <a:cubicBezTo>
                  <a:pt x="166184" y="711237"/>
                  <a:pt x="179889" y="697583"/>
                  <a:pt x="179889" y="680800"/>
                </a:cubicBezTo>
                <a:cubicBezTo>
                  <a:pt x="179889" y="664018"/>
                  <a:pt x="166184" y="650364"/>
                  <a:pt x="149337" y="650364"/>
                </a:cubicBezTo>
                <a:cubicBezTo>
                  <a:pt x="132490" y="650364"/>
                  <a:pt x="118784" y="664018"/>
                  <a:pt x="118784" y="680800"/>
                </a:cubicBezTo>
                <a:close/>
                <a:moveTo>
                  <a:pt x="178081" y="680800"/>
                </a:moveTo>
                <a:cubicBezTo>
                  <a:pt x="178081" y="697583"/>
                  <a:pt x="191787" y="711237"/>
                  <a:pt x="208634" y="711237"/>
                </a:cubicBezTo>
                <a:cubicBezTo>
                  <a:pt x="225480" y="711237"/>
                  <a:pt x="239186" y="697583"/>
                  <a:pt x="239186" y="680800"/>
                </a:cubicBezTo>
                <a:cubicBezTo>
                  <a:pt x="239186" y="664018"/>
                  <a:pt x="225480" y="650364"/>
                  <a:pt x="208634" y="650364"/>
                </a:cubicBezTo>
                <a:cubicBezTo>
                  <a:pt x="191787" y="650364"/>
                  <a:pt x="178081" y="664018"/>
                  <a:pt x="178081" y="680800"/>
                </a:cubicBezTo>
                <a:close/>
                <a:moveTo>
                  <a:pt x="237473" y="680800"/>
                </a:moveTo>
                <a:cubicBezTo>
                  <a:pt x="237473" y="697583"/>
                  <a:pt x="251179" y="711237"/>
                  <a:pt x="268026" y="711237"/>
                </a:cubicBezTo>
                <a:cubicBezTo>
                  <a:pt x="284873" y="711237"/>
                  <a:pt x="298578" y="697583"/>
                  <a:pt x="298578" y="680800"/>
                </a:cubicBezTo>
                <a:cubicBezTo>
                  <a:pt x="298578" y="664018"/>
                  <a:pt x="284873" y="650364"/>
                  <a:pt x="268026" y="650364"/>
                </a:cubicBezTo>
                <a:cubicBezTo>
                  <a:pt x="251179" y="650364"/>
                  <a:pt x="237473" y="664018"/>
                  <a:pt x="237473" y="680800"/>
                </a:cubicBezTo>
                <a:close/>
                <a:moveTo>
                  <a:pt x="296865" y="680800"/>
                </a:moveTo>
                <a:cubicBezTo>
                  <a:pt x="296865" y="697583"/>
                  <a:pt x="310571" y="711237"/>
                  <a:pt x="327418" y="711237"/>
                </a:cubicBezTo>
                <a:cubicBezTo>
                  <a:pt x="344265" y="711237"/>
                  <a:pt x="357970" y="697583"/>
                  <a:pt x="357970" y="680800"/>
                </a:cubicBezTo>
                <a:cubicBezTo>
                  <a:pt x="357970" y="664018"/>
                  <a:pt x="344265" y="650364"/>
                  <a:pt x="327418" y="650364"/>
                </a:cubicBezTo>
                <a:cubicBezTo>
                  <a:pt x="310571" y="650364"/>
                  <a:pt x="296865" y="664018"/>
                  <a:pt x="296865" y="680800"/>
                </a:cubicBezTo>
                <a:close/>
                <a:moveTo>
                  <a:pt x="474851" y="680800"/>
                </a:moveTo>
                <a:cubicBezTo>
                  <a:pt x="474851" y="697583"/>
                  <a:pt x="488557" y="711237"/>
                  <a:pt x="505404" y="711237"/>
                </a:cubicBezTo>
                <a:cubicBezTo>
                  <a:pt x="522250" y="711237"/>
                  <a:pt x="535956" y="697583"/>
                  <a:pt x="535956" y="680800"/>
                </a:cubicBezTo>
                <a:cubicBezTo>
                  <a:pt x="535956" y="664018"/>
                  <a:pt x="522250" y="650364"/>
                  <a:pt x="505404" y="650364"/>
                </a:cubicBezTo>
                <a:cubicBezTo>
                  <a:pt x="488557" y="650364"/>
                  <a:pt x="474851" y="664018"/>
                  <a:pt x="474851" y="680800"/>
                </a:cubicBezTo>
                <a:close/>
                <a:moveTo>
                  <a:pt x="593635" y="680800"/>
                </a:moveTo>
                <a:cubicBezTo>
                  <a:pt x="593635" y="697583"/>
                  <a:pt x="607341" y="711237"/>
                  <a:pt x="624188" y="711237"/>
                </a:cubicBezTo>
                <a:cubicBezTo>
                  <a:pt x="641035" y="711237"/>
                  <a:pt x="654740" y="697583"/>
                  <a:pt x="654740" y="680800"/>
                </a:cubicBezTo>
                <a:cubicBezTo>
                  <a:pt x="654740" y="664018"/>
                  <a:pt x="641035" y="650364"/>
                  <a:pt x="624188" y="650364"/>
                </a:cubicBezTo>
                <a:cubicBezTo>
                  <a:pt x="607341" y="650364"/>
                  <a:pt x="593635" y="664018"/>
                  <a:pt x="593635" y="680800"/>
                </a:cubicBezTo>
                <a:close/>
                <a:moveTo>
                  <a:pt x="652932" y="680800"/>
                </a:moveTo>
                <a:cubicBezTo>
                  <a:pt x="652932" y="697583"/>
                  <a:pt x="666638" y="711237"/>
                  <a:pt x="683485" y="711237"/>
                </a:cubicBezTo>
                <a:cubicBezTo>
                  <a:pt x="700332" y="711237"/>
                  <a:pt x="714037" y="697583"/>
                  <a:pt x="714037" y="680800"/>
                </a:cubicBezTo>
                <a:cubicBezTo>
                  <a:pt x="714037" y="664018"/>
                  <a:pt x="700332" y="650364"/>
                  <a:pt x="683485" y="650364"/>
                </a:cubicBezTo>
                <a:cubicBezTo>
                  <a:pt x="666638" y="650364"/>
                  <a:pt x="652932" y="664018"/>
                  <a:pt x="652932" y="680800"/>
                </a:cubicBezTo>
                <a:close/>
                <a:moveTo>
                  <a:pt x="712324" y="680800"/>
                </a:moveTo>
                <a:cubicBezTo>
                  <a:pt x="712324" y="697583"/>
                  <a:pt x="726030" y="711237"/>
                  <a:pt x="742877" y="711237"/>
                </a:cubicBezTo>
                <a:cubicBezTo>
                  <a:pt x="759724" y="711237"/>
                  <a:pt x="773429" y="697583"/>
                  <a:pt x="773429" y="680800"/>
                </a:cubicBezTo>
                <a:cubicBezTo>
                  <a:pt x="773429" y="664018"/>
                  <a:pt x="759724" y="650364"/>
                  <a:pt x="742877" y="650364"/>
                </a:cubicBezTo>
                <a:cubicBezTo>
                  <a:pt x="726030" y="650364"/>
                  <a:pt x="712324" y="664018"/>
                  <a:pt x="712324" y="680800"/>
                </a:cubicBezTo>
                <a:close/>
                <a:moveTo>
                  <a:pt x="831013" y="680800"/>
                </a:moveTo>
                <a:cubicBezTo>
                  <a:pt x="831013" y="697583"/>
                  <a:pt x="844719" y="711237"/>
                  <a:pt x="861566" y="711237"/>
                </a:cubicBezTo>
                <a:cubicBezTo>
                  <a:pt x="878413" y="711237"/>
                  <a:pt x="892118" y="697583"/>
                  <a:pt x="892118" y="680800"/>
                </a:cubicBezTo>
                <a:cubicBezTo>
                  <a:pt x="892118" y="664018"/>
                  <a:pt x="878413" y="650364"/>
                  <a:pt x="861566" y="650364"/>
                </a:cubicBezTo>
                <a:cubicBezTo>
                  <a:pt x="844719" y="650364"/>
                  <a:pt x="831013" y="664018"/>
                  <a:pt x="831013" y="680800"/>
                </a:cubicBezTo>
                <a:close/>
                <a:moveTo>
                  <a:pt x="949702" y="680800"/>
                </a:moveTo>
                <a:cubicBezTo>
                  <a:pt x="949702" y="697583"/>
                  <a:pt x="963408" y="711237"/>
                  <a:pt x="980255" y="711237"/>
                </a:cubicBezTo>
                <a:cubicBezTo>
                  <a:pt x="997101" y="711237"/>
                  <a:pt x="1010807" y="697583"/>
                  <a:pt x="1010807" y="680800"/>
                </a:cubicBezTo>
                <a:cubicBezTo>
                  <a:pt x="1010807" y="664018"/>
                  <a:pt x="997101" y="650364"/>
                  <a:pt x="980255" y="650364"/>
                </a:cubicBezTo>
                <a:cubicBezTo>
                  <a:pt x="963408" y="650364"/>
                  <a:pt x="949702" y="664018"/>
                  <a:pt x="949702" y="680800"/>
                </a:cubicBezTo>
                <a:close/>
                <a:moveTo>
                  <a:pt x="1068391" y="680800"/>
                </a:moveTo>
                <a:cubicBezTo>
                  <a:pt x="1068391" y="697583"/>
                  <a:pt x="1082097" y="711237"/>
                  <a:pt x="1098944" y="711237"/>
                </a:cubicBezTo>
                <a:cubicBezTo>
                  <a:pt x="1115790" y="711237"/>
                  <a:pt x="1129496" y="697583"/>
                  <a:pt x="1129496" y="680800"/>
                </a:cubicBezTo>
                <a:cubicBezTo>
                  <a:pt x="1129496" y="664018"/>
                  <a:pt x="1115790" y="650364"/>
                  <a:pt x="1098944" y="650364"/>
                </a:cubicBezTo>
                <a:cubicBezTo>
                  <a:pt x="1082097" y="650364"/>
                  <a:pt x="1068391" y="664018"/>
                  <a:pt x="1068391" y="680800"/>
                </a:cubicBezTo>
                <a:close/>
                <a:moveTo>
                  <a:pt x="1424553" y="680800"/>
                </a:moveTo>
                <a:cubicBezTo>
                  <a:pt x="1424553" y="697583"/>
                  <a:pt x="1438259" y="711237"/>
                  <a:pt x="1455106" y="711237"/>
                </a:cubicBezTo>
                <a:cubicBezTo>
                  <a:pt x="1471953" y="711237"/>
                  <a:pt x="1485658" y="697583"/>
                  <a:pt x="1485658" y="680800"/>
                </a:cubicBezTo>
                <a:cubicBezTo>
                  <a:pt x="1485658" y="664018"/>
                  <a:pt x="1471953" y="650364"/>
                  <a:pt x="1455106" y="650364"/>
                </a:cubicBezTo>
                <a:cubicBezTo>
                  <a:pt x="1438259" y="650364"/>
                  <a:pt x="1424553" y="664018"/>
                  <a:pt x="1424553" y="680800"/>
                </a:cubicBezTo>
                <a:close/>
                <a:moveTo>
                  <a:pt x="59392" y="739968"/>
                </a:moveTo>
                <a:cubicBezTo>
                  <a:pt x="59392" y="756751"/>
                  <a:pt x="73098" y="770404"/>
                  <a:pt x="89945" y="770404"/>
                </a:cubicBezTo>
                <a:cubicBezTo>
                  <a:pt x="106792" y="770404"/>
                  <a:pt x="120497" y="756751"/>
                  <a:pt x="120497" y="739968"/>
                </a:cubicBezTo>
                <a:cubicBezTo>
                  <a:pt x="120497" y="723185"/>
                  <a:pt x="106792" y="709531"/>
                  <a:pt x="89945" y="709531"/>
                </a:cubicBezTo>
                <a:cubicBezTo>
                  <a:pt x="73098" y="709531"/>
                  <a:pt x="59392" y="723185"/>
                  <a:pt x="59392" y="739968"/>
                </a:cubicBezTo>
                <a:close/>
                <a:moveTo>
                  <a:pt x="118784" y="739968"/>
                </a:moveTo>
                <a:cubicBezTo>
                  <a:pt x="118784" y="756751"/>
                  <a:pt x="132490" y="770404"/>
                  <a:pt x="149337" y="770404"/>
                </a:cubicBezTo>
                <a:cubicBezTo>
                  <a:pt x="166184" y="770404"/>
                  <a:pt x="179889" y="756751"/>
                  <a:pt x="179889" y="739968"/>
                </a:cubicBezTo>
                <a:cubicBezTo>
                  <a:pt x="179889" y="723185"/>
                  <a:pt x="166184" y="709531"/>
                  <a:pt x="149337" y="709531"/>
                </a:cubicBezTo>
                <a:cubicBezTo>
                  <a:pt x="132490" y="709531"/>
                  <a:pt x="118784" y="723185"/>
                  <a:pt x="118784" y="739968"/>
                </a:cubicBezTo>
                <a:close/>
                <a:moveTo>
                  <a:pt x="237473" y="739968"/>
                </a:moveTo>
                <a:cubicBezTo>
                  <a:pt x="237473" y="756751"/>
                  <a:pt x="251179" y="770404"/>
                  <a:pt x="268026" y="770404"/>
                </a:cubicBezTo>
                <a:cubicBezTo>
                  <a:pt x="284873" y="770404"/>
                  <a:pt x="298578" y="756751"/>
                  <a:pt x="298578" y="739968"/>
                </a:cubicBezTo>
                <a:cubicBezTo>
                  <a:pt x="298578" y="723185"/>
                  <a:pt x="284873" y="709531"/>
                  <a:pt x="268026" y="709531"/>
                </a:cubicBezTo>
                <a:cubicBezTo>
                  <a:pt x="251179" y="709531"/>
                  <a:pt x="237473" y="723185"/>
                  <a:pt x="237473" y="739968"/>
                </a:cubicBezTo>
                <a:close/>
                <a:moveTo>
                  <a:pt x="296865" y="739968"/>
                </a:moveTo>
                <a:cubicBezTo>
                  <a:pt x="296865" y="756751"/>
                  <a:pt x="310571" y="770404"/>
                  <a:pt x="327418" y="770404"/>
                </a:cubicBezTo>
                <a:cubicBezTo>
                  <a:pt x="344265" y="770404"/>
                  <a:pt x="357970" y="756751"/>
                  <a:pt x="357970" y="739968"/>
                </a:cubicBezTo>
                <a:cubicBezTo>
                  <a:pt x="357970" y="723185"/>
                  <a:pt x="344265" y="709531"/>
                  <a:pt x="327418" y="709531"/>
                </a:cubicBezTo>
                <a:cubicBezTo>
                  <a:pt x="310571" y="709531"/>
                  <a:pt x="296865" y="723185"/>
                  <a:pt x="296865" y="739968"/>
                </a:cubicBezTo>
                <a:close/>
                <a:moveTo>
                  <a:pt x="356162" y="739968"/>
                </a:moveTo>
                <a:cubicBezTo>
                  <a:pt x="356162" y="756751"/>
                  <a:pt x="369868" y="770404"/>
                  <a:pt x="386715" y="770404"/>
                </a:cubicBezTo>
                <a:cubicBezTo>
                  <a:pt x="403562" y="770404"/>
                  <a:pt x="417267" y="756751"/>
                  <a:pt x="417267" y="739968"/>
                </a:cubicBezTo>
                <a:cubicBezTo>
                  <a:pt x="417267" y="723185"/>
                  <a:pt x="403562" y="709531"/>
                  <a:pt x="386715" y="709531"/>
                </a:cubicBezTo>
                <a:cubicBezTo>
                  <a:pt x="369868" y="709531"/>
                  <a:pt x="356162" y="723185"/>
                  <a:pt x="356162" y="739968"/>
                </a:cubicBezTo>
                <a:close/>
                <a:moveTo>
                  <a:pt x="415554" y="739968"/>
                </a:moveTo>
                <a:cubicBezTo>
                  <a:pt x="415554" y="756751"/>
                  <a:pt x="429260" y="770404"/>
                  <a:pt x="446107" y="770404"/>
                </a:cubicBezTo>
                <a:cubicBezTo>
                  <a:pt x="462954" y="770404"/>
                  <a:pt x="476659" y="756751"/>
                  <a:pt x="476659" y="739968"/>
                </a:cubicBezTo>
                <a:cubicBezTo>
                  <a:pt x="476659" y="723185"/>
                  <a:pt x="462954" y="709531"/>
                  <a:pt x="446107" y="709531"/>
                </a:cubicBezTo>
                <a:cubicBezTo>
                  <a:pt x="429260" y="709531"/>
                  <a:pt x="415554" y="723185"/>
                  <a:pt x="415554" y="739968"/>
                </a:cubicBezTo>
                <a:close/>
                <a:moveTo>
                  <a:pt x="474851" y="739968"/>
                </a:moveTo>
                <a:cubicBezTo>
                  <a:pt x="474851" y="756751"/>
                  <a:pt x="488557" y="770404"/>
                  <a:pt x="505404" y="770404"/>
                </a:cubicBezTo>
                <a:cubicBezTo>
                  <a:pt x="522250" y="770404"/>
                  <a:pt x="535956" y="756751"/>
                  <a:pt x="535956" y="739968"/>
                </a:cubicBezTo>
                <a:cubicBezTo>
                  <a:pt x="535956" y="723185"/>
                  <a:pt x="522250" y="709531"/>
                  <a:pt x="505404" y="709531"/>
                </a:cubicBezTo>
                <a:cubicBezTo>
                  <a:pt x="488557" y="709531"/>
                  <a:pt x="474851" y="723185"/>
                  <a:pt x="474851" y="739968"/>
                </a:cubicBezTo>
                <a:close/>
                <a:moveTo>
                  <a:pt x="534243" y="739968"/>
                </a:moveTo>
                <a:cubicBezTo>
                  <a:pt x="534243" y="756751"/>
                  <a:pt x="547949" y="770404"/>
                  <a:pt x="564796" y="770404"/>
                </a:cubicBezTo>
                <a:cubicBezTo>
                  <a:pt x="581643" y="770404"/>
                  <a:pt x="595348" y="756751"/>
                  <a:pt x="595348" y="739968"/>
                </a:cubicBezTo>
                <a:cubicBezTo>
                  <a:pt x="595348" y="723185"/>
                  <a:pt x="581643" y="709531"/>
                  <a:pt x="564796" y="709531"/>
                </a:cubicBezTo>
                <a:cubicBezTo>
                  <a:pt x="547949" y="709531"/>
                  <a:pt x="534243" y="723185"/>
                  <a:pt x="534243" y="739968"/>
                </a:cubicBezTo>
                <a:close/>
                <a:moveTo>
                  <a:pt x="652932" y="739968"/>
                </a:moveTo>
                <a:cubicBezTo>
                  <a:pt x="652932" y="756751"/>
                  <a:pt x="666638" y="770404"/>
                  <a:pt x="683485" y="770404"/>
                </a:cubicBezTo>
                <a:cubicBezTo>
                  <a:pt x="700332" y="770404"/>
                  <a:pt x="714037" y="756751"/>
                  <a:pt x="714037" y="739968"/>
                </a:cubicBezTo>
                <a:cubicBezTo>
                  <a:pt x="714037" y="723185"/>
                  <a:pt x="700332" y="709531"/>
                  <a:pt x="683485" y="709531"/>
                </a:cubicBezTo>
                <a:cubicBezTo>
                  <a:pt x="666638" y="709531"/>
                  <a:pt x="652932" y="723185"/>
                  <a:pt x="652932" y="739968"/>
                </a:cubicBezTo>
                <a:close/>
                <a:moveTo>
                  <a:pt x="890310" y="739968"/>
                </a:moveTo>
                <a:cubicBezTo>
                  <a:pt x="890310" y="756751"/>
                  <a:pt x="904016" y="770404"/>
                  <a:pt x="920863" y="770404"/>
                </a:cubicBezTo>
                <a:cubicBezTo>
                  <a:pt x="937709" y="770404"/>
                  <a:pt x="951415" y="756751"/>
                  <a:pt x="951415" y="739968"/>
                </a:cubicBezTo>
                <a:cubicBezTo>
                  <a:pt x="951415" y="723185"/>
                  <a:pt x="937709" y="709531"/>
                  <a:pt x="920863" y="709531"/>
                </a:cubicBezTo>
                <a:cubicBezTo>
                  <a:pt x="904016" y="709531"/>
                  <a:pt x="890310" y="723185"/>
                  <a:pt x="890310" y="739968"/>
                </a:cubicBezTo>
                <a:close/>
                <a:moveTo>
                  <a:pt x="1009094" y="739968"/>
                </a:moveTo>
                <a:cubicBezTo>
                  <a:pt x="1009094" y="756751"/>
                  <a:pt x="1022800" y="770404"/>
                  <a:pt x="1039647" y="770404"/>
                </a:cubicBezTo>
                <a:cubicBezTo>
                  <a:pt x="1056494" y="770404"/>
                  <a:pt x="1070199" y="756751"/>
                  <a:pt x="1070199" y="739968"/>
                </a:cubicBezTo>
                <a:cubicBezTo>
                  <a:pt x="1070199" y="723185"/>
                  <a:pt x="1056494" y="709531"/>
                  <a:pt x="1039647" y="709531"/>
                </a:cubicBezTo>
                <a:cubicBezTo>
                  <a:pt x="1022800" y="709531"/>
                  <a:pt x="1009094" y="723185"/>
                  <a:pt x="1009094" y="739968"/>
                </a:cubicBezTo>
                <a:close/>
                <a:moveTo>
                  <a:pt x="1068391" y="739968"/>
                </a:moveTo>
                <a:cubicBezTo>
                  <a:pt x="1068391" y="756751"/>
                  <a:pt x="1082097" y="770404"/>
                  <a:pt x="1098944" y="770404"/>
                </a:cubicBezTo>
                <a:cubicBezTo>
                  <a:pt x="1115790" y="770404"/>
                  <a:pt x="1129496" y="756751"/>
                  <a:pt x="1129496" y="739968"/>
                </a:cubicBezTo>
                <a:cubicBezTo>
                  <a:pt x="1129496" y="723185"/>
                  <a:pt x="1115790" y="709531"/>
                  <a:pt x="1098944" y="709531"/>
                </a:cubicBezTo>
                <a:cubicBezTo>
                  <a:pt x="1082097" y="709531"/>
                  <a:pt x="1068391" y="723185"/>
                  <a:pt x="1068391" y="739968"/>
                </a:cubicBezTo>
                <a:close/>
                <a:moveTo>
                  <a:pt x="1127783" y="739968"/>
                </a:moveTo>
                <a:cubicBezTo>
                  <a:pt x="1127783" y="756751"/>
                  <a:pt x="1141489" y="770404"/>
                  <a:pt x="1158336" y="770404"/>
                </a:cubicBezTo>
                <a:cubicBezTo>
                  <a:pt x="1175183" y="770404"/>
                  <a:pt x="1188888" y="756751"/>
                  <a:pt x="1188888" y="739968"/>
                </a:cubicBezTo>
                <a:cubicBezTo>
                  <a:pt x="1188888" y="723185"/>
                  <a:pt x="1175183" y="709531"/>
                  <a:pt x="1158336" y="709531"/>
                </a:cubicBezTo>
                <a:cubicBezTo>
                  <a:pt x="1141489" y="709531"/>
                  <a:pt x="1127783" y="723185"/>
                  <a:pt x="1127783" y="739968"/>
                </a:cubicBezTo>
                <a:close/>
                <a:moveTo>
                  <a:pt x="1187080" y="739968"/>
                </a:moveTo>
                <a:cubicBezTo>
                  <a:pt x="1187080" y="756751"/>
                  <a:pt x="1200786" y="770404"/>
                  <a:pt x="1217633" y="770404"/>
                </a:cubicBezTo>
                <a:cubicBezTo>
                  <a:pt x="1234479" y="770404"/>
                  <a:pt x="1248185" y="756751"/>
                  <a:pt x="1248185" y="739968"/>
                </a:cubicBezTo>
                <a:cubicBezTo>
                  <a:pt x="1248185" y="723185"/>
                  <a:pt x="1234479" y="709531"/>
                  <a:pt x="1217633" y="709531"/>
                </a:cubicBezTo>
                <a:cubicBezTo>
                  <a:pt x="1200786" y="709531"/>
                  <a:pt x="1187080" y="723185"/>
                  <a:pt x="1187080" y="739968"/>
                </a:cubicBezTo>
                <a:close/>
                <a:moveTo>
                  <a:pt x="1305769" y="739968"/>
                </a:moveTo>
                <a:cubicBezTo>
                  <a:pt x="1305769" y="756751"/>
                  <a:pt x="1319475" y="770404"/>
                  <a:pt x="1336322" y="770404"/>
                </a:cubicBezTo>
                <a:cubicBezTo>
                  <a:pt x="1353168" y="770404"/>
                  <a:pt x="1366874" y="756751"/>
                  <a:pt x="1366874" y="739968"/>
                </a:cubicBezTo>
                <a:cubicBezTo>
                  <a:pt x="1366874" y="723185"/>
                  <a:pt x="1353168" y="709531"/>
                  <a:pt x="1336322" y="709531"/>
                </a:cubicBezTo>
                <a:cubicBezTo>
                  <a:pt x="1319475" y="709531"/>
                  <a:pt x="1305769" y="723185"/>
                  <a:pt x="1305769" y="739968"/>
                </a:cubicBezTo>
                <a:close/>
                <a:moveTo>
                  <a:pt x="1365161" y="739968"/>
                </a:moveTo>
                <a:cubicBezTo>
                  <a:pt x="1365161" y="756751"/>
                  <a:pt x="1378867" y="770404"/>
                  <a:pt x="1395714" y="770404"/>
                </a:cubicBezTo>
                <a:cubicBezTo>
                  <a:pt x="1412561" y="770404"/>
                  <a:pt x="1426266" y="756751"/>
                  <a:pt x="1426266" y="739968"/>
                </a:cubicBezTo>
                <a:cubicBezTo>
                  <a:pt x="1426266" y="723185"/>
                  <a:pt x="1412561" y="709531"/>
                  <a:pt x="1395714" y="709531"/>
                </a:cubicBezTo>
                <a:cubicBezTo>
                  <a:pt x="1378867" y="709531"/>
                  <a:pt x="1365161" y="723185"/>
                  <a:pt x="1365161" y="739968"/>
                </a:cubicBezTo>
                <a:close/>
                <a:moveTo>
                  <a:pt x="1424553" y="739968"/>
                </a:moveTo>
                <a:cubicBezTo>
                  <a:pt x="1424553" y="756751"/>
                  <a:pt x="1438259" y="770404"/>
                  <a:pt x="1455106" y="770404"/>
                </a:cubicBezTo>
                <a:cubicBezTo>
                  <a:pt x="1471953" y="770404"/>
                  <a:pt x="1485658" y="756751"/>
                  <a:pt x="1485658" y="739968"/>
                </a:cubicBezTo>
                <a:cubicBezTo>
                  <a:pt x="1485658" y="723185"/>
                  <a:pt x="1471953" y="709531"/>
                  <a:pt x="1455106" y="709531"/>
                </a:cubicBezTo>
                <a:cubicBezTo>
                  <a:pt x="1438259" y="709531"/>
                  <a:pt x="1424553" y="723185"/>
                  <a:pt x="1424553" y="739968"/>
                </a:cubicBezTo>
                <a:close/>
                <a:moveTo>
                  <a:pt x="95" y="799040"/>
                </a:moveTo>
                <a:cubicBezTo>
                  <a:pt x="95" y="815823"/>
                  <a:pt x="13801" y="829477"/>
                  <a:pt x="30648" y="829477"/>
                </a:cubicBezTo>
                <a:cubicBezTo>
                  <a:pt x="47495" y="829477"/>
                  <a:pt x="61200" y="815823"/>
                  <a:pt x="61200" y="799040"/>
                </a:cubicBezTo>
                <a:cubicBezTo>
                  <a:pt x="61200" y="782257"/>
                  <a:pt x="47495" y="768603"/>
                  <a:pt x="30648" y="768603"/>
                </a:cubicBezTo>
                <a:cubicBezTo>
                  <a:pt x="13801" y="768603"/>
                  <a:pt x="95" y="782257"/>
                  <a:pt x="95" y="799040"/>
                </a:cubicBezTo>
                <a:close/>
                <a:moveTo>
                  <a:pt x="118784" y="799040"/>
                </a:moveTo>
                <a:cubicBezTo>
                  <a:pt x="118784" y="815823"/>
                  <a:pt x="132490" y="829477"/>
                  <a:pt x="149337" y="829477"/>
                </a:cubicBezTo>
                <a:cubicBezTo>
                  <a:pt x="166184" y="829477"/>
                  <a:pt x="179889" y="815823"/>
                  <a:pt x="179889" y="799040"/>
                </a:cubicBezTo>
                <a:cubicBezTo>
                  <a:pt x="179889" y="782257"/>
                  <a:pt x="166184" y="768603"/>
                  <a:pt x="149337" y="768603"/>
                </a:cubicBezTo>
                <a:cubicBezTo>
                  <a:pt x="132490" y="768603"/>
                  <a:pt x="118784" y="782257"/>
                  <a:pt x="118784" y="799040"/>
                </a:cubicBezTo>
                <a:close/>
                <a:moveTo>
                  <a:pt x="178081" y="799040"/>
                </a:moveTo>
                <a:cubicBezTo>
                  <a:pt x="178081" y="815823"/>
                  <a:pt x="191787" y="829477"/>
                  <a:pt x="208634" y="829477"/>
                </a:cubicBezTo>
                <a:cubicBezTo>
                  <a:pt x="225480" y="829477"/>
                  <a:pt x="239186" y="815823"/>
                  <a:pt x="239186" y="799040"/>
                </a:cubicBezTo>
                <a:cubicBezTo>
                  <a:pt x="239186" y="782257"/>
                  <a:pt x="225480" y="768603"/>
                  <a:pt x="208634" y="768603"/>
                </a:cubicBezTo>
                <a:cubicBezTo>
                  <a:pt x="191787" y="768603"/>
                  <a:pt x="178081" y="782257"/>
                  <a:pt x="178081" y="799040"/>
                </a:cubicBezTo>
                <a:close/>
                <a:moveTo>
                  <a:pt x="237473" y="799040"/>
                </a:moveTo>
                <a:cubicBezTo>
                  <a:pt x="237473" y="815823"/>
                  <a:pt x="251179" y="829477"/>
                  <a:pt x="268026" y="829477"/>
                </a:cubicBezTo>
                <a:cubicBezTo>
                  <a:pt x="284873" y="829477"/>
                  <a:pt x="298578" y="815823"/>
                  <a:pt x="298578" y="799040"/>
                </a:cubicBezTo>
                <a:cubicBezTo>
                  <a:pt x="298578" y="782257"/>
                  <a:pt x="284873" y="768603"/>
                  <a:pt x="268026" y="768603"/>
                </a:cubicBezTo>
                <a:cubicBezTo>
                  <a:pt x="251179" y="768603"/>
                  <a:pt x="237473" y="782257"/>
                  <a:pt x="237473" y="799040"/>
                </a:cubicBezTo>
                <a:close/>
                <a:moveTo>
                  <a:pt x="415554" y="799040"/>
                </a:moveTo>
                <a:cubicBezTo>
                  <a:pt x="415554" y="815823"/>
                  <a:pt x="429260" y="829477"/>
                  <a:pt x="446107" y="829477"/>
                </a:cubicBezTo>
                <a:cubicBezTo>
                  <a:pt x="462954" y="829477"/>
                  <a:pt x="476659" y="815823"/>
                  <a:pt x="476659" y="799040"/>
                </a:cubicBezTo>
                <a:cubicBezTo>
                  <a:pt x="476659" y="782257"/>
                  <a:pt x="462954" y="768603"/>
                  <a:pt x="446107" y="768603"/>
                </a:cubicBezTo>
                <a:cubicBezTo>
                  <a:pt x="429260" y="768603"/>
                  <a:pt x="415554" y="782257"/>
                  <a:pt x="415554" y="799040"/>
                </a:cubicBezTo>
                <a:close/>
                <a:moveTo>
                  <a:pt x="474851" y="799040"/>
                </a:moveTo>
                <a:cubicBezTo>
                  <a:pt x="474851" y="815823"/>
                  <a:pt x="488557" y="829477"/>
                  <a:pt x="505404" y="829477"/>
                </a:cubicBezTo>
                <a:cubicBezTo>
                  <a:pt x="522250" y="829477"/>
                  <a:pt x="535956" y="815823"/>
                  <a:pt x="535956" y="799040"/>
                </a:cubicBezTo>
                <a:cubicBezTo>
                  <a:pt x="535956" y="782257"/>
                  <a:pt x="522250" y="768603"/>
                  <a:pt x="505404" y="768603"/>
                </a:cubicBezTo>
                <a:cubicBezTo>
                  <a:pt x="488557" y="768603"/>
                  <a:pt x="474851" y="782257"/>
                  <a:pt x="474851" y="799040"/>
                </a:cubicBezTo>
                <a:close/>
                <a:moveTo>
                  <a:pt x="534243" y="799040"/>
                </a:moveTo>
                <a:cubicBezTo>
                  <a:pt x="534243" y="815823"/>
                  <a:pt x="547949" y="829477"/>
                  <a:pt x="564796" y="829477"/>
                </a:cubicBezTo>
                <a:cubicBezTo>
                  <a:pt x="581643" y="829477"/>
                  <a:pt x="595348" y="815823"/>
                  <a:pt x="595348" y="799040"/>
                </a:cubicBezTo>
                <a:cubicBezTo>
                  <a:pt x="595348" y="782257"/>
                  <a:pt x="581643" y="768603"/>
                  <a:pt x="564796" y="768603"/>
                </a:cubicBezTo>
                <a:cubicBezTo>
                  <a:pt x="547949" y="768603"/>
                  <a:pt x="534243" y="782257"/>
                  <a:pt x="534243" y="799040"/>
                </a:cubicBezTo>
                <a:close/>
                <a:moveTo>
                  <a:pt x="593635" y="799040"/>
                </a:moveTo>
                <a:cubicBezTo>
                  <a:pt x="593635" y="815823"/>
                  <a:pt x="607341" y="829477"/>
                  <a:pt x="624188" y="829477"/>
                </a:cubicBezTo>
                <a:cubicBezTo>
                  <a:pt x="641035" y="829477"/>
                  <a:pt x="654740" y="815823"/>
                  <a:pt x="654740" y="799040"/>
                </a:cubicBezTo>
                <a:cubicBezTo>
                  <a:pt x="654740" y="782257"/>
                  <a:pt x="641035" y="768603"/>
                  <a:pt x="624188" y="768603"/>
                </a:cubicBezTo>
                <a:cubicBezTo>
                  <a:pt x="607341" y="768603"/>
                  <a:pt x="593635" y="782257"/>
                  <a:pt x="593635" y="799040"/>
                </a:cubicBezTo>
                <a:close/>
                <a:moveTo>
                  <a:pt x="712324" y="799040"/>
                </a:moveTo>
                <a:cubicBezTo>
                  <a:pt x="712324" y="815823"/>
                  <a:pt x="726030" y="829477"/>
                  <a:pt x="742877" y="829477"/>
                </a:cubicBezTo>
                <a:cubicBezTo>
                  <a:pt x="759724" y="829477"/>
                  <a:pt x="773429" y="815823"/>
                  <a:pt x="773429" y="799040"/>
                </a:cubicBezTo>
                <a:cubicBezTo>
                  <a:pt x="773429" y="782257"/>
                  <a:pt x="759724" y="768603"/>
                  <a:pt x="742877" y="768603"/>
                </a:cubicBezTo>
                <a:cubicBezTo>
                  <a:pt x="726030" y="768603"/>
                  <a:pt x="712324" y="782257"/>
                  <a:pt x="712324" y="799040"/>
                </a:cubicBezTo>
                <a:close/>
                <a:moveTo>
                  <a:pt x="771621" y="799040"/>
                </a:moveTo>
                <a:cubicBezTo>
                  <a:pt x="771621" y="815823"/>
                  <a:pt x="785327" y="829477"/>
                  <a:pt x="802174" y="829477"/>
                </a:cubicBezTo>
                <a:cubicBezTo>
                  <a:pt x="819021" y="829477"/>
                  <a:pt x="832726" y="815823"/>
                  <a:pt x="832726" y="799040"/>
                </a:cubicBezTo>
                <a:cubicBezTo>
                  <a:pt x="832726" y="782257"/>
                  <a:pt x="819021" y="768603"/>
                  <a:pt x="802174" y="768603"/>
                </a:cubicBezTo>
                <a:cubicBezTo>
                  <a:pt x="785327" y="768603"/>
                  <a:pt x="771621" y="782257"/>
                  <a:pt x="771621" y="799040"/>
                </a:cubicBezTo>
                <a:close/>
                <a:moveTo>
                  <a:pt x="949702" y="799040"/>
                </a:moveTo>
                <a:cubicBezTo>
                  <a:pt x="949702" y="815823"/>
                  <a:pt x="963408" y="829477"/>
                  <a:pt x="980255" y="829477"/>
                </a:cubicBezTo>
                <a:cubicBezTo>
                  <a:pt x="997101" y="829477"/>
                  <a:pt x="1010807" y="815823"/>
                  <a:pt x="1010807" y="799040"/>
                </a:cubicBezTo>
                <a:cubicBezTo>
                  <a:pt x="1010807" y="782257"/>
                  <a:pt x="997101" y="768603"/>
                  <a:pt x="980255" y="768603"/>
                </a:cubicBezTo>
                <a:cubicBezTo>
                  <a:pt x="963408" y="768603"/>
                  <a:pt x="949702" y="782257"/>
                  <a:pt x="949702" y="799040"/>
                </a:cubicBezTo>
                <a:close/>
                <a:moveTo>
                  <a:pt x="1009094" y="799040"/>
                </a:moveTo>
                <a:cubicBezTo>
                  <a:pt x="1009094" y="815823"/>
                  <a:pt x="1022800" y="829477"/>
                  <a:pt x="1039647" y="829477"/>
                </a:cubicBezTo>
                <a:cubicBezTo>
                  <a:pt x="1056494" y="829477"/>
                  <a:pt x="1070199" y="815823"/>
                  <a:pt x="1070199" y="799040"/>
                </a:cubicBezTo>
                <a:cubicBezTo>
                  <a:pt x="1070199" y="782257"/>
                  <a:pt x="1056494" y="768603"/>
                  <a:pt x="1039647" y="768603"/>
                </a:cubicBezTo>
                <a:cubicBezTo>
                  <a:pt x="1022800" y="768603"/>
                  <a:pt x="1009094" y="782257"/>
                  <a:pt x="1009094" y="799040"/>
                </a:cubicBezTo>
                <a:close/>
                <a:moveTo>
                  <a:pt x="1127783" y="799040"/>
                </a:moveTo>
                <a:cubicBezTo>
                  <a:pt x="1127783" y="815823"/>
                  <a:pt x="1141489" y="829477"/>
                  <a:pt x="1158336" y="829477"/>
                </a:cubicBezTo>
                <a:cubicBezTo>
                  <a:pt x="1175183" y="829477"/>
                  <a:pt x="1188888" y="815823"/>
                  <a:pt x="1188888" y="799040"/>
                </a:cubicBezTo>
                <a:cubicBezTo>
                  <a:pt x="1188888" y="782257"/>
                  <a:pt x="1175183" y="768603"/>
                  <a:pt x="1158336" y="768603"/>
                </a:cubicBezTo>
                <a:cubicBezTo>
                  <a:pt x="1141489" y="768603"/>
                  <a:pt x="1127783" y="782257"/>
                  <a:pt x="1127783" y="799040"/>
                </a:cubicBezTo>
                <a:close/>
                <a:moveTo>
                  <a:pt x="1246472" y="799040"/>
                </a:moveTo>
                <a:cubicBezTo>
                  <a:pt x="1246472" y="815823"/>
                  <a:pt x="1260178" y="829477"/>
                  <a:pt x="1277025" y="829477"/>
                </a:cubicBezTo>
                <a:cubicBezTo>
                  <a:pt x="1293872" y="829477"/>
                  <a:pt x="1307577" y="815823"/>
                  <a:pt x="1307577" y="799040"/>
                </a:cubicBezTo>
                <a:cubicBezTo>
                  <a:pt x="1307577" y="782257"/>
                  <a:pt x="1293872" y="768603"/>
                  <a:pt x="1277025" y="768603"/>
                </a:cubicBezTo>
                <a:cubicBezTo>
                  <a:pt x="1260178" y="768603"/>
                  <a:pt x="1246472" y="782257"/>
                  <a:pt x="1246472" y="799040"/>
                </a:cubicBezTo>
                <a:close/>
                <a:moveTo>
                  <a:pt x="1365161" y="799040"/>
                </a:moveTo>
                <a:cubicBezTo>
                  <a:pt x="1365161" y="815823"/>
                  <a:pt x="1378867" y="829477"/>
                  <a:pt x="1395714" y="829477"/>
                </a:cubicBezTo>
                <a:cubicBezTo>
                  <a:pt x="1412561" y="829477"/>
                  <a:pt x="1426266" y="815823"/>
                  <a:pt x="1426266" y="799040"/>
                </a:cubicBezTo>
                <a:cubicBezTo>
                  <a:pt x="1426266" y="782257"/>
                  <a:pt x="1412561" y="768603"/>
                  <a:pt x="1395714" y="768603"/>
                </a:cubicBezTo>
                <a:cubicBezTo>
                  <a:pt x="1378867" y="768603"/>
                  <a:pt x="1365161" y="782257"/>
                  <a:pt x="1365161" y="799040"/>
                </a:cubicBezTo>
                <a:close/>
                <a:moveTo>
                  <a:pt x="95" y="858207"/>
                </a:moveTo>
                <a:cubicBezTo>
                  <a:pt x="95" y="874990"/>
                  <a:pt x="13801" y="888644"/>
                  <a:pt x="30648" y="888644"/>
                </a:cubicBezTo>
                <a:cubicBezTo>
                  <a:pt x="47495" y="888644"/>
                  <a:pt x="61200" y="874990"/>
                  <a:pt x="61200" y="858207"/>
                </a:cubicBezTo>
                <a:cubicBezTo>
                  <a:pt x="61200" y="841424"/>
                  <a:pt x="47495" y="827770"/>
                  <a:pt x="30648" y="827770"/>
                </a:cubicBezTo>
                <a:cubicBezTo>
                  <a:pt x="13801" y="827770"/>
                  <a:pt x="95" y="841424"/>
                  <a:pt x="95" y="858207"/>
                </a:cubicBezTo>
                <a:close/>
                <a:moveTo>
                  <a:pt x="118784" y="858207"/>
                </a:moveTo>
                <a:cubicBezTo>
                  <a:pt x="118784" y="874990"/>
                  <a:pt x="132490" y="888644"/>
                  <a:pt x="149337" y="888644"/>
                </a:cubicBezTo>
                <a:cubicBezTo>
                  <a:pt x="166184" y="888644"/>
                  <a:pt x="179889" y="874990"/>
                  <a:pt x="179889" y="858207"/>
                </a:cubicBezTo>
                <a:cubicBezTo>
                  <a:pt x="179889" y="841424"/>
                  <a:pt x="166184" y="827770"/>
                  <a:pt x="149337" y="827770"/>
                </a:cubicBezTo>
                <a:cubicBezTo>
                  <a:pt x="132490" y="827770"/>
                  <a:pt x="118784" y="841424"/>
                  <a:pt x="118784" y="858207"/>
                </a:cubicBezTo>
                <a:close/>
                <a:moveTo>
                  <a:pt x="178081" y="858207"/>
                </a:moveTo>
                <a:cubicBezTo>
                  <a:pt x="178081" y="874990"/>
                  <a:pt x="191787" y="888644"/>
                  <a:pt x="208634" y="888644"/>
                </a:cubicBezTo>
                <a:cubicBezTo>
                  <a:pt x="225480" y="888644"/>
                  <a:pt x="239186" y="874990"/>
                  <a:pt x="239186" y="858207"/>
                </a:cubicBezTo>
                <a:cubicBezTo>
                  <a:pt x="239186" y="841424"/>
                  <a:pt x="225480" y="827770"/>
                  <a:pt x="208634" y="827770"/>
                </a:cubicBezTo>
                <a:cubicBezTo>
                  <a:pt x="191787" y="827770"/>
                  <a:pt x="178081" y="841424"/>
                  <a:pt x="178081" y="858207"/>
                </a:cubicBezTo>
                <a:close/>
                <a:moveTo>
                  <a:pt x="356162" y="858207"/>
                </a:moveTo>
                <a:cubicBezTo>
                  <a:pt x="356162" y="874990"/>
                  <a:pt x="369868" y="888644"/>
                  <a:pt x="386715" y="888644"/>
                </a:cubicBezTo>
                <a:cubicBezTo>
                  <a:pt x="403562" y="888644"/>
                  <a:pt x="417267" y="874990"/>
                  <a:pt x="417267" y="858207"/>
                </a:cubicBezTo>
                <a:cubicBezTo>
                  <a:pt x="417267" y="841424"/>
                  <a:pt x="403562" y="827770"/>
                  <a:pt x="386715" y="827770"/>
                </a:cubicBezTo>
                <a:cubicBezTo>
                  <a:pt x="369868" y="827770"/>
                  <a:pt x="356162" y="841424"/>
                  <a:pt x="356162" y="858207"/>
                </a:cubicBezTo>
                <a:close/>
                <a:moveTo>
                  <a:pt x="474851" y="858207"/>
                </a:moveTo>
                <a:cubicBezTo>
                  <a:pt x="474851" y="874990"/>
                  <a:pt x="488557" y="888644"/>
                  <a:pt x="505404" y="888644"/>
                </a:cubicBezTo>
                <a:cubicBezTo>
                  <a:pt x="522250" y="888644"/>
                  <a:pt x="535956" y="874990"/>
                  <a:pt x="535956" y="858207"/>
                </a:cubicBezTo>
                <a:cubicBezTo>
                  <a:pt x="535956" y="841424"/>
                  <a:pt x="522250" y="827770"/>
                  <a:pt x="505404" y="827770"/>
                </a:cubicBezTo>
                <a:cubicBezTo>
                  <a:pt x="488557" y="827770"/>
                  <a:pt x="474851" y="841424"/>
                  <a:pt x="474851" y="858207"/>
                </a:cubicBezTo>
                <a:close/>
                <a:moveTo>
                  <a:pt x="771621" y="858207"/>
                </a:moveTo>
                <a:cubicBezTo>
                  <a:pt x="771621" y="874990"/>
                  <a:pt x="785327" y="888644"/>
                  <a:pt x="802174" y="888644"/>
                </a:cubicBezTo>
                <a:cubicBezTo>
                  <a:pt x="819021" y="888644"/>
                  <a:pt x="832726" y="874990"/>
                  <a:pt x="832726" y="858207"/>
                </a:cubicBezTo>
                <a:cubicBezTo>
                  <a:pt x="832726" y="841424"/>
                  <a:pt x="819021" y="827770"/>
                  <a:pt x="802174" y="827770"/>
                </a:cubicBezTo>
                <a:cubicBezTo>
                  <a:pt x="785327" y="827770"/>
                  <a:pt x="771621" y="841424"/>
                  <a:pt x="771621" y="858207"/>
                </a:cubicBezTo>
                <a:close/>
                <a:moveTo>
                  <a:pt x="831013" y="858207"/>
                </a:moveTo>
                <a:cubicBezTo>
                  <a:pt x="831013" y="874990"/>
                  <a:pt x="844719" y="888644"/>
                  <a:pt x="861566" y="888644"/>
                </a:cubicBezTo>
                <a:cubicBezTo>
                  <a:pt x="878413" y="888644"/>
                  <a:pt x="892118" y="874990"/>
                  <a:pt x="892118" y="858207"/>
                </a:cubicBezTo>
                <a:cubicBezTo>
                  <a:pt x="892118" y="841424"/>
                  <a:pt x="878413" y="827770"/>
                  <a:pt x="861566" y="827770"/>
                </a:cubicBezTo>
                <a:cubicBezTo>
                  <a:pt x="844719" y="827770"/>
                  <a:pt x="831013" y="841424"/>
                  <a:pt x="831013" y="858207"/>
                </a:cubicBezTo>
                <a:close/>
                <a:moveTo>
                  <a:pt x="890310" y="858207"/>
                </a:moveTo>
                <a:cubicBezTo>
                  <a:pt x="890310" y="874990"/>
                  <a:pt x="904016" y="888644"/>
                  <a:pt x="920863" y="888644"/>
                </a:cubicBezTo>
                <a:cubicBezTo>
                  <a:pt x="937709" y="888644"/>
                  <a:pt x="951415" y="874990"/>
                  <a:pt x="951415" y="858207"/>
                </a:cubicBezTo>
                <a:cubicBezTo>
                  <a:pt x="951415" y="841424"/>
                  <a:pt x="937709" y="827770"/>
                  <a:pt x="920863" y="827770"/>
                </a:cubicBezTo>
                <a:cubicBezTo>
                  <a:pt x="904016" y="827770"/>
                  <a:pt x="890310" y="841424"/>
                  <a:pt x="890310" y="858207"/>
                </a:cubicBezTo>
                <a:close/>
                <a:moveTo>
                  <a:pt x="949702" y="858207"/>
                </a:moveTo>
                <a:cubicBezTo>
                  <a:pt x="949702" y="874990"/>
                  <a:pt x="963408" y="888644"/>
                  <a:pt x="980255" y="888644"/>
                </a:cubicBezTo>
                <a:cubicBezTo>
                  <a:pt x="997101" y="888644"/>
                  <a:pt x="1010807" y="874990"/>
                  <a:pt x="1010807" y="858207"/>
                </a:cubicBezTo>
                <a:cubicBezTo>
                  <a:pt x="1010807" y="841424"/>
                  <a:pt x="997101" y="827770"/>
                  <a:pt x="980255" y="827770"/>
                </a:cubicBezTo>
                <a:cubicBezTo>
                  <a:pt x="963408" y="827770"/>
                  <a:pt x="949702" y="841424"/>
                  <a:pt x="949702" y="858207"/>
                </a:cubicBezTo>
                <a:close/>
                <a:moveTo>
                  <a:pt x="1068391" y="858207"/>
                </a:moveTo>
                <a:cubicBezTo>
                  <a:pt x="1068391" y="874990"/>
                  <a:pt x="1082097" y="888644"/>
                  <a:pt x="1098944" y="888644"/>
                </a:cubicBezTo>
                <a:cubicBezTo>
                  <a:pt x="1115790" y="888644"/>
                  <a:pt x="1129496" y="874990"/>
                  <a:pt x="1129496" y="858207"/>
                </a:cubicBezTo>
                <a:cubicBezTo>
                  <a:pt x="1129496" y="841424"/>
                  <a:pt x="1115790" y="827770"/>
                  <a:pt x="1098944" y="827770"/>
                </a:cubicBezTo>
                <a:cubicBezTo>
                  <a:pt x="1082097" y="827770"/>
                  <a:pt x="1068391" y="841424"/>
                  <a:pt x="1068391" y="858207"/>
                </a:cubicBezTo>
                <a:close/>
                <a:moveTo>
                  <a:pt x="1127783" y="858207"/>
                </a:moveTo>
                <a:cubicBezTo>
                  <a:pt x="1127783" y="874990"/>
                  <a:pt x="1141489" y="888644"/>
                  <a:pt x="1158336" y="888644"/>
                </a:cubicBezTo>
                <a:cubicBezTo>
                  <a:pt x="1175183" y="888644"/>
                  <a:pt x="1188888" y="874990"/>
                  <a:pt x="1188888" y="858207"/>
                </a:cubicBezTo>
                <a:cubicBezTo>
                  <a:pt x="1188888" y="841424"/>
                  <a:pt x="1175183" y="827770"/>
                  <a:pt x="1158336" y="827770"/>
                </a:cubicBezTo>
                <a:cubicBezTo>
                  <a:pt x="1141489" y="827770"/>
                  <a:pt x="1127783" y="841424"/>
                  <a:pt x="1127783" y="858207"/>
                </a:cubicBezTo>
                <a:close/>
                <a:moveTo>
                  <a:pt x="1187080" y="858207"/>
                </a:moveTo>
                <a:cubicBezTo>
                  <a:pt x="1187080" y="874990"/>
                  <a:pt x="1200786" y="888644"/>
                  <a:pt x="1217633" y="888644"/>
                </a:cubicBezTo>
                <a:cubicBezTo>
                  <a:pt x="1234479" y="888644"/>
                  <a:pt x="1248185" y="874990"/>
                  <a:pt x="1248185" y="858207"/>
                </a:cubicBezTo>
                <a:cubicBezTo>
                  <a:pt x="1248185" y="841424"/>
                  <a:pt x="1234479" y="827770"/>
                  <a:pt x="1217633" y="827770"/>
                </a:cubicBezTo>
                <a:cubicBezTo>
                  <a:pt x="1200786" y="827770"/>
                  <a:pt x="1187080" y="841424"/>
                  <a:pt x="1187080" y="858207"/>
                </a:cubicBezTo>
                <a:close/>
                <a:moveTo>
                  <a:pt x="1246472" y="858207"/>
                </a:moveTo>
                <a:cubicBezTo>
                  <a:pt x="1246472" y="874990"/>
                  <a:pt x="1260178" y="888644"/>
                  <a:pt x="1277025" y="888644"/>
                </a:cubicBezTo>
                <a:cubicBezTo>
                  <a:pt x="1293872" y="888644"/>
                  <a:pt x="1307577" y="874990"/>
                  <a:pt x="1307577" y="858207"/>
                </a:cubicBezTo>
                <a:cubicBezTo>
                  <a:pt x="1307577" y="841424"/>
                  <a:pt x="1293872" y="827770"/>
                  <a:pt x="1277025" y="827770"/>
                </a:cubicBezTo>
                <a:cubicBezTo>
                  <a:pt x="1260178" y="827770"/>
                  <a:pt x="1246472" y="841424"/>
                  <a:pt x="1246472" y="858207"/>
                </a:cubicBezTo>
                <a:close/>
                <a:moveTo>
                  <a:pt x="1365161" y="858207"/>
                </a:moveTo>
                <a:cubicBezTo>
                  <a:pt x="1365161" y="874990"/>
                  <a:pt x="1378867" y="888644"/>
                  <a:pt x="1395714" y="888644"/>
                </a:cubicBezTo>
                <a:cubicBezTo>
                  <a:pt x="1412561" y="888644"/>
                  <a:pt x="1426266" y="874990"/>
                  <a:pt x="1426266" y="858207"/>
                </a:cubicBezTo>
                <a:cubicBezTo>
                  <a:pt x="1426266" y="841424"/>
                  <a:pt x="1412561" y="827770"/>
                  <a:pt x="1395714" y="827770"/>
                </a:cubicBezTo>
                <a:cubicBezTo>
                  <a:pt x="1378867" y="827770"/>
                  <a:pt x="1365161" y="841424"/>
                  <a:pt x="1365161" y="858207"/>
                </a:cubicBezTo>
                <a:close/>
                <a:moveTo>
                  <a:pt x="1424553" y="858207"/>
                </a:moveTo>
                <a:cubicBezTo>
                  <a:pt x="1424553" y="874990"/>
                  <a:pt x="1438259" y="888644"/>
                  <a:pt x="1455106" y="888644"/>
                </a:cubicBezTo>
                <a:cubicBezTo>
                  <a:pt x="1471953" y="888644"/>
                  <a:pt x="1485658" y="874990"/>
                  <a:pt x="1485658" y="858207"/>
                </a:cubicBezTo>
                <a:cubicBezTo>
                  <a:pt x="1485658" y="841424"/>
                  <a:pt x="1471953" y="827770"/>
                  <a:pt x="1455106" y="827770"/>
                </a:cubicBezTo>
                <a:cubicBezTo>
                  <a:pt x="1438259" y="827770"/>
                  <a:pt x="1424553" y="841424"/>
                  <a:pt x="1424553" y="858207"/>
                </a:cubicBezTo>
                <a:close/>
                <a:moveTo>
                  <a:pt x="95" y="917374"/>
                </a:moveTo>
                <a:cubicBezTo>
                  <a:pt x="95" y="934157"/>
                  <a:pt x="13801" y="947811"/>
                  <a:pt x="30648" y="947811"/>
                </a:cubicBezTo>
                <a:cubicBezTo>
                  <a:pt x="47495" y="947811"/>
                  <a:pt x="61200" y="934157"/>
                  <a:pt x="61200" y="917374"/>
                </a:cubicBezTo>
                <a:cubicBezTo>
                  <a:pt x="61200" y="900591"/>
                  <a:pt x="47495" y="886937"/>
                  <a:pt x="30648" y="886937"/>
                </a:cubicBezTo>
                <a:cubicBezTo>
                  <a:pt x="13801" y="886937"/>
                  <a:pt x="95" y="900591"/>
                  <a:pt x="95" y="917374"/>
                </a:cubicBezTo>
                <a:close/>
                <a:moveTo>
                  <a:pt x="593635" y="917374"/>
                </a:moveTo>
                <a:cubicBezTo>
                  <a:pt x="593635" y="934157"/>
                  <a:pt x="607341" y="947811"/>
                  <a:pt x="624188" y="947811"/>
                </a:cubicBezTo>
                <a:cubicBezTo>
                  <a:pt x="641035" y="947811"/>
                  <a:pt x="654740" y="934157"/>
                  <a:pt x="654740" y="917374"/>
                </a:cubicBezTo>
                <a:cubicBezTo>
                  <a:pt x="654740" y="900591"/>
                  <a:pt x="641035" y="886937"/>
                  <a:pt x="624188" y="886937"/>
                </a:cubicBezTo>
                <a:cubicBezTo>
                  <a:pt x="607341" y="886937"/>
                  <a:pt x="593635" y="900591"/>
                  <a:pt x="593635" y="917374"/>
                </a:cubicBezTo>
                <a:close/>
                <a:moveTo>
                  <a:pt x="712324" y="917374"/>
                </a:moveTo>
                <a:cubicBezTo>
                  <a:pt x="712324" y="934157"/>
                  <a:pt x="726030" y="947811"/>
                  <a:pt x="742877" y="947811"/>
                </a:cubicBezTo>
                <a:cubicBezTo>
                  <a:pt x="759724" y="947811"/>
                  <a:pt x="773429" y="934157"/>
                  <a:pt x="773429" y="917374"/>
                </a:cubicBezTo>
                <a:cubicBezTo>
                  <a:pt x="773429" y="900591"/>
                  <a:pt x="759724" y="886937"/>
                  <a:pt x="742877" y="886937"/>
                </a:cubicBezTo>
                <a:cubicBezTo>
                  <a:pt x="726030" y="886937"/>
                  <a:pt x="712324" y="900591"/>
                  <a:pt x="712324" y="917374"/>
                </a:cubicBezTo>
                <a:close/>
                <a:moveTo>
                  <a:pt x="771621" y="917374"/>
                </a:moveTo>
                <a:cubicBezTo>
                  <a:pt x="771621" y="934157"/>
                  <a:pt x="785327" y="947811"/>
                  <a:pt x="802174" y="947811"/>
                </a:cubicBezTo>
                <a:cubicBezTo>
                  <a:pt x="819021" y="947811"/>
                  <a:pt x="832726" y="934157"/>
                  <a:pt x="832726" y="917374"/>
                </a:cubicBezTo>
                <a:cubicBezTo>
                  <a:pt x="832726" y="900591"/>
                  <a:pt x="819021" y="886937"/>
                  <a:pt x="802174" y="886937"/>
                </a:cubicBezTo>
                <a:cubicBezTo>
                  <a:pt x="785327" y="886937"/>
                  <a:pt x="771621" y="900591"/>
                  <a:pt x="771621" y="917374"/>
                </a:cubicBezTo>
                <a:close/>
                <a:moveTo>
                  <a:pt x="890310" y="917374"/>
                </a:moveTo>
                <a:cubicBezTo>
                  <a:pt x="890310" y="934157"/>
                  <a:pt x="904016" y="947811"/>
                  <a:pt x="920863" y="947811"/>
                </a:cubicBezTo>
                <a:cubicBezTo>
                  <a:pt x="937709" y="947811"/>
                  <a:pt x="951415" y="934157"/>
                  <a:pt x="951415" y="917374"/>
                </a:cubicBezTo>
                <a:cubicBezTo>
                  <a:pt x="951415" y="900591"/>
                  <a:pt x="937709" y="886937"/>
                  <a:pt x="920863" y="886937"/>
                </a:cubicBezTo>
                <a:cubicBezTo>
                  <a:pt x="904016" y="886937"/>
                  <a:pt x="890310" y="900591"/>
                  <a:pt x="890310" y="917374"/>
                </a:cubicBezTo>
                <a:close/>
                <a:moveTo>
                  <a:pt x="949702" y="917374"/>
                </a:moveTo>
                <a:cubicBezTo>
                  <a:pt x="949702" y="934157"/>
                  <a:pt x="963408" y="947811"/>
                  <a:pt x="980255" y="947811"/>
                </a:cubicBezTo>
                <a:cubicBezTo>
                  <a:pt x="997101" y="947811"/>
                  <a:pt x="1010807" y="934157"/>
                  <a:pt x="1010807" y="917374"/>
                </a:cubicBezTo>
                <a:cubicBezTo>
                  <a:pt x="1010807" y="900591"/>
                  <a:pt x="997101" y="886937"/>
                  <a:pt x="980255" y="886937"/>
                </a:cubicBezTo>
                <a:cubicBezTo>
                  <a:pt x="963408" y="886937"/>
                  <a:pt x="949702" y="900591"/>
                  <a:pt x="949702" y="917374"/>
                </a:cubicBezTo>
                <a:close/>
                <a:moveTo>
                  <a:pt x="1127783" y="917374"/>
                </a:moveTo>
                <a:cubicBezTo>
                  <a:pt x="1127783" y="934157"/>
                  <a:pt x="1141489" y="947811"/>
                  <a:pt x="1158336" y="947811"/>
                </a:cubicBezTo>
                <a:cubicBezTo>
                  <a:pt x="1175183" y="947811"/>
                  <a:pt x="1188888" y="934157"/>
                  <a:pt x="1188888" y="917374"/>
                </a:cubicBezTo>
                <a:cubicBezTo>
                  <a:pt x="1188888" y="900591"/>
                  <a:pt x="1175183" y="886937"/>
                  <a:pt x="1158336" y="886937"/>
                </a:cubicBezTo>
                <a:cubicBezTo>
                  <a:pt x="1141489" y="886937"/>
                  <a:pt x="1127783" y="900591"/>
                  <a:pt x="1127783" y="917374"/>
                </a:cubicBezTo>
                <a:close/>
                <a:moveTo>
                  <a:pt x="1187080" y="917374"/>
                </a:moveTo>
                <a:cubicBezTo>
                  <a:pt x="1187080" y="934157"/>
                  <a:pt x="1200786" y="947811"/>
                  <a:pt x="1217633" y="947811"/>
                </a:cubicBezTo>
                <a:cubicBezTo>
                  <a:pt x="1234479" y="947811"/>
                  <a:pt x="1248185" y="934157"/>
                  <a:pt x="1248185" y="917374"/>
                </a:cubicBezTo>
                <a:cubicBezTo>
                  <a:pt x="1248185" y="900591"/>
                  <a:pt x="1234479" y="886937"/>
                  <a:pt x="1217633" y="886937"/>
                </a:cubicBezTo>
                <a:cubicBezTo>
                  <a:pt x="1200786" y="886937"/>
                  <a:pt x="1187080" y="900591"/>
                  <a:pt x="1187080" y="917374"/>
                </a:cubicBezTo>
                <a:close/>
                <a:moveTo>
                  <a:pt x="1424553" y="917374"/>
                </a:moveTo>
                <a:cubicBezTo>
                  <a:pt x="1424553" y="934157"/>
                  <a:pt x="1438259" y="947811"/>
                  <a:pt x="1455106" y="947811"/>
                </a:cubicBezTo>
                <a:cubicBezTo>
                  <a:pt x="1471953" y="947811"/>
                  <a:pt x="1485658" y="934157"/>
                  <a:pt x="1485658" y="917374"/>
                </a:cubicBezTo>
                <a:cubicBezTo>
                  <a:pt x="1485658" y="900591"/>
                  <a:pt x="1471953" y="886937"/>
                  <a:pt x="1455106" y="886937"/>
                </a:cubicBezTo>
                <a:cubicBezTo>
                  <a:pt x="1438259" y="886937"/>
                  <a:pt x="1424553" y="900591"/>
                  <a:pt x="1424553" y="917374"/>
                </a:cubicBezTo>
                <a:close/>
                <a:moveTo>
                  <a:pt x="95" y="976446"/>
                </a:moveTo>
                <a:cubicBezTo>
                  <a:pt x="95" y="993229"/>
                  <a:pt x="13801" y="1006883"/>
                  <a:pt x="30648" y="1006883"/>
                </a:cubicBezTo>
                <a:cubicBezTo>
                  <a:pt x="47495" y="1006883"/>
                  <a:pt x="61200" y="993229"/>
                  <a:pt x="61200" y="976446"/>
                </a:cubicBezTo>
                <a:cubicBezTo>
                  <a:pt x="61200" y="959663"/>
                  <a:pt x="47495" y="946009"/>
                  <a:pt x="30648" y="946009"/>
                </a:cubicBezTo>
                <a:cubicBezTo>
                  <a:pt x="13801" y="946009"/>
                  <a:pt x="95" y="959663"/>
                  <a:pt x="95" y="976446"/>
                </a:cubicBezTo>
                <a:close/>
                <a:moveTo>
                  <a:pt x="178081" y="976446"/>
                </a:moveTo>
                <a:cubicBezTo>
                  <a:pt x="178081" y="993229"/>
                  <a:pt x="191787" y="1006883"/>
                  <a:pt x="208634" y="1006883"/>
                </a:cubicBezTo>
                <a:cubicBezTo>
                  <a:pt x="225480" y="1006883"/>
                  <a:pt x="239186" y="993229"/>
                  <a:pt x="239186" y="976446"/>
                </a:cubicBezTo>
                <a:cubicBezTo>
                  <a:pt x="239186" y="959663"/>
                  <a:pt x="225480" y="946009"/>
                  <a:pt x="208634" y="946009"/>
                </a:cubicBezTo>
                <a:cubicBezTo>
                  <a:pt x="191787" y="946009"/>
                  <a:pt x="178081" y="959663"/>
                  <a:pt x="178081" y="976446"/>
                </a:cubicBezTo>
                <a:close/>
                <a:moveTo>
                  <a:pt x="356162" y="976446"/>
                </a:moveTo>
                <a:cubicBezTo>
                  <a:pt x="356162" y="993229"/>
                  <a:pt x="369868" y="1006883"/>
                  <a:pt x="386715" y="1006883"/>
                </a:cubicBezTo>
                <a:cubicBezTo>
                  <a:pt x="403562" y="1006883"/>
                  <a:pt x="417267" y="993229"/>
                  <a:pt x="417267" y="976446"/>
                </a:cubicBezTo>
                <a:cubicBezTo>
                  <a:pt x="417267" y="959663"/>
                  <a:pt x="403562" y="946009"/>
                  <a:pt x="386715" y="946009"/>
                </a:cubicBezTo>
                <a:cubicBezTo>
                  <a:pt x="369868" y="946009"/>
                  <a:pt x="356162" y="959663"/>
                  <a:pt x="356162" y="976446"/>
                </a:cubicBezTo>
                <a:close/>
                <a:moveTo>
                  <a:pt x="415554" y="976446"/>
                </a:moveTo>
                <a:cubicBezTo>
                  <a:pt x="415554" y="993229"/>
                  <a:pt x="429260" y="1006883"/>
                  <a:pt x="446107" y="1006883"/>
                </a:cubicBezTo>
                <a:cubicBezTo>
                  <a:pt x="462954" y="1006883"/>
                  <a:pt x="476659" y="993229"/>
                  <a:pt x="476659" y="976446"/>
                </a:cubicBezTo>
                <a:cubicBezTo>
                  <a:pt x="476659" y="959663"/>
                  <a:pt x="462954" y="946009"/>
                  <a:pt x="446107" y="946009"/>
                </a:cubicBezTo>
                <a:cubicBezTo>
                  <a:pt x="429260" y="946009"/>
                  <a:pt x="415554" y="959663"/>
                  <a:pt x="415554" y="976446"/>
                </a:cubicBezTo>
                <a:close/>
                <a:moveTo>
                  <a:pt x="534243" y="976446"/>
                </a:moveTo>
                <a:cubicBezTo>
                  <a:pt x="534243" y="993229"/>
                  <a:pt x="547949" y="1006883"/>
                  <a:pt x="564796" y="1006883"/>
                </a:cubicBezTo>
                <a:cubicBezTo>
                  <a:pt x="581643" y="1006883"/>
                  <a:pt x="595348" y="993229"/>
                  <a:pt x="595348" y="976446"/>
                </a:cubicBezTo>
                <a:cubicBezTo>
                  <a:pt x="595348" y="959663"/>
                  <a:pt x="581643" y="946009"/>
                  <a:pt x="564796" y="946009"/>
                </a:cubicBezTo>
                <a:cubicBezTo>
                  <a:pt x="547949" y="946009"/>
                  <a:pt x="534243" y="959663"/>
                  <a:pt x="534243" y="976446"/>
                </a:cubicBezTo>
                <a:close/>
                <a:moveTo>
                  <a:pt x="593635" y="976446"/>
                </a:moveTo>
                <a:cubicBezTo>
                  <a:pt x="593635" y="993229"/>
                  <a:pt x="607341" y="1006883"/>
                  <a:pt x="624188" y="1006883"/>
                </a:cubicBezTo>
                <a:cubicBezTo>
                  <a:pt x="641035" y="1006883"/>
                  <a:pt x="654740" y="993229"/>
                  <a:pt x="654740" y="976446"/>
                </a:cubicBezTo>
                <a:cubicBezTo>
                  <a:pt x="654740" y="959663"/>
                  <a:pt x="641035" y="946009"/>
                  <a:pt x="624188" y="946009"/>
                </a:cubicBezTo>
                <a:cubicBezTo>
                  <a:pt x="607341" y="946009"/>
                  <a:pt x="593635" y="959663"/>
                  <a:pt x="593635" y="976446"/>
                </a:cubicBezTo>
                <a:close/>
                <a:moveTo>
                  <a:pt x="712324" y="976446"/>
                </a:moveTo>
                <a:cubicBezTo>
                  <a:pt x="712324" y="993229"/>
                  <a:pt x="726030" y="1006883"/>
                  <a:pt x="742877" y="1006883"/>
                </a:cubicBezTo>
                <a:cubicBezTo>
                  <a:pt x="759724" y="1006883"/>
                  <a:pt x="773429" y="993229"/>
                  <a:pt x="773429" y="976446"/>
                </a:cubicBezTo>
                <a:cubicBezTo>
                  <a:pt x="773429" y="959663"/>
                  <a:pt x="759724" y="946009"/>
                  <a:pt x="742877" y="946009"/>
                </a:cubicBezTo>
                <a:cubicBezTo>
                  <a:pt x="726030" y="946009"/>
                  <a:pt x="712324" y="959663"/>
                  <a:pt x="712324" y="976446"/>
                </a:cubicBezTo>
                <a:close/>
                <a:moveTo>
                  <a:pt x="831013" y="976446"/>
                </a:moveTo>
                <a:cubicBezTo>
                  <a:pt x="831013" y="993229"/>
                  <a:pt x="844719" y="1006883"/>
                  <a:pt x="861566" y="1006883"/>
                </a:cubicBezTo>
                <a:cubicBezTo>
                  <a:pt x="878413" y="1006883"/>
                  <a:pt x="892118" y="993229"/>
                  <a:pt x="892118" y="976446"/>
                </a:cubicBezTo>
                <a:cubicBezTo>
                  <a:pt x="892118" y="959663"/>
                  <a:pt x="878413" y="946009"/>
                  <a:pt x="861566" y="946009"/>
                </a:cubicBezTo>
                <a:cubicBezTo>
                  <a:pt x="844719" y="946009"/>
                  <a:pt x="831013" y="959663"/>
                  <a:pt x="831013" y="976446"/>
                </a:cubicBezTo>
                <a:close/>
                <a:moveTo>
                  <a:pt x="890310" y="976446"/>
                </a:moveTo>
                <a:cubicBezTo>
                  <a:pt x="890310" y="993229"/>
                  <a:pt x="904016" y="1006883"/>
                  <a:pt x="920863" y="1006883"/>
                </a:cubicBezTo>
                <a:cubicBezTo>
                  <a:pt x="937709" y="1006883"/>
                  <a:pt x="951415" y="993229"/>
                  <a:pt x="951415" y="976446"/>
                </a:cubicBezTo>
                <a:cubicBezTo>
                  <a:pt x="951415" y="959663"/>
                  <a:pt x="937709" y="946009"/>
                  <a:pt x="920863" y="946009"/>
                </a:cubicBezTo>
                <a:cubicBezTo>
                  <a:pt x="904016" y="946009"/>
                  <a:pt x="890310" y="959663"/>
                  <a:pt x="890310" y="976446"/>
                </a:cubicBezTo>
                <a:close/>
                <a:moveTo>
                  <a:pt x="949702" y="976446"/>
                </a:moveTo>
                <a:cubicBezTo>
                  <a:pt x="949702" y="993229"/>
                  <a:pt x="963408" y="1006883"/>
                  <a:pt x="980255" y="1006883"/>
                </a:cubicBezTo>
                <a:cubicBezTo>
                  <a:pt x="997101" y="1006883"/>
                  <a:pt x="1010807" y="993229"/>
                  <a:pt x="1010807" y="976446"/>
                </a:cubicBezTo>
                <a:cubicBezTo>
                  <a:pt x="1010807" y="959663"/>
                  <a:pt x="997101" y="946009"/>
                  <a:pt x="980255" y="946009"/>
                </a:cubicBezTo>
                <a:cubicBezTo>
                  <a:pt x="963408" y="946009"/>
                  <a:pt x="949702" y="959663"/>
                  <a:pt x="949702" y="976446"/>
                </a:cubicBezTo>
                <a:close/>
                <a:moveTo>
                  <a:pt x="1009094" y="976446"/>
                </a:moveTo>
                <a:cubicBezTo>
                  <a:pt x="1009094" y="993229"/>
                  <a:pt x="1022800" y="1006883"/>
                  <a:pt x="1039647" y="1006883"/>
                </a:cubicBezTo>
                <a:cubicBezTo>
                  <a:pt x="1056494" y="1006883"/>
                  <a:pt x="1070199" y="993229"/>
                  <a:pt x="1070199" y="976446"/>
                </a:cubicBezTo>
                <a:cubicBezTo>
                  <a:pt x="1070199" y="959663"/>
                  <a:pt x="1056494" y="946009"/>
                  <a:pt x="1039647" y="946009"/>
                </a:cubicBezTo>
                <a:cubicBezTo>
                  <a:pt x="1022800" y="946009"/>
                  <a:pt x="1009094" y="959663"/>
                  <a:pt x="1009094" y="976446"/>
                </a:cubicBezTo>
                <a:close/>
                <a:moveTo>
                  <a:pt x="1068391" y="976446"/>
                </a:moveTo>
                <a:cubicBezTo>
                  <a:pt x="1068391" y="993229"/>
                  <a:pt x="1082097" y="1006883"/>
                  <a:pt x="1098944" y="1006883"/>
                </a:cubicBezTo>
                <a:cubicBezTo>
                  <a:pt x="1115790" y="1006883"/>
                  <a:pt x="1129496" y="993229"/>
                  <a:pt x="1129496" y="976446"/>
                </a:cubicBezTo>
                <a:cubicBezTo>
                  <a:pt x="1129496" y="959663"/>
                  <a:pt x="1115790" y="946009"/>
                  <a:pt x="1098944" y="946009"/>
                </a:cubicBezTo>
                <a:cubicBezTo>
                  <a:pt x="1082097" y="946009"/>
                  <a:pt x="1068391" y="959663"/>
                  <a:pt x="1068391" y="976446"/>
                </a:cubicBezTo>
                <a:close/>
                <a:moveTo>
                  <a:pt x="1127783" y="976446"/>
                </a:moveTo>
                <a:cubicBezTo>
                  <a:pt x="1127783" y="993229"/>
                  <a:pt x="1141489" y="1006883"/>
                  <a:pt x="1158336" y="1006883"/>
                </a:cubicBezTo>
                <a:cubicBezTo>
                  <a:pt x="1175183" y="1006883"/>
                  <a:pt x="1188888" y="993229"/>
                  <a:pt x="1188888" y="976446"/>
                </a:cubicBezTo>
                <a:cubicBezTo>
                  <a:pt x="1188888" y="959663"/>
                  <a:pt x="1175183" y="946009"/>
                  <a:pt x="1158336" y="946009"/>
                </a:cubicBezTo>
                <a:cubicBezTo>
                  <a:pt x="1141489" y="946009"/>
                  <a:pt x="1127783" y="959663"/>
                  <a:pt x="1127783" y="976446"/>
                </a:cubicBezTo>
                <a:close/>
                <a:moveTo>
                  <a:pt x="1187080" y="976446"/>
                </a:moveTo>
                <a:cubicBezTo>
                  <a:pt x="1187080" y="993229"/>
                  <a:pt x="1200786" y="1006883"/>
                  <a:pt x="1217633" y="1006883"/>
                </a:cubicBezTo>
                <a:cubicBezTo>
                  <a:pt x="1234479" y="1006883"/>
                  <a:pt x="1248185" y="993229"/>
                  <a:pt x="1248185" y="976446"/>
                </a:cubicBezTo>
                <a:cubicBezTo>
                  <a:pt x="1248185" y="959663"/>
                  <a:pt x="1234479" y="946009"/>
                  <a:pt x="1217633" y="946009"/>
                </a:cubicBezTo>
                <a:cubicBezTo>
                  <a:pt x="1200786" y="946009"/>
                  <a:pt x="1187080" y="959663"/>
                  <a:pt x="1187080" y="976446"/>
                </a:cubicBezTo>
                <a:close/>
                <a:moveTo>
                  <a:pt x="1305769" y="976446"/>
                </a:moveTo>
                <a:cubicBezTo>
                  <a:pt x="1305769" y="993229"/>
                  <a:pt x="1319475" y="1006883"/>
                  <a:pt x="1336322" y="1006883"/>
                </a:cubicBezTo>
                <a:cubicBezTo>
                  <a:pt x="1353168" y="1006883"/>
                  <a:pt x="1366874" y="993229"/>
                  <a:pt x="1366874" y="976446"/>
                </a:cubicBezTo>
                <a:cubicBezTo>
                  <a:pt x="1366874" y="959663"/>
                  <a:pt x="1353168" y="946009"/>
                  <a:pt x="1336322" y="946009"/>
                </a:cubicBezTo>
                <a:cubicBezTo>
                  <a:pt x="1319475" y="946009"/>
                  <a:pt x="1305769" y="959663"/>
                  <a:pt x="1305769" y="976446"/>
                </a:cubicBezTo>
                <a:close/>
                <a:moveTo>
                  <a:pt x="474851" y="1035613"/>
                </a:moveTo>
                <a:cubicBezTo>
                  <a:pt x="474851" y="1052396"/>
                  <a:pt x="488557" y="1066050"/>
                  <a:pt x="505404" y="1066050"/>
                </a:cubicBezTo>
                <a:cubicBezTo>
                  <a:pt x="522250" y="1066050"/>
                  <a:pt x="535956" y="1052396"/>
                  <a:pt x="535956" y="1035613"/>
                </a:cubicBezTo>
                <a:cubicBezTo>
                  <a:pt x="535956" y="1018830"/>
                  <a:pt x="522250" y="1005176"/>
                  <a:pt x="505404" y="1005176"/>
                </a:cubicBezTo>
                <a:cubicBezTo>
                  <a:pt x="488557" y="1005176"/>
                  <a:pt x="474851" y="1018830"/>
                  <a:pt x="474851" y="1035613"/>
                </a:cubicBezTo>
                <a:close/>
                <a:moveTo>
                  <a:pt x="534243" y="1035613"/>
                </a:moveTo>
                <a:cubicBezTo>
                  <a:pt x="534243" y="1052396"/>
                  <a:pt x="547949" y="1066050"/>
                  <a:pt x="564796" y="1066050"/>
                </a:cubicBezTo>
                <a:cubicBezTo>
                  <a:pt x="581643" y="1066050"/>
                  <a:pt x="595348" y="1052396"/>
                  <a:pt x="595348" y="1035613"/>
                </a:cubicBezTo>
                <a:cubicBezTo>
                  <a:pt x="595348" y="1018830"/>
                  <a:pt x="581643" y="1005176"/>
                  <a:pt x="564796" y="1005176"/>
                </a:cubicBezTo>
                <a:cubicBezTo>
                  <a:pt x="547949" y="1005176"/>
                  <a:pt x="534243" y="1018830"/>
                  <a:pt x="534243" y="1035613"/>
                </a:cubicBezTo>
                <a:close/>
                <a:moveTo>
                  <a:pt x="593635" y="1035613"/>
                </a:moveTo>
                <a:cubicBezTo>
                  <a:pt x="593635" y="1052396"/>
                  <a:pt x="607341" y="1066050"/>
                  <a:pt x="624188" y="1066050"/>
                </a:cubicBezTo>
                <a:cubicBezTo>
                  <a:pt x="641035" y="1066050"/>
                  <a:pt x="654740" y="1052396"/>
                  <a:pt x="654740" y="1035613"/>
                </a:cubicBezTo>
                <a:cubicBezTo>
                  <a:pt x="654740" y="1018830"/>
                  <a:pt x="641035" y="1005176"/>
                  <a:pt x="624188" y="1005176"/>
                </a:cubicBezTo>
                <a:cubicBezTo>
                  <a:pt x="607341" y="1005176"/>
                  <a:pt x="593635" y="1018830"/>
                  <a:pt x="593635" y="1035613"/>
                </a:cubicBezTo>
                <a:close/>
                <a:moveTo>
                  <a:pt x="890310" y="1035613"/>
                </a:moveTo>
                <a:cubicBezTo>
                  <a:pt x="890310" y="1052396"/>
                  <a:pt x="904016" y="1066050"/>
                  <a:pt x="920863" y="1066050"/>
                </a:cubicBezTo>
                <a:cubicBezTo>
                  <a:pt x="937709" y="1066050"/>
                  <a:pt x="951415" y="1052396"/>
                  <a:pt x="951415" y="1035613"/>
                </a:cubicBezTo>
                <a:cubicBezTo>
                  <a:pt x="951415" y="1018830"/>
                  <a:pt x="937709" y="1005176"/>
                  <a:pt x="920863" y="1005176"/>
                </a:cubicBezTo>
                <a:cubicBezTo>
                  <a:pt x="904016" y="1005176"/>
                  <a:pt x="890310" y="1018830"/>
                  <a:pt x="890310" y="1035613"/>
                </a:cubicBezTo>
                <a:close/>
                <a:moveTo>
                  <a:pt x="949702" y="1035613"/>
                </a:moveTo>
                <a:cubicBezTo>
                  <a:pt x="949702" y="1052396"/>
                  <a:pt x="963408" y="1066050"/>
                  <a:pt x="980255" y="1066050"/>
                </a:cubicBezTo>
                <a:cubicBezTo>
                  <a:pt x="997101" y="1066050"/>
                  <a:pt x="1010807" y="1052396"/>
                  <a:pt x="1010807" y="1035613"/>
                </a:cubicBezTo>
                <a:cubicBezTo>
                  <a:pt x="1010807" y="1018830"/>
                  <a:pt x="997101" y="1005176"/>
                  <a:pt x="980255" y="1005176"/>
                </a:cubicBezTo>
                <a:cubicBezTo>
                  <a:pt x="963408" y="1005176"/>
                  <a:pt x="949702" y="1018830"/>
                  <a:pt x="949702" y="1035613"/>
                </a:cubicBezTo>
                <a:close/>
                <a:moveTo>
                  <a:pt x="1187080" y="1035613"/>
                </a:moveTo>
                <a:cubicBezTo>
                  <a:pt x="1187080" y="1052396"/>
                  <a:pt x="1200786" y="1066050"/>
                  <a:pt x="1217633" y="1066050"/>
                </a:cubicBezTo>
                <a:cubicBezTo>
                  <a:pt x="1234479" y="1066050"/>
                  <a:pt x="1248185" y="1052396"/>
                  <a:pt x="1248185" y="1035613"/>
                </a:cubicBezTo>
                <a:cubicBezTo>
                  <a:pt x="1248185" y="1018830"/>
                  <a:pt x="1234479" y="1005176"/>
                  <a:pt x="1217633" y="1005176"/>
                </a:cubicBezTo>
                <a:cubicBezTo>
                  <a:pt x="1200786" y="1005176"/>
                  <a:pt x="1187080" y="1018830"/>
                  <a:pt x="1187080" y="1035613"/>
                </a:cubicBezTo>
                <a:close/>
                <a:moveTo>
                  <a:pt x="1246472" y="1035613"/>
                </a:moveTo>
                <a:cubicBezTo>
                  <a:pt x="1246472" y="1052396"/>
                  <a:pt x="1260178" y="1066050"/>
                  <a:pt x="1277025" y="1066050"/>
                </a:cubicBezTo>
                <a:cubicBezTo>
                  <a:pt x="1293872" y="1066050"/>
                  <a:pt x="1307577" y="1052396"/>
                  <a:pt x="1307577" y="1035613"/>
                </a:cubicBezTo>
                <a:cubicBezTo>
                  <a:pt x="1307577" y="1018830"/>
                  <a:pt x="1293872" y="1005176"/>
                  <a:pt x="1277025" y="1005176"/>
                </a:cubicBezTo>
                <a:cubicBezTo>
                  <a:pt x="1260178" y="1005176"/>
                  <a:pt x="1246472" y="1018830"/>
                  <a:pt x="1246472" y="1035613"/>
                </a:cubicBezTo>
                <a:close/>
                <a:moveTo>
                  <a:pt x="652932" y="1094685"/>
                </a:moveTo>
                <a:cubicBezTo>
                  <a:pt x="652932" y="1111468"/>
                  <a:pt x="666638" y="1125122"/>
                  <a:pt x="683485" y="1125122"/>
                </a:cubicBezTo>
                <a:cubicBezTo>
                  <a:pt x="700332" y="1125122"/>
                  <a:pt x="714037" y="1111468"/>
                  <a:pt x="714037" y="1094685"/>
                </a:cubicBezTo>
                <a:cubicBezTo>
                  <a:pt x="714037" y="1077902"/>
                  <a:pt x="700332" y="1064249"/>
                  <a:pt x="683485" y="1064249"/>
                </a:cubicBezTo>
                <a:cubicBezTo>
                  <a:pt x="666638" y="1064249"/>
                  <a:pt x="652932" y="1077902"/>
                  <a:pt x="652932" y="1094685"/>
                </a:cubicBezTo>
                <a:close/>
                <a:moveTo>
                  <a:pt x="712324" y="1094685"/>
                </a:moveTo>
                <a:cubicBezTo>
                  <a:pt x="712324" y="1111468"/>
                  <a:pt x="726030" y="1125122"/>
                  <a:pt x="742877" y="1125122"/>
                </a:cubicBezTo>
                <a:cubicBezTo>
                  <a:pt x="759724" y="1125122"/>
                  <a:pt x="773429" y="1111468"/>
                  <a:pt x="773429" y="1094685"/>
                </a:cubicBezTo>
                <a:cubicBezTo>
                  <a:pt x="773429" y="1077902"/>
                  <a:pt x="759724" y="1064249"/>
                  <a:pt x="742877" y="1064249"/>
                </a:cubicBezTo>
                <a:cubicBezTo>
                  <a:pt x="726030" y="1064249"/>
                  <a:pt x="712324" y="1077902"/>
                  <a:pt x="712324" y="1094685"/>
                </a:cubicBezTo>
                <a:close/>
                <a:moveTo>
                  <a:pt x="949702" y="1094685"/>
                </a:moveTo>
                <a:cubicBezTo>
                  <a:pt x="949702" y="1111468"/>
                  <a:pt x="963408" y="1125122"/>
                  <a:pt x="980255" y="1125122"/>
                </a:cubicBezTo>
                <a:cubicBezTo>
                  <a:pt x="997101" y="1125122"/>
                  <a:pt x="1010807" y="1111468"/>
                  <a:pt x="1010807" y="1094685"/>
                </a:cubicBezTo>
                <a:cubicBezTo>
                  <a:pt x="1010807" y="1077902"/>
                  <a:pt x="997101" y="1064249"/>
                  <a:pt x="980255" y="1064249"/>
                </a:cubicBezTo>
                <a:cubicBezTo>
                  <a:pt x="963408" y="1064249"/>
                  <a:pt x="949702" y="1077902"/>
                  <a:pt x="949702" y="1094685"/>
                </a:cubicBezTo>
                <a:close/>
                <a:moveTo>
                  <a:pt x="1068391" y="1094685"/>
                </a:moveTo>
                <a:cubicBezTo>
                  <a:pt x="1068391" y="1111468"/>
                  <a:pt x="1082097" y="1125122"/>
                  <a:pt x="1098944" y="1125122"/>
                </a:cubicBezTo>
                <a:cubicBezTo>
                  <a:pt x="1115790" y="1125122"/>
                  <a:pt x="1129496" y="1111468"/>
                  <a:pt x="1129496" y="1094685"/>
                </a:cubicBezTo>
                <a:cubicBezTo>
                  <a:pt x="1129496" y="1077902"/>
                  <a:pt x="1115790" y="1064249"/>
                  <a:pt x="1098944" y="1064249"/>
                </a:cubicBezTo>
                <a:cubicBezTo>
                  <a:pt x="1082097" y="1064249"/>
                  <a:pt x="1068391" y="1077902"/>
                  <a:pt x="1068391" y="1094685"/>
                </a:cubicBezTo>
                <a:close/>
                <a:moveTo>
                  <a:pt x="1187080" y="1094685"/>
                </a:moveTo>
                <a:cubicBezTo>
                  <a:pt x="1187080" y="1111468"/>
                  <a:pt x="1200786" y="1125122"/>
                  <a:pt x="1217633" y="1125122"/>
                </a:cubicBezTo>
                <a:cubicBezTo>
                  <a:pt x="1234479" y="1125122"/>
                  <a:pt x="1248185" y="1111468"/>
                  <a:pt x="1248185" y="1094685"/>
                </a:cubicBezTo>
                <a:cubicBezTo>
                  <a:pt x="1248185" y="1077902"/>
                  <a:pt x="1234479" y="1064249"/>
                  <a:pt x="1217633" y="1064249"/>
                </a:cubicBezTo>
                <a:cubicBezTo>
                  <a:pt x="1200786" y="1064249"/>
                  <a:pt x="1187080" y="1077902"/>
                  <a:pt x="1187080" y="1094685"/>
                </a:cubicBezTo>
                <a:close/>
                <a:moveTo>
                  <a:pt x="1305769" y="1094685"/>
                </a:moveTo>
                <a:cubicBezTo>
                  <a:pt x="1305769" y="1111468"/>
                  <a:pt x="1319475" y="1125122"/>
                  <a:pt x="1336322" y="1125122"/>
                </a:cubicBezTo>
                <a:cubicBezTo>
                  <a:pt x="1353168" y="1125122"/>
                  <a:pt x="1366874" y="1111468"/>
                  <a:pt x="1366874" y="1094685"/>
                </a:cubicBezTo>
                <a:cubicBezTo>
                  <a:pt x="1366874" y="1077902"/>
                  <a:pt x="1353168" y="1064249"/>
                  <a:pt x="1336322" y="1064249"/>
                </a:cubicBezTo>
                <a:cubicBezTo>
                  <a:pt x="1319475" y="1064249"/>
                  <a:pt x="1305769" y="1077902"/>
                  <a:pt x="1305769" y="1094685"/>
                </a:cubicBezTo>
                <a:close/>
                <a:moveTo>
                  <a:pt x="1365161" y="1094685"/>
                </a:moveTo>
                <a:cubicBezTo>
                  <a:pt x="1365161" y="1111468"/>
                  <a:pt x="1378867" y="1125122"/>
                  <a:pt x="1395714" y="1125122"/>
                </a:cubicBezTo>
                <a:cubicBezTo>
                  <a:pt x="1412561" y="1125122"/>
                  <a:pt x="1426266" y="1111468"/>
                  <a:pt x="1426266" y="1094685"/>
                </a:cubicBezTo>
                <a:cubicBezTo>
                  <a:pt x="1426266" y="1077902"/>
                  <a:pt x="1412561" y="1064249"/>
                  <a:pt x="1395714" y="1064249"/>
                </a:cubicBezTo>
                <a:cubicBezTo>
                  <a:pt x="1378867" y="1064249"/>
                  <a:pt x="1365161" y="1077902"/>
                  <a:pt x="1365161" y="1094685"/>
                </a:cubicBezTo>
                <a:close/>
                <a:moveTo>
                  <a:pt x="1424553" y="1094685"/>
                </a:moveTo>
                <a:cubicBezTo>
                  <a:pt x="1424553" y="1111468"/>
                  <a:pt x="1438259" y="1125122"/>
                  <a:pt x="1455106" y="1125122"/>
                </a:cubicBezTo>
                <a:cubicBezTo>
                  <a:pt x="1471953" y="1125122"/>
                  <a:pt x="1485658" y="1111468"/>
                  <a:pt x="1485658" y="1094685"/>
                </a:cubicBezTo>
                <a:cubicBezTo>
                  <a:pt x="1485658" y="1077902"/>
                  <a:pt x="1471953" y="1064249"/>
                  <a:pt x="1455106" y="1064249"/>
                </a:cubicBezTo>
                <a:cubicBezTo>
                  <a:pt x="1438259" y="1064249"/>
                  <a:pt x="1424553" y="1077902"/>
                  <a:pt x="1424553" y="1094685"/>
                </a:cubicBezTo>
                <a:close/>
                <a:moveTo>
                  <a:pt x="474851" y="1153853"/>
                </a:moveTo>
                <a:cubicBezTo>
                  <a:pt x="474851" y="1170635"/>
                  <a:pt x="488557" y="1184289"/>
                  <a:pt x="505404" y="1184289"/>
                </a:cubicBezTo>
                <a:cubicBezTo>
                  <a:pt x="522250" y="1184289"/>
                  <a:pt x="535956" y="1170635"/>
                  <a:pt x="535956" y="1153853"/>
                </a:cubicBezTo>
                <a:cubicBezTo>
                  <a:pt x="535956" y="1137070"/>
                  <a:pt x="522250" y="1123416"/>
                  <a:pt x="505404" y="1123416"/>
                </a:cubicBezTo>
                <a:cubicBezTo>
                  <a:pt x="488557" y="1123416"/>
                  <a:pt x="474851" y="1137070"/>
                  <a:pt x="474851" y="1153853"/>
                </a:cubicBezTo>
                <a:close/>
                <a:moveTo>
                  <a:pt x="593635" y="1153853"/>
                </a:moveTo>
                <a:cubicBezTo>
                  <a:pt x="593635" y="1170635"/>
                  <a:pt x="607341" y="1184289"/>
                  <a:pt x="624188" y="1184289"/>
                </a:cubicBezTo>
                <a:cubicBezTo>
                  <a:pt x="641035" y="1184289"/>
                  <a:pt x="654740" y="1170635"/>
                  <a:pt x="654740" y="1153853"/>
                </a:cubicBezTo>
                <a:cubicBezTo>
                  <a:pt x="654740" y="1137070"/>
                  <a:pt x="641035" y="1123416"/>
                  <a:pt x="624188" y="1123416"/>
                </a:cubicBezTo>
                <a:cubicBezTo>
                  <a:pt x="607341" y="1123416"/>
                  <a:pt x="593635" y="1137070"/>
                  <a:pt x="593635" y="1153853"/>
                </a:cubicBezTo>
                <a:close/>
                <a:moveTo>
                  <a:pt x="652932" y="1153853"/>
                </a:moveTo>
                <a:cubicBezTo>
                  <a:pt x="652932" y="1170635"/>
                  <a:pt x="666638" y="1184289"/>
                  <a:pt x="683485" y="1184289"/>
                </a:cubicBezTo>
                <a:cubicBezTo>
                  <a:pt x="700332" y="1184289"/>
                  <a:pt x="714037" y="1170635"/>
                  <a:pt x="714037" y="1153853"/>
                </a:cubicBezTo>
                <a:cubicBezTo>
                  <a:pt x="714037" y="1137070"/>
                  <a:pt x="700332" y="1123416"/>
                  <a:pt x="683485" y="1123416"/>
                </a:cubicBezTo>
                <a:cubicBezTo>
                  <a:pt x="666638" y="1123416"/>
                  <a:pt x="652932" y="1137070"/>
                  <a:pt x="652932" y="1153853"/>
                </a:cubicBezTo>
                <a:close/>
                <a:moveTo>
                  <a:pt x="831013" y="1153853"/>
                </a:moveTo>
                <a:cubicBezTo>
                  <a:pt x="831013" y="1170635"/>
                  <a:pt x="844719" y="1184289"/>
                  <a:pt x="861566" y="1184289"/>
                </a:cubicBezTo>
                <a:cubicBezTo>
                  <a:pt x="878413" y="1184289"/>
                  <a:pt x="892118" y="1170635"/>
                  <a:pt x="892118" y="1153853"/>
                </a:cubicBezTo>
                <a:cubicBezTo>
                  <a:pt x="892118" y="1137070"/>
                  <a:pt x="878413" y="1123416"/>
                  <a:pt x="861566" y="1123416"/>
                </a:cubicBezTo>
                <a:cubicBezTo>
                  <a:pt x="844719" y="1123416"/>
                  <a:pt x="831013" y="1137070"/>
                  <a:pt x="831013" y="1153853"/>
                </a:cubicBezTo>
                <a:close/>
                <a:moveTo>
                  <a:pt x="949702" y="1153853"/>
                </a:moveTo>
                <a:cubicBezTo>
                  <a:pt x="949702" y="1170635"/>
                  <a:pt x="963408" y="1184289"/>
                  <a:pt x="980255" y="1184289"/>
                </a:cubicBezTo>
                <a:cubicBezTo>
                  <a:pt x="997101" y="1184289"/>
                  <a:pt x="1010807" y="1170635"/>
                  <a:pt x="1010807" y="1153853"/>
                </a:cubicBezTo>
                <a:cubicBezTo>
                  <a:pt x="1010807" y="1137070"/>
                  <a:pt x="997101" y="1123416"/>
                  <a:pt x="980255" y="1123416"/>
                </a:cubicBezTo>
                <a:cubicBezTo>
                  <a:pt x="963408" y="1123416"/>
                  <a:pt x="949702" y="1137070"/>
                  <a:pt x="949702" y="1153853"/>
                </a:cubicBezTo>
                <a:close/>
                <a:moveTo>
                  <a:pt x="1187080" y="1153853"/>
                </a:moveTo>
                <a:cubicBezTo>
                  <a:pt x="1187080" y="1170635"/>
                  <a:pt x="1200786" y="1184289"/>
                  <a:pt x="1217633" y="1184289"/>
                </a:cubicBezTo>
                <a:cubicBezTo>
                  <a:pt x="1234479" y="1184289"/>
                  <a:pt x="1248185" y="1170635"/>
                  <a:pt x="1248185" y="1153853"/>
                </a:cubicBezTo>
                <a:cubicBezTo>
                  <a:pt x="1248185" y="1137070"/>
                  <a:pt x="1234479" y="1123416"/>
                  <a:pt x="1217633" y="1123416"/>
                </a:cubicBezTo>
                <a:cubicBezTo>
                  <a:pt x="1200786" y="1123416"/>
                  <a:pt x="1187080" y="1137070"/>
                  <a:pt x="1187080" y="1153853"/>
                </a:cubicBezTo>
                <a:close/>
                <a:moveTo>
                  <a:pt x="1246472" y="1153853"/>
                </a:moveTo>
                <a:cubicBezTo>
                  <a:pt x="1246472" y="1170635"/>
                  <a:pt x="1260178" y="1184289"/>
                  <a:pt x="1277025" y="1184289"/>
                </a:cubicBezTo>
                <a:cubicBezTo>
                  <a:pt x="1293872" y="1184289"/>
                  <a:pt x="1307577" y="1170635"/>
                  <a:pt x="1307577" y="1153853"/>
                </a:cubicBezTo>
                <a:cubicBezTo>
                  <a:pt x="1307577" y="1137070"/>
                  <a:pt x="1293872" y="1123416"/>
                  <a:pt x="1277025" y="1123416"/>
                </a:cubicBezTo>
                <a:cubicBezTo>
                  <a:pt x="1260178" y="1123416"/>
                  <a:pt x="1246472" y="1137070"/>
                  <a:pt x="1246472" y="1153853"/>
                </a:cubicBezTo>
                <a:close/>
                <a:moveTo>
                  <a:pt x="1424553" y="1153853"/>
                </a:moveTo>
                <a:cubicBezTo>
                  <a:pt x="1424553" y="1170635"/>
                  <a:pt x="1438259" y="1184289"/>
                  <a:pt x="1455106" y="1184289"/>
                </a:cubicBezTo>
                <a:cubicBezTo>
                  <a:pt x="1471953" y="1184289"/>
                  <a:pt x="1485658" y="1170635"/>
                  <a:pt x="1485658" y="1153853"/>
                </a:cubicBezTo>
                <a:cubicBezTo>
                  <a:pt x="1485658" y="1137070"/>
                  <a:pt x="1471953" y="1123416"/>
                  <a:pt x="1455106" y="1123416"/>
                </a:cubicBezTo>
                <a:cubicBezTo>
                  <a:pt x="1438259" y="1123416"/>
                  <a:pt x="1424553" y="1137070"/>
                  <a:pt x="1424553" y="1153853"/>
                </a:cubicBezTo>
                <a:close/>
                <a:moveTo>
                  <a:pt x="474851" y="1212925"/>
                </a:moveTo>
                <a:cubicBezTo>
                  <a:pt x="474851" y="1229708"/>
                  <a:pt x="488557" y="1243362"/>
                  <a:pt x="505404" y="1243362"/>
                </a:cubicBezTo>
                <a:cubicBezTo>
                  <a:pt x="522250" y="1243362"/>
                  <a:pt x="535956" y="1229708"/>
                  <a:pt x="535956" y="1212925"/>
                </a:cubicBezTo>
                <a:cubicBezTo>
                  <a:pt x="535956" y="1196142"/>
                  <a:pt x="522250" y="1182488"/>
                  <a:pt x="505404" y="1182488"/>
                </a:cubicBezTo>
                <a:cubicBezTo>
                  <a:pt x="488557" y="1182488"/>
                  <a:pt x="474851" y="1196142"/>
                  <a:pt x="474851" y="1212925"/>
                </a:cubicBezTo>
                <a:close/>
                <a:moveTo>
                  <a:pt x="534243" y="1212925"/>
                </a:moveTo>
                <a:cubicBezTo>
                  <a:pt x="534243" y="1229708"/>
                  <a:pt x="547949" y="1243362"/>
                  <a:pt x="564796" y="1243362"/>
                </a:cubicBezTo>
                <a:cubicBezTo>
                  <a:pt x="581643" y="1243362"/>
                  <a:pt x="595348" y="1229708"/>
                  <a:pt x="595348" y="1212925"/>
                </a:cubicBezTo>
                <a:cubicBezTo>
                  <a:pt x="595348" y="1196142"/>
                  <a:pt x="581643" y="1182488"/>
                  <a:pt x="564796" y="1182488"/>
                </a:cubicBezTo>
                <a:cubicBezTo>
                  <a:pt x="547949" y="1182488"/>
                  <a:pt x="534243" y="1196142"/>
                  <a:pt x="534243" y="1212925"/>
                </a:cubicBezTo>
                <a:close/>
                <a:moveTo>
                  <a:pt x="652932" y="1212925"/>
                </a:moveTo>
                <a:cubicBezTo>
                  <a:pt x="652932" y="1229708"/>
                  <a:pt x="666638" y="1243362"/>
                  <a:pt x="683485" y="1243362"/>
                </a:cubicBezTo>
                <a:cubicBezTo>
                  <a:pt x="700332" y="1243362"/>
                  <a:pt x="714037" y="1229708"/>
                  <a:pt x="714037" y="1212925"/>
                </a:cubicBezTo>
                <a:cubicBezTo>
                  <a:pt x="714037" y="1196142"/>
                  <a:pt x="700332" y="1182488"/>
                  <a:pt x="683485" y="1182488"/>
                </a:cubicBezTo>
                <a:cubicBezTo>
                  <a:pt x="666638" y="1182488"/>
                  <a:pt x="652932" y="1196142"/>
                  <a:pt x="652932" y="1212925"/>
                </a:cubicBezTo>
                <a:close/>
                <a:moveTo>
                  <a:pt x="890310" y="1212925"/>
                </a:moveTo>
                <a:cubicBezTo>
                  <a:pt x="890310" y="1229708"/>
                  <a:pt x="904016" y="1243362"/>
                  <a:pt x="920863" y="1243362"/>
                </a:cubicBezTo>
                <a:cubicBezTo>
                  <a:pt x="937709" y="1243362"/>
                  <a:pt x="951415" y="1229708"/>
                  <a:pt x="951415" y="1212925"/>
                </a:cubicBezTo>
                <a:cubicBezTo>
                  <a:pt x="951415" y="1196142"/>
                  <a:pt x="937709" y="1182488"/>
                  <a:pt x="920863" y="1182488"/>
                </a:cubicBezTo>
                <a:cubicBezTo>
                  <a:pt x="904016" y="1182488"/>
                  <a:pt x="890310" y="1196142"/>
                  <a:pt x="890310" y="1212925"/>
                </a:cubicBezTo>
                <a:close/>
                <a:moveTo>
                  <a:pt x="949702" y="1212925"/>
                </a:moveTo>
                <a:cubicBezTo>
                  <a:pt x="949702" y="1229708"/>
                  <a:pt x="963408" y="1243362"/>
                  <a:pt x="980255" y="1243362"/>
                </a:cubicBezTo>
                <a:cubicBezTo>
                  <a:pt x="997101" y="1243362"/>
                  <a:pt x="1010807" y="1229708"/>
                  <a:pt x="1010807" y="1212925"/>
                </a:cubicBezTo>
                <a:cubicBezTo>
                  <a:pt x="1010807" y="1196142"/>
                  <a:pt x="997101" y="1182488"/>
                  <a:pt x="980255" y="1182488"/>
                </a:cubicBezTo>
                <a:cubicBezTo>
                  <a:pt x="963408" y="1182488"/>
                  <a:pt x="949702" y="1196142"/>
                  <a:pt x="949702" y="1212925"/>
                </a:cubicBezTo>
                <a:close/>
                <a:moveTo>
                  <a:pt x="1009094" y="1212925"/>
                </a:moveTo>
                <a:cubicBezTo>
                  <a:pt x="1009094" y="1229708"/>
                  <a:pt x="1022800" y="1243362"/>
                  <a:pt x="1039647" y="1243362"/>
                </a:cubicBezTo>
                <a:cubicBezTo>
                  <a:pt x="1056494" y="1243362"/>
                  <a:pt x="1070199" y="1229708"/>
                  <a:pt x="1070199" y="1212925"/>
                </a:cubicBezTo>
                <a:cubicBezTo>
                  <a:pt x="1070199" y="1196142"/>
                  <a:pt x="1056494" y="1182488"/>
                  <a:pt x="1039647" y="1182488"/>
                </a:cubicBezTo>
                <a:cubicBezTo>
                  <a:pt x="1022800" y="1182488"/>
                  <a:pt x="1009094" y="1196142"/>
                  <a:pt x="1009094" y="1212925"/>
                </a:cubicBezTo>
                <a:close/>
                <a:moveTo>
                  <a:pt x="1068391" y="1212925"/>
                </a:moveTo>
                <a:cubicBezTo>
                  <a:pt x="1068391" y="1229708"/>
                  <a:pt x="1082097" y="1243362"/>
                  <a:pt x="1098944" y="1243362"/>
                </a:cubicBezTo>
                <a:cubicBezTo>
                  <a:pt x="1115790" y="1243362"/>
                  <a:pt x="1129496" y="1229708"/>
                  <a:pt x="1129496" y="1212925"/>
                </a:cubicBezTo>
                <a:cubicBezTo>
                  <a:pt x="1129496" y="1196142"/>
                  <a:pt x="1115790" y="1182488"/>
                  <a:pt x="1098944" y="1182488"/>
                </a:cubicBezTo>
                <a:cubicBezTo>
                  <a:pt x="1082097" y="1182488"/>
                  <a:pt x="1068391" y="1196142"/>
                  <a:pt x="1068391" y="1212925"/>
                </a:cubicBezTo>
                <a:close/>
                <a:moveTo>
                  <a:pt x="1127783" y="1212925"/>
                </a:moveTo>
                <a:cubicBezTo>
                  <a:pt x="1127783" y="1229708"/>
                  <a:pt x="1141489" y="1243362"/>
                  <a:pt x="1158336" y="1243362"/>
                </a:cubicBezTo>
                <a:cubicBezTo>
                  <a:pt x="1175183" y="1243362"/>
                  <a:pt x="1188888" y="1229708"/>
                  <a:pt x="1188888" y="1212925"/>
                </a:cubicBezTo>
                <a:cubicBezTo>
                  <a:pt x="1188888" y="1196142"/>
                  <a:pt x="1175183" y="1182488"/>
                  <a:pt x="1158336" y="1182488"/>
                </a:cubicBezTo>
                <a:cubicBezTo>
                  <a:pt x="1141489" y="1182488"/>
                  <a:pt x="1127783" y="1196142"/>
                  <a:pt x="1127783" y="1212925"/>
                </a:cubicBezTo>
                <a:close/>
                <a:moveTo>
                  <a:pt x="1187080" y="1212925"/>
                </a:moveTo>
                <a:cubicBezTo>
                  <a:pt x="1187080" y="1229708"/>
                  <a:pt x="1200786" y="1243362"/>
                  <a:pt x="1217633" y="1243362"/>
                </a:cubicBezTo>
                <a:cubicBezTo>
                  <a:pt x="1234479" y="1243362"/>
                  <a:pt x="1248185" y="1229708"/>
                  <a:pt x="1248185" y="1212925"/>
                </a:cubicBezTo>
                <a:cubicBezTo>
                  <a:pt x="1248185" y="1196142"/>
                  <a:pt x="1234479" y="1182488"/>
                  <a:pt x="1217633" y="1182488"/>
                </a:cubicBezTo>
                <a:cubicBezTo>
                  <a:pt x="1200786" y="1182488"/>
                  <a:pt x="1187080" y="1196142"/>
                  <a:pt x="1187080" y="1212925"/>
                </a:cubicBezTo>
                <a:close/>
                <a:moveTo>
                  <a:pt x="1305769" y="1212925"/>
                </a:moveTo>
                <a:cubicBezTo>
                  <a:pt x="1305769" y="1229708"/>
                  <a:pt x="1319475" y="1243362"/>
                  <a:pt x="1336322" y="1243362"/>
                </a:cubicBezTo>
                <a:cubicBezTo>
                  <a:pt x="1353168" y="1243362"/>
                  <a:pt x="1366874" y="1229708"/>
                  <a:pt x="1366874" y="1212925"/>
                </a:cubicBezTo>
                <a:cubicBezTo>
                  <a:pt x="1366874" y="1196142"/>
                  <a:pt x="1353168" y="1182488"/>
                  <a:pt x="1336322" y="1182488"/>
                </a:cubicBezTo>
                <a:cubicBezTo>
                  <a:pt x="1319475" y="1182488"/>
                  <a:pt x="1305769" y="1196142"/>
                  <a:pt x="1305769" y="1212925"/>
                </a:cubicBezTo>
                <a:close/>
                <a:moveTo>
                  <a:pt x="1365161" y="1212925"/>
                </a:moveTo>
                <a:cubicBezTo>
                  <a:pt x="1365161" y="1229708"/>
                  <a:pt x="1378867" y="1243362"/>
                  <a:pt x="1395714" y="1243362"/>
                </a:cubicBezTo>
                <a:cubicBezTo>
                  <a:pt x="1412561" y="1243362"/>
                  <a:pt x="1426266" y="1229708"/>
                  <a:pt x="1426266" y="1212925"/>
                </a:cubicBezTo>
                <a:cubicBezTo>
                  <a:pt x="1426266" y="1196142"/>
                  <a:pt x="1412561" y="1182488"/>
                  <a:pt x="1395714" y="1182488"/>
                </a:cubicBezTo>
                <a:cubicBezTo>
                  <a:pt x="1378867" y="1182488"/>
                  <a:pt x="1365161" y="1196142"/>
                  <a:pt x="1365161" y="1212925"/>
                </a:cubicBezTo>
                <a:close/>
                <a:moveTo>
                  <a:pt x="1424553" y="1212925"/>
                </a:moveTo>
                <a:cubicBezTo>
                  <a:pt x="1424553" y="1229708"/>
                  <a:pt x="1438259" y="1243362"/>
                  <a:pt x="1455106" y="1243362"/>
                </a:cubicBezTo>
                <a:cubicBezTo>
                  <a:pt x="1471953" y="1243362"/>
                  <a:pt x="1485658" y="1229708"/>
                  <a:pt x="1485658" y="1212925"/>
                </a:cubicBezTo>
                <a:cubicBezTo>
                  <a:pt x="1485658" y="1196142"/>
                  <a:pt x="1471953" y="1182488"/>
                  <a:pt x="1455106" y="1182488"/>
                </a:cubicBezTo>
                <a:cubicBezTo>
                  <a:pt x="1438259" y="1182488"/>
                  <a:pt x="1424553" y="1196142"/>
                  <a:pt x="1424553" y="1212925"/>
                </a:cubicBezTo>
                <a:close/>
                <a:moveTo>
                  <a:pt x="474851" y="1272092"/>
                </a:moveTo>
                <a:cubicBezTo>
                  <a:pt x="474851" y="1288875"/>
                  <a:pt x="488557" y="1302529"/>
                  <a:pt x="505404" y="1302529"/>
                </a:cubicBezTo>
                <a:cubicBezTo>
                  <a:pt x="522250" y="1302529"/>
                  <a:pt x="535956" y="1288875"/>
                  <a:pt x="535956" y="1272092"/>
                </a:cubicBezTo>
                <a:cubicBezTo>
                  <a:pt x="535956" y="1255309"/>
                  <a:pt x="522250" y="1241655"/>
                  <a:pt x="505404" y="1241655"/>
                </a:cubicBezTo>
                <a:cubicBezTo>
                  <a:pt x="488557" y="1241655"/>
                  <a:pt x="474851" y="1255309"/>
                  <a:pt x="474851" y="1272092"/>
                </a:cubicBezTo>
                <a:close/>
                <a:moveTo>
                  <a:pt x="534243" y="1272092"/>
                </a:moveTo>
                <a:cubicBezTo>
                  <a:pt x="534243" y="1288875"/>
                  <a:pt x="547949" y="1302529"/>
                  <a:pt x="564796" y="1302529"/>
                </a:cubicBezTo>
                <a:cubicBezTo>
                  <a:pt x="581643" y="1302529"/>
                  <a:pt x="595348" y="1288875"/>
                  <a:pt x="595348" y="1272092"/>
                </a:cubicBezTo>
                <a:cubicBezTo>
                  <a:pt x="595348" y="1255309"/>
                  <a:pt x="581643" y="1241655"/>
                  <a:pt x="564796" y="1241655"/>
                </a:cubicBezTo>
                <a:cubicBezTo>
                  <a:pt x="547949" y="1241655"/>
                  <a:pt x="534243" y="1255309"/>
                  <a:pt x="534243" y="1272092"/>
                </a:cubicBezTo>
                <a:close/>
                <a:moveTo>
                  <a:pt x="712324" y="1272092"/>
                </a:moveTo>
                <a:cubicBezTo>
                  <a:pt x="712324" y="1288875"/>
                  <a:pt x="726030" y="1302529"/>
                  <a:pt x="742877" y="1302529"/>
                </a:cubicBezTo>
                <a:cubicBezTo>
                  <a:pt x="759724" y="1302529"/>
                  <a:pt x="773429" y="1288875"/>
                  <a:pt x="773429" y="1272092"/>
                </a:cubicBezTo>
                <a:cubicBezTo>
                  <a:pt x="773429" y="1255309"/>
                  <a:pt x="759724" y="1241655"/>
                  <a:pt x="742877" y="1241655"/>
                </a:cubicBezTo>
                <a:cubicBezTo>
                  <a:pt x="726030" y="1241655"/>
                  <a:pt x="712324" y="1255309"/>
                  <a:pt x="712324" y="1272092"/>
                </a:cubicBezTo>
                <a:close/>
                <a:moveTo>
                  <a:pt x="771621" y="1272092"/>
                </a:moveTo>
                <a:cubicBezTo>
                  <a:pt x="771621" y="1288875"/>
                  <a:pt x="785327" y="1302529"/>
                  <a:pt x="802174" y="1302529"/>
                </a:cubicBezTo>
                <a:cubicBezTo>
                  <a:pt x="819021" y="1302529"/>
                  <a:pt x="832726" y="1288875"/>
                  <a:pt x="832726" y="1272092"/>
                </a:cubicBezTo>
                <a:cubicBezTo>
                  <a:pt x="832726" y="1255309"/>
                  <a:pt x="819021" y="1241655"/>
                  <a:pt x="802174" y="1241655"/>
                </a:cubicBezTo>
                <a:cubicBezTo>
                  <a:pt x="785327" y="1241655"/>
                  <a:pt x="771621" y="1255309"/>
                  <a:pt x="771621" y="1272092"/>
                </a:cubicBezTo>
                <a:close/>
                <a:moveTo>
                  <a:pt x="831013" y="1272092"/>
                </a:moveTo>
                <a:cubicBezTo>
                  <a:pt x="831013" y="1288875"/>
                  <a:pt x="844719" y="1302529"/>
                  <a:pt x="861566" y="1302529"/>
                </a:cubicBezTo>
                <a:cubicBezTo>
                  <a:pt x="878413" y="1302529"/>
                  <a:pt x="892118" y="1288875"/>
                  <a:pt x="892118" y="1272092"/>
                </a:cubicBezTo>
                <a:cubicBezTo>
                  <a:pt x="892118" y="1255309"/>
                  <a:pt x="878413" y="1241655"/>
                  <a:pt x="861566" y="1241655"/>
                </a:cubicBezTo>
                <a:cubicBezTo>
                  <a:pt x="844719" y="1241655"/>
                  <a:pt x="831013" y="1255309"/>
                  <a:pt x="831013" y="1272092"/>
                </a:cubicBezTo>
                <a:close/>
                <a:moveTo>
                  <a:pt x="890310" y="1272092"/>
                </a:moveTo>
                <a:cubicBezTo>
                  <a:pt x="890310" y="1288875"/>
                  <a:pt x="904016" y="1302529"/>
                  <a:pt x="920863" y="1302529"/>
                </a:cubicBezTo>
                <a:cubicBezTo>
                  <a:pt x="937709" y="1302529"/>
                  <a:pt x="951415" y="1288875"/>
                  <a:pt x="951415" y="1272092"/>
                </a:cubicBezTo>
                <a:cubicBezTo>
                  <a:pt x="951415" y="1255309"/>
                  <a:pt x="937709" y="1241655"/>
                  <a:pt x="920863" y="1241655"/>
                </a:cubicBezTo>
                <a:cubicBezTo>
                  <a:pt x="904016" y="1241655"/>
                  <a:pt x="890310" y="1255309"/>
                  <a:pt x="890310" y="1272092"/>
                </a:cubicBezTo>
                <a:close/>
                <a:moveTo>
                  <a:pt x="1009094" y="1272092"/>
                </a:moveTo>
                <a:cubicBezTo>
                  <a:pt x="1009094" y="1288875"/>
                  <a:pt x="1022800" y="1302529"/>
                  <a:pt x="1039647" y="1302529"/>
                </a:cubicBezTo>
                <a:cubicBezTo>
                  <a:pt x="1056494" y="1302529"/>
                  <a:pt x="1070199" y="1288875"/>
                  <a:pt x="1070199" y="1272092"/>
                </a:cubicBezTo>
                <a:cubicBezTo>
                  <a:pt x="1070199" y="1255309"/>
                  <a:pt x="1056494" y="1241655"/>
                  <a:pt x="1039647" y="1241655"/>
                </a:cubicBezTo>
                <a:cubicBezTo>
                  <a:pt x="1022800" y="1241655"/>
                  <a:pt x="1009094" y="1255309"/>
                  <a:pt x="1009094" y="1272092"/>
                </a:cubicBezTo>
                <a:close/>
                <a:moveTo>
                  <a:pt x="1068391" y="1272092"/>
                </a:moveTo>
                <a:cubicBezTo>
                  <a:pt x="1068391" y="1288875"/>
                  <a:pt x="1082097" y="1302529"/>
                  <a:pt x="1098944" y="1302529"/>
                </a:cubicBezTo>
                <a:cubicBezTo>
                  <a:pt x="1115790" y="1302529"/>
                  <a:pt x="1129496" y="1288875"/>
                  <a:pt x="1129496" y="1272092"/>
                </a:cubicBezTo>
                <a:cubicBezTo>
                  <a:pt x="1129496" y="1255309"/>
                  <a:pt x="1115790" y="1241655"/>
                  <a:pt x="1098944" y="1241655"/>
                </a:cubicBezTo>
                <a:cubicBezTo>
                  <a:pt x="1082097" y="1241655"/>
                  <a:pt x="1068391" y="1255309"/>
                  <a:pt x="1068391" y="1272092"/>
                </a:cubicBezTo>
                <a:close/>
                <a:moveTo>
                  <a:pt x="1187080" y="1272092"/>
                </a:moveTo>
                <a:cubicBezTo>
                  <a:pt x="1187080" y="1288875"/>
                  <a:pt x="1200786" y="1302529"/>
                  <a:pt x="1217633" y="1302529"/>
                </a:cubicBezTo>
                <a:cubicBezTo>
                  <a:pt x="1234479" y="1302529"/>
                  <a:pt x="1248185" y="1288875"/>
                  <a:pt x="1248185" y="1272092"/>
                </a:cubicBezTo>
                <a:cubicBezTo>
                  <a:pt x="1248185" y="1255309"/>
                  <a:pt x="1234479" y="1241655"/>
                  <a:pt x="1217633" y="1241655"/>
                </a:cubicBezTo>
                <a:cubicBezTo>
                  <a:pt x="1200786" y="1241655"/>
                  <a:pt x="1187080" y="1255309"/>
                  <a:pt x="1187080" y="1272092"/>
                </a:cubicBezTo>
                <a:close/>
                <a:moveTo>
                  <a:pt x="1246472" y="1272092"/>
                </a:moveTo>
                <a:cubicBezTo>
                  <a:pt x="1246472" y="1288875"/>
                  <a:pt x="1260178" y="1302529"/>
                  <a:pt x="1277025" y="1302529"/>
                </a:cubicBezTo>
                <a:cubicBezTo>
                  <a:pt x="1293872" y="1302529"/>
                  <a:pt x="1307577" y="1288875"/>
                  <a:pt x="1307577" y="1272092"/>
                </a:cubicBezTo>
                <a:cubicBezTo>
                  <a:pt x="1307577" y="1255309"/>
                  <a:pt x="1293872" y="1241655"/>
                  <a:pt x="1277025" y="1241655"/>
                </a:cubicBezTo>
                <a:cubicBezTo>
                  <a:pt x="1260178" y="1241655"/>
                  <a:pt x="1246472" y="1255309"/>
                  <a:pt x="1246472" y="1272092"/>
                </a:cubicBezTo>
                <a:close/>
                <a:moveTo>
                  <a:pt x="1305769" y="1272092"/>
                </a:moveTo>
                <a:cubicBezTo>
                  <a:pt x="1305769" y="1288875"/>
                  <a:pt x="1319475" y="1302529"/>
                  <a:pt x="1336322" y="1302529"/>
                </a:cubicBezTo>
                <a:cubicBezTo>
                  <a:pt x="1353168" y="1302529"/>
                  <a:pt x="1366874" y="1288875"/>
                  <a:pt x="1366874" y="1272092"/>
                </a:cubicBezTo>
                <a:cubicBezTo>
                  <a:pt x="1366874" y="1255309"/>
                  <a:pt x="1353168" y="1241655"/>
                  <a:pt x="1336322" y="1241655"/>
                </a:cubicBezTo>
                <a:cubicBezTo>
                  <a:pt x="1319475" y="1241655"/>
                  <a:pt x="1305769" y="1255309"/>
                  <a:pt x="1305769" y="1272092"/>
                </a:cubicBezTo>
                <a:close/>
                <a:moveTo>
                  <a:pt x="1365161" y="1272092"/>
                </a:moveTo>
                <a:cubicBezTo>
                  <a:pt x="1365161" y="1288875"/>
                  <a:pt x="1378867" y="1302529"/>
                  <a:pt x="1395714" y="1302529"/>
                </a:cubicBezTo>
                <a:cubicBezTo>
                  <a:pt x="1412561" y="1302529"/>
                  <a:pt x="1426266" y="1288875"/>
                  <a:pt x="1426266" y="1272092"/>
                </a:cubicBezTo>
                <a:cubicBezTo>
                  <a:pt x="1426266" y="1255309"/>
                  <a:pt x="1412561" y="1241655"/>
                  <a:pt x="1395714" y="1241655"/>
                </a:cubicBezTo>
                <a:cubicBezTo>
                  <a:pt x="1378867" y="1241655"/>
                  <a:pt x="1365161" y="1255309"/>
                  <a:pt x="1365161" y="1272092"/>
                </a:cubicBezTo>
                <a:close/>
                <a:moveTo>
                  <a:pt x="1424553" y="1272092"/>
                </a:moveTo>
                <a:cubicBezTo>
                  <a:pt x="1424553" y="1288875"/>
                  <a:pt x="1438259" y="1302529"/>
                  <a:pt x="1455106" y="1302529"/>
                </a:cubicBezTo>
                <a:cubicBezTo>
                  <a:pt x="1471953" y="1302529"/>
                  <a:pt x="1485658" y="1288875"/>
                  <a:pt x="1485658" y="1272092"/>
                </a:cubicBezTo>
                <a:cubicBezTo>
                  <a:pt x="1485658" y="1255309"/>
                  <a:pt x="1471953" y="1241655"/>
                  <a:pt x="1455106" y="1241655"/>
                </a:cubicBezTo>
                <a:cubicBezTo>
                  <a:pt x="1438259" y="1241655"/>
                  <a:pt x="1424553" y="1255309"/>
                  <a:pt x="1424553" y="1272092"/>
                </a:cubicBezTo>
                <a:close/>
                <a:moveTo>
                  <a:pt x="474851" y="1331259"/>
                </a:moveTo>
                <a:cubicBezTo>
                  <a:pt x="474851" y="1348042"/>
                  <a:pt x="488557" y="1361696"/>
                  <a:pt x="505404" y="1361696"/>
                </a:cubicBezTo>
                <a:cubicBezTo>
                  <a:pt x="522250" y="1361696"/>
                  <a:pt x="535956" y="1348042"/>
                  <a:pt x="535956" y="1331259"/>
                </a:cubicBezTo>
                <a:cubicBezTo>
                  <a:pt x="535956" y="1314476"/>
                  <a:pt x="522250" y="1300822"/>
                  <a:pt x="505404" y="1300822"/>
                </a:cubicBezTo>
                <a:cubicBezTo>
                  <a:pt x="488557" y="1300822"/>
                  <a:pt x="474851" y="1314476"/>
                  <a:pt x="474851" y="1331259"/>
                </a:cubicBezTo>
                <a:close/>
                <a:moveTo>
                  <a:pt x="593635" y="1331259"/>
                </a:moveTo>
                <a:cubicBezTo>
                  <a:pt x="593635" y="1348042"/>
                  <a:pt x="607341" y="1361696"/>
                  <a:pt x="624188" y="1361696"/>
                </a:cubicBezTo>
                <a:cubicBezTo>
                  <a:pt x="641035" y="1361696"/>
                  <a:pt x="654740" y="1348042"/>
                  <a:pt x="654740" y="1331259"/>
                </a:cubicBezTo>
                <a:cubicBezTo>
                  <a:pt x="654740" y="1314476"/>
                  <a:pt x="641035" y="1300822"/>
                  <a:pt x="624188" y="1300822"/>
                </a:cubicBezTo>
                <a:cubicBezTo>
                  <a:pt x="607341" y="1300822"/>
                  <a:pt x="593635" y="1314476"/>
                  <a:pt x="593635" y="1331259"/>
                </a:cubicBezTo>
                <a:close/>
                <a:moveTo>
                  <a:pt x="771621" y="1331259"/>
                </a:moveTo>
                <a:cubicBezTo>
                  <a:pt x="771621" y="1348042"/>
                  <a:pt x="785327" y="1361696"/>
                  <a:pt x="802174" y="1361696"/>
                </a:cubicBezTo>
                <a:cubicBezTo>
                  <a:pt x="819021" y="1361696"/>
                  <a:pt x="832726" y="1348042"/>
                  <a:pt x="832726" y="1331259"/>
                </a:cubicBezTo>
                <a:cubicBezTo>
                  <a:pt x="832726" y="1314476"/>
                  <a:pt x="819021" y="1300822"/>
                  <a:pt x="802174" y="1300822"/>
                </a:cubicBezTo>
                <a:cubicBezTo>
                  <a:pt x="785327" y="1300822"/>
                  <a:pt x="771621" y="1314476"/>
                  <a:pt x="771621" y="1331259"/>
                </a:cubicBezTo>
                <a:close/>
                <a:moveTo>
                  <a:pt x="831013" y="1331259"/>
                </a:moveTo>
                <a:cubicBezTo>
                  <a:pt x="831013" y="1348042"/>
                  <a:pt x="844719" y="1361696"/>
                  <a:pt x="861566" y="1361696"/>
                </a:cubicBezTo>
                <a:cubicBezTo>
                  <a:pt x="878413" y="1361696"/>
                  <a:pt x="892118" y="1348042"/>
                  <a:pt x="892118" y="1331259"/>
                </a:cubicBezTo>
                <a:cubicBezTo>
                  <a:pt x="892118" y="1314476"/>
                  <a:pt x="878413" y="1300822"/>
                  <a:pt x="861566" y="1300822"/>
                </a:cubicBezTo>
                <a:cubicBezTo>
                  <a:pt x="844719" y="1300822"/>
                  <a:pt x="831013" y="1314476"/>
                  <a:pt x="831013" y="1331259"/>
                </a:cubicBezTo>
                <a:close/>
                <a:moveTo>
                  <a:pt x="1246472" y="1331259"/>
                </a:moveTo>
                <a:cubicBezTo>
                  <a:pt x="1246472" y="1348042"/>
                  <a:pt x="1260178" y="1361696"/>
                  <a:pt x="1277025" y="1361696"/>
                </a:cubicBezTo>
                <a:cubicBezTo>
                  <a:pt x="1293872" y="1361696"/>
                  <a:pt x="1307577" y="1348042"/>
                  <a:pt x="1307577" y="1331259"/>
                </a:cubicBezTo>
                <a:cubicBezTo>
                  <a:pt x="1307577" y="1314476"/>
                  <a:pt x="1293872" y="1300822"/>
                  <a:pt x="1277025" y="1300822"/>
                </a:cubicBezTo>
                <a:cubicBezTo>
                  <a:pt x="1260178" y="1300822"/>
                  <a:pt x="1246472" y="1314476"/>
                  <a:pt x="1246472" y="1331259"/>
                </a:cubicBezTo>
                <a:close/>
                <a:moveTo>
                  <a:pt x="1305769" y="1331259"/>
                </a:moveTo>
                <a:cubicBezTo>
                  <a:pt x="1305769" y="1348042"/>
                  <a:pt x="1319475" y="1361696"/>
                  <a:pt x="1336322" y="1361696"/>
                </a:cubicBezTo>
                <a:cubicBezTo>
                  <a:pt x="1353168" y="1361696"/>
                  <a:pt x="1366874" y="1348042"/>
                  <a:pt x="1366874" y="1331259"/>
                </a:cubicBezTo>
                <a:cubicBezTo>
                  <a:pt x="1366874" y="1314476"/>
                  <a:pt x="1353168" y="1300822"/>
                  <a:pt x="1336322" y="1300822"/>
                </a:cubicBezTo>
                <a:cubicBezTo>
                  <a:pt x="1319475" y="1300822"/>
                  <a:pt x="1305769" y="1314476"/>
                  <a:pt x="1305769" y="1331259"/>
                </a:cubicBezTo>
                <a:close/>
                <a:moveTo>
                  <a:pt x="1424553" y="1331259"/>
                </a:moveTo>
                <a:cubicBezTo>
                  <a:pt x="1424553" y="1348042"/>
                  <a:pt x="1438259" y="1361696"/>
                  <a:pt x="1455106" y="1361696"/>
                </a:cubicBezTo>
                <a:cubicBezTo>
                  <a:pt x="1471953" y="1361696"/>
                  <a:pt x="1485658" y="1348042"/>
                  <a:pt x="1485658" y="1331259"/>
                </a:cubicBezTo>
                <a:cubicBezTo>
                  <a:pt x="1485658" y="1314476"/>
                  <a:pt x="1471953" y="1300822"/>
                  <a:pt x="1455106" y="1300822"/>
                </a:cubicBezTo>
                <a:cubicBezTo>
                  <a:pt x="1438259" y="1300822"/>
                  <a:pt x="1424553" y="1314476"/>
                  <a:pt x="1424553" y="1331259"/>
                </a:cubicBezTo>
                <a:close/>
                <a:moveTo>
                  <a:pt x="712324" y="1390331"/>
                </a:moveTo>
                <a:cubicBezTo>
                  <a:pt x="712324" y="1407114"/>
                  <a:pt x="726030" y="1420768"/>
                  <a:pt x="742877" y="1420768"/>
                </a:cubicBezTo>
                <a:cubicBezTo>
                  <a:pt x="759724" y="1420768"/>
                  <a:pt x="773429" y="1407114"/>
                  <a:pt x="773429" y="1390331"/>
                </a:cubicBezTo>
                <a:cubicBezTo>
                  <a:pt x="773429" y="1373548"/>
                  <a:pt x="759724" y="1359894"/>
                  <a:pt x="742877" y="1359894"/>
                </a:cubicBezTo>
                <a:cubicBezTo>
                  <a:pt x="726030" y="1359894"/>
                  <a:pt x="712324" y="1373548"/>
                  <a:pt x="712324" y="1390331"/>
                </a:cubicBezTo>
                <a:close/>
                <a:moveTo>
                  <a:pt x="771621" y="1390331"/>
                </a:moveTo>
                <a:cubicBezTo>
                  <a:pt x="771621" y="1407114"/>
                  <a:pt x="785327" y="1420768"/>
                  <a:pt x="802174" y="1420768"/>
                </a:cubicBezTo>
                <a:cubicBezTo>
                  <a:pt x="819021" y="1420768"/>
                  <a:pt x="832726" y="1407114"/>
                  <a:pt x="832726" y="1390331"/>
                </a:cubicBezTo>
                <a:cubicBezTo>
                  <a:pt x="832726" y="1373548"/>
                  <a:pt x="819021" y="1359894"/>
                  <a:pt x="802174" y="1359894"/>
                </a:cubicBezTo>
                <a:cubicBezTo>
                  <a:pt x="785327" y="1359894"/>
                  <a:pt x="771621" y="1373548"/>
                  <a:pt x="771621" y="1390331"/>
                </a:cubicBezTo>
                <a:close/>
                <a:moveTo>
                  <a:pt x="949702" y="1390331"/>
                </a:moveTo>
                <a:cubicBezTo>
                  <a:pt x="949702" y="1407114"/>
                  <a:pt x="963408" y="1420768"/>
                  <a:pt x="980255" y="1420768"/>
                </a:cubicBezTo>
                <a:cubicBezTo>
                  <a:pt x="997101" y="1420768"/>
                  <a:pt x="1010807" y="1407114"/>
                  <a:pt x="1010807" y="1390331"/>
                </a:cubicBezTo>
                <a:cubicBezTo>
                  <a:pt x="1010807" y="1373548"/>
                  <a:pt x="997101" y="1359894"/>
                  <a:pt x="980255" y="1359894"/>
                </a:cubicBezTo>
                <a:cubicBezTo>
                  <a:pt x="963408" y="1359894"/>
                  <a:pt x="949702" y="1373548"/>
                  <a:pt x="949702" y="1390331"/>
                </a:cubicBezTo>
                <a:close/>
                <a:moveTo>
                  <a:pt x="1068391" y="1390331"/>
                </a:moveTo>
                <a:cubicBezTo>
                  <a:pt x="1068391" y="1407114"/>
                  <a:pt x="1082097" y="1420768"/>
                  <a:pt x="1098944" y="1420768"/>
                </a:cubicBezTo>
                <a:cubicBezTo>
                  <a:pt x="1115790" y="1420768"/>
                  <a:pt x="1129496" y="1407114"/>
                  <a:pt x="1129496" y="1390331"/>
                </a:cubicBezTo>
                <a:cubicBezTo>
                  <a:pt x="1129496" y="1373548"/>
                  <a:pt x="1115790" y="1359894"/>
                  <a:pt x="1098944" y="1359894"/>
                </a:cubicBezTo>
                <a:cubicBezTo>
                  <a:pt x="1082097" y="1359894"/>
                  <a:pt x="1068391" y="1373548"/>
                  <a:pt x="1068391" y="1390331"/>
                </a:cubicBezTo>
                <a:close/>
                <a:moveTo>
                  <a:pt x="1127783" y="1390331"/>
                </a:moveTo>
                <a:cubicBezTo>
                  <a:pt x="1127783" y="1407114"/>
                  <a:pt x="1141489" y="1420768"/>
                  <a:pt x="1158336" y="1420768"/>
                </a:cubicBezTo>
                <a:cubicBezTo>
                  <a:pt x="1175183" y="1420768"/>
                  <a:pt x="1188888" y="1407114"/>
                  <a:pt x="1188888" y="1390331"/>
                </a:cubicBezTo>
                <a:cubicBezTo>
                  <a:pt x="1188888" y="1373548"/>
                  <a:pt x="1175183" y="1359894"/>
                  <a:pt x="1158336" y="1359894"/>
                </a:cubicBezTo>
                <a:cubicBezTo>
                  <a:pt x="1141489" y="1359894"/>
                  <a:pt x="1127783" y="1373548"/>
                  <a:pt x="1127783" y="1390331"/>
                </a:cubicBezTo>
                <a:close/>
                <a:moveTo>
                  <a:pt x="1187080" y="1390331"/>
                </a:moveTo>
                <a:cubicBezTo>
                  <a:pt x="1187080" y="1407114"/>
                  <a:pt x="1200786" y="1420768"/>
                  <a:pt x="1217633" y="1420768"/>
                </a:cubicBezTo>
                <a:cubicBezTo>
                  <a:pt x="1234479" y="1420768"/>
                  <a:pt x="1248185" y="1407114"/>
                  <a:pt x="1248185" y="1390331"/>
                </a:cubicBezTo>
                <a:cubicBezTo>
                  <a:pt x="1248185" y="1373548"/>
                  <a:pt x="1234479" y="1359894"/>
                  <a:pt x="1217633" y="1359894"/>
                </a:cubicBezTo>
                <a:cubicBezTo>
                  <a:pt x="1200786" y="1359894"/>
                  <a:pt x="1187080" y="1373548"/>
                  <a:pt x="1187080" y="1390331"/>
                </a:cubicBezTo>
                <a:close/>
                <a:moveTo>
                  <a:pt x="1246472" y="1390331"/>
                </a:moveTo>
                <a:cubicBezTo>
                  <a:pt x="1246472" y="1407114"/>
                  <a:pt x="1260178" y="1420768"/>
                  <a:pt x="1277025" y="1420768"/>
                </a:cubicBezTo>
                <a:cubicBezTo>
                  <a:pt x="1293872" y="1420768"/>
                  <a:pt x="1307577" y="1407114"/>
                  <a:pt x="1307577" y="1390331"/>
                </a:cubicBezTo>
                <a:cubicBezTo>
                  <a:pt x="1307577" y="1373548"/>
                  <a:pt x="1293872" y="1359894"/>
                  <a:pt x="1277025" y="1359894"/>
                </a:cubicBezTo>
                <a:cubicBezTo>
                  <a:pt x="1260178" y="1359894"/>
                  <a:pt x="1246472" y="1373548"/>
                  <a:pt x="1246472" y="1390331"/>
                </a:cubicBezTo>
                <a:close/>
                <a:moveTo>
                  <a:pt x="1424553" y="1390331"/>
                </a:moveTo>
                <a:cubicBezTo>
                  <a:pt x="1424553" y="1407114"/>
                  <a:pt x="1438259" y="1420768"/>
                  <a:pt x="1455106" y="1420768"/>
                </a:cubicBezTo>
                <a:cubicBezTo>
                  <a:pt x="1471953" y="1420768"/>
                  <a:pt x="1485658" y="1407114"/>
                  <a:pt x="1485658" y="1390331"/>
                </a:cubicBezTo>
                <a:cubicBezTo>
                  <a:pt x="1485658" y="1373548"/>
                  <a:pt x="1471953" y="1359894"/>
                  <a:pt x="1455106" y="1359894"/>
                </a:cubicBezTo>
                <a:cubicBezTo>
                  <a:pt x="1438259" y="1359894"/>
                  <a:pt x="1424553" y="1373548"/>
                  <a:pt x="1424553" y="1390331"/>
                </a:cubicBezTo>
                <a:close/>
                <a:moveTo>
                  <a:pt x="474851" y="1449498"/>
                </a:moveTo>
                <a:cubicBezTo>
                  <a:pt x="474851" y="1466281"/>
                  <a:pt x="488557" y="1479935"/>
                  <a:pt x="505404" y="1479935"/>
                </a:cubicBezTo>
                <a:cubicBezTo>
                  <a:pt x="522250" y="1479935"/>
                  <a:pt x="535956" y="1466281"/>
                  <a:pt x="535956" y="1449498"/>
                </a:cubicBezTo>
                <a:cubicBezTo>
                  <a:pt x="535956" y="1432715"/>
                  <a:pt x="522250" y="1419061"/>
                  <a:pt x="505404" y="1419061"/>
                </a:cubicBezTo>
                <a:cubicBezTo>
                  <a:pt x="488557" y="1419061"/>
                  <a:pt x="474851" y="1432715"/>
                  <a:pt x="474851" y="1449498"/>
                </a:cubicBezTo>
                <a:close/>
                <a:moveTo>
                  <a:pt x="593635" y="1449498"/>
                </a:moveTo>
                <a:cubicBezTo>
                  <a:pt x="593635" y="1466281"/>
                  <a:pt x="607341" y="1479935"/>
                  <a:pt x="624188" y="1479935"/>
                </a:cubicBezTo>
                <a:cubicBezTo>
                  <a:pt x="641035" y="1479935"/>
                  <a:pt x="654740" y="1466281"/>
                  <a:pt x="654740" y="1449498"/>
                </a:cubicBezTo>
                <a:cubicBezTo>
                  <a:pt x="654740" y="1432715"/>
                  <a:pt x="641035" y="1419061"/>
                  <a:pt x="624188" y="1419061"/>
                </a:cubicBezTo>
                <a:cubicBezTo>
                  <a:pt x="607341" y="1419061"/>
                  <a:pt x="593635" y="1432715"/>
                  <a:pt x="593635" y="1449498"/>
                </a:cubicBezTo>
                <a:close/>
                <a:moveTo>
                  <a:pt x="712324" y="1449498"/>
                </a:moveTo>
                <a:cubicBezTo>
                  <a:pt x="712324" y="1466281"/>
                  <a:pt x="726030" y="1479935"/>
                  <a:pt x="742877" y="1479935"/>
                </a:cubicBezTo>
                <a:cubicBezTo>
                  <a:pt x="759724" y="1479935"/>
                  <a:pt x="773429" y="1466281"/>
                  <a:pt x="773429" y="1449498"/>
                </a:cubicBezTo>
                <a:cubicBezTo>
                  <a:pt x="773429" y="1432715"/>
                  <a:pt x="759724" y="1419061"/>
                  <a:pt x="742877" y="1419061"/>
                </a:cubicBezTo>
                <a:cubicBezTo>
                  <a:pt x="726030" y="1419061"/>
                  <a:pt x="712324" y="1432715"/>
                  <a:pt x="712324" y="1449498"/>
                </a:cubicBezTo>
                <a:close/>
                <a:moveTo>
                  <a:pt x="831013" y="1449498"/>
                </a:moveTo>
                <a:cubicBezTo>
                  <a:pt x="831013" y="1466281"/>
                  <a:pt x="844719" y="1479935"/>
                  <a:pt x="861566" y="1479935"/>
                </a:cubicBezTo>
                <a:cubicBezTo>
                  <a:pt x="878413" y="1479935"/>
                  <a:pt x="892118" y="1466281"/>
                  <a:pt x="892118" y="1449498"/>
                </a:cubicBezTo>
                <a:cubicBezTo>
                  <a:pt x="892118" y="1432715"/>
                  <a:pt x="878413" y="1419061"/>
                  <a:pt x="861566" y="1419061"/>
                </a:cubicBezTo>
                <a:cubicBezTo>
                  <a:pt x="844719" y="1419061"/>
                  <a:pt x="831013" y="1432715"/>
                  <a:pt x="831013" y="1449498"/>
                </a:cubicBezTo>
                <a:close/>
                <a:moveTo>
                  <a:pt x="1009094" y="1449498"/>
                </a:moveTo>
                <a:cubicBezTo>
                  <a:pt x="1009094" y="1466281"/>
                  <a:pt x="1022800" y="1479935"/>
                  <a:pt x="1039647" y="1479935"/>
                </a:cubicBezTo>
                <a:cubicBezTo>
                  <a:pt x="1056494" y="1479935"/>
                  <a:pt x="1070199" y="1466281"/>
                  <a:pt x="1070199" y="1449498"/>
                </a:cubicBezTo>
                <a:cubicBezTo>
                  <a:pt x="1070199" y="1432715"/>
                  <a:pt x="1056494" y="1419061"/>
                  <a:pt x="1039647" y="1419061"/>
                </a:cubicBezTo>
                <a:cubicBezTo>
                  <a:pt x="1022800" y="1419061"/>
                  <a:pt x="1009094" y="1432715"/>
                  <a:pt x="1009094" y="1449498"/>
                </a:cubicBezTo>
                <a:close/>
                <a:moveTo>
                  <a:pt x="1068391" y="1449498"/>
                </a:moveTo>
                <a:cubicBezTo>
                  <a:pt x="1068391" y="1466281"/>
                  <a:pt x="1082097" y="1479935"/>
                  <a:pt x="1098944" y="1479935"/>
                </a:cubicBezTo>
                <a:cubicBezTo>
                  <a:pt x="1115790" y="1479935"/>
                  <a:pt x="1129496" y="1466281"/>
                  <a:pt x="1129496" y="1449498"/>
                </a:cubicBezTo>
                <a:cubicBezTo>
                  <a:pt x="1129496" y="1432715"/>
                  <a:pt x="1115790" y="1419061"/>
                  <a:pt x="1098944" y="1419061"/>
                </a:cubicBezTo>
                <a:cubicBezTo>
                  <a:pt x="1082097" y="1419061"/>
                  <a:pt x="1068391" y="1432715"/>
                  <a:pt x="1068391" y="1449498"/>
                </a:cubicBezTo>
                <a:close/>
                <a:moveTo>
                  <a:pt x="1127783" y="1449498"/>
                </a:moveTo>
                <a:cubicBezTo>
                  <a:pt x="1127783" y="1466281"/>
                  <a:pt x="1141489" y="1479935"/>
                  <a:pt x="1158336" y="1479935"/>
                </a:cubicBezTo>
                <a:cubicBezTo>
                  <a:pt x="1175183" y="1479935"/>
                  <a:pt x="1188888" y="1466281"/>
                  <a:pt x="1188888" y="1449498"/>
                </a:cubicBezTo>
                <a:cubicBezTo>
                  <a:pt x="1188888" y="1432715"/>
                  <a:pt x="1175183" y="1419061"/>
                  <a:pt x="1158336" y="1419061"/>
                </a:cubicBezTo>
                <a:cubicBezTo>
                  <a:pt x="1141489" y="1419061"/>
                  <a:pt x="1127783" y="1432715"/>
                  <a:pt x="1127783" y="1449498"/>
                </a:cubicBezTo>
                <a:close/>
                <a:moveTo>
                  <a:pt x="1187080" y="1449498"/>
                </a:moveTo>
                <a:cubicBezTo>
                  <a:pt x="1187080" y="1466281"/>
                  <a:pt x="1200786" y="1479935"/>
                  <a:pt x="1217633" y="1479935"/>
                </a:cubicBezTo>
                <a:cubicBezTo>
                  <a:pt x="1234479" y="1479935"/>
                  <a:pt x="1248185" y="1466281"/>
                  <a:pt x="1248185" y="1449498"/>
                </a:cubicBezTo>
                <a:cubicBezTo>
                  <a:pt x="1248185" y="1432715"/>
                  <a:pt x="1234479" y="1419061"/>
                  <a:pt x="1217633" y="1419061"/>
                </a:cubicBezTo>
                <a:cubicBezTo>
                  <a:pt x="1200786" y="1419061"/>
                  <a:pt x="1187080" y="1432715"/>
                  <a:pt x="1187080" y="1449498"/>
                </a:cubicBezTo>
                <a:close/>
                <a:moveTo>
                  <a:pt x="1246472" y="1449498"/>
                </a:moveTo>
                <a:cubicBezTo>
                  <a:pt x="1246472" y="1466281"/>
                  <a:pt x="1260178" y="1479935"/>
                  <a:pt x="1277025" y="1479935"/>
                </a:cubicBezTo>
                <a:cubicBezTo>
                  <a:pt x="1293872" y="1479935"/>
                  <a:pt x="1307577" y="1466281"/>
                  <a:pt x="1307577" y="1449498"/>
                </a:cubicBezTo>
                <a:cubicBezTo>
                  <a:pt x="1307577" y="1432715"/>
                  <a:pt x="1293872" y="1419061"/>
                  <a:pt x="1277025" y="1419061"/>
                </a:cubicBezTo>
                <a:cubicBezTo>
                  <a:pt x="1260178" y="1419061"/>
                  <a:pt x="1246472" y="1432715"/>
                  <a:pt x="1246472" y="1449498"/>
                </a:cubicBezTo>
                <a:close/>
                <a:moveTo>
                  <a:pt x="1305769" y="1449498"/>
                </a:moveTo>
                <a:cubicBezTo>
                  <a:pt x="1305769" y="1466281"/>
                  <a:pt x="1319475" y="1479935"/>
                  <a:pt x="1336322" y="1479935"/>
                </a:cubicBezTo>
                <a:cubicBezTo>
                  <a:pt x="1353168" y="1479935"/>
                  <a:pt x="1366874" y="1466281"/>
                  <a:pt x="1366874" y="1449498"/>
                </a:cubicBezTo>
                <a:cubicBezTo>
                  <a:pt x="1366874" y="1432715"/>
                  <a:pt x="1353168" y="1419061"/>
                  <a:pt x="1336322" y="1419061"/>
                </a:cubicBezTo>
                <a:cubicBezTo>
                  <a:pt x="1319475" y="1419061"/>
                  <a:pt x="1305769" y="1432715"/>
                  <a:pt x="1305769" y="1449498"/>
                </a:cubicBezTo>
                <a:close/>
                <a:moveTo>
                  <a:pt x="1365161" y="1449498"/>
                </a:moveTo>
                <a:cubicBezTo>
                  <a:pt x="1365161" y="1466281"/>
                  <a:pt x="1378867" y="1479935"/>
                  <a:pt x="1395714" y="1479935"/>
                </a:cubicBezTo>
                <a:cubicBezTo>
                  <a:pt x="1412561" y="1479935"/>
                  <a:pt x="1426266" y="1466281"/>
                  <a:pt x="1426266" y="1449498"/>
                </a:cubicBezTo>
                <a:cubicBezTo>
                  <a:pt x="1426266" y="1432715"/>
                  <a:pt x="1412561" y="1419061"/>
                  <a:pt x="1395714" y="1419061"/>
                </a:cubicBezTo>
                <a:cubicBezTo>
                  <a:pt x="1378867" y="1419061"/>
                  <a:pt x="1365161" y="1432715"/>
                  <a:pt x="1365161" y="1449498"/>
                </a:cubicBezTo>
                <a:close/>
                <a:moveTo>
                  <a:pt x="1424553" y="1449498"/>
                </a:moveTo>
                <a:cubicBezTo>
                  <a:pt x="1424553" y="1466281"/>
                  <a:pt x="1438259" y="1479935"/>
                  <a:pt x="1455106" y="1479935"/>
                </a:cubicBezTo>
                <a:cubicBezTo>
                  <a:pt x="1471953" y="1479935"/>
                  <a:pt x="1485658" y="1466281"/>
                  <a:pt x="1485658" y="1449498"/>
                </a:cubicBezTo>
                <a:cubicBezTo>
                  <a:pt x="1485658" y="1432715"/>
                  <a:pt x="1471953" y="1419061"/>
                  <a:pt x="1455106" y="1419061"/>
                </a:cubicBezTo>
                <a:cubicBezTo>
                  <a:pt x="1438259" y="1419061"/>
                  <a:pt x="1424553" y="1432715"/>
                  <a:pt x="1424553" y="1449498"/>
                </a:cubicBezTo>
                <a:close/>
                <a:moveTo>
                  <a:pt x="207777" y="0"/>
                </a:moveTo>
                <a:lnTo>
                  <a:pt x="207777" y="0"/>
                </a:lnTo>
                <a:cubicBezTo>
                  <a:pt x="323515" y="0"/>
                  <a:pt x="415554" y="91690"/>
                  <a:pt x="415554" y="206990"/>
                </a:cubicBezTo>
                <a:lnTo>
                  <a:pt x="415554" y="206990"/>
                </a:lnTo>
                <a:cubicBezTo>
                  <a:pt x="415554" y="322290"/>
                  <a:pt x="323515" y="413980"/>
                  <a:pt x="207777" y="413980"/>
                </a:cubicBezTo>
                <a:lnTo>
                  <a:pt x="207777" y="413980"/>
                </a:lnTo>
                <a:cubicBezTo>
                  <a:pt x="92039" y="413980"/>
                  <a:pt x="0" y="322290"/>
                  <a:pt x="0" y="206990"/>
                </a:cubicBezTo>
                <a:lnTo>
                  <a:pt x="0" y="206990"/>
                </a:lnTo>
                <a:cubicBezTo>
                  <a:pt x="0" y="91690"/>
                  <a:pt x="92039" y="0"/>
                  <a:pt x="207777" y="0"/>
                </a:cubicBezTo>
                <a:close/>
                <a:moveTo>
                  <a:pt x="356162" y="206895"/>
                </a:moveTo>
                <a:lnTo>
                  <a:pt x="356162" y="206895"/>
                </a:lnTo>
                <a:cubicBezTo>
                  <a:pt x="356162" y="124118"/>
                  <a:pt x="290869" y="59072"/>
                  <a:pt x="207777" y="59072"/>
                </a:cubicBezTo>
                <a:lnTo>
                  <a:pt x="207777" y="59072"/>
                </a:lnTo>
                <a:cubicBezTo>
                  <a:pt x="124685" y="59072"/>
                  <a:pt x="59392" y="124118"/>
                  <a:pt x="59392" y="206895"/>
                </a:cubicBezTo>
                <a:lnTo>
                  <a:pt x="59392" y="206895"/>
                </a:lnTo>
                <a:cubicBezTo>
                  <a:pt x="59392" y="289672"/>
                  <a:pt x="124685" y="354718"/>
                  <a:pt x="207777" y="354718"/>
                </a:cubicBezTo>
                <a:lnTo>
                  <a:pt x="207777" y="354718"/>
                </a:lnTo>
                <a:cubicBezTo>
                  <a:pt x="290869" y="354718"/>
                  <a:pt x="356162" y="289672"/>
                  <a:pt x="356162" y="206895"/>
                </a:cubicBezTo>
                <a:close/>
                <a:moveTo>
                  <a:pt x="1276168" y="0"/>
                </a:moveTo>
                <a:lnTo>
                  <a:pt x="1276168" y="0"/>
                </a:lnTo>
                <a:cubicBezTo>
                  <a:pt x="1391907" y="0"/>
                  <a:pt x="1483945" y="91690"/>
                  <a:pt x="1483945" y="206990"/>
                </a:cubicBezTo>
                <a:lnTo>
                  <a:pt x="1483945" y="206990"/>
                </a:lnTo>
                <a:cubicBezTo>
                  <a:pt x="1483945" y="322290"/>
                  <a:pt x="1391907" y="413980"/>
                  <a:pt x="1276168" y="413980"/>
                </a:cubicBezTo>
                <a:lnTo>
                  <a:pt x="1276168" y="413980"/>
                </a:lnTo>
                <a:cubicBezTo>
                  <a:pt x="1160430" y="413980"/>
                  <a:pt x="1068391" y="322290"/>
                  <a:pt x="1068391" y="206990"/>
                </a:cubicBezTo>
                <a:lnTo>
                  <a:pt x="1068391" y="206990"/>
                </a:lnTo>
                <a:cubicBezTo>
                  <a:pt x="1068391" y="91690"/>
                  <a:pt x="1160430" y="0"/>
                  <a:pt x="1276168" y="0"/>
                </a:cubicBezTo>
                <a:close/>
                <a:moveTo>
                  <a:pt x="1424553" y="206895"/>
                </a:moveTo>
                <a:lnTo>
                  <a:pt x="1424553" y="206895"/>
                </a:lnTo>
                <a:cubicBezTo>
                  <a:pt x="1424553" y="124118"/>
                  <a:pt x="1359260" y="59072"/>
                  <a:pt x="1276168" y="59072"/>
                </a:cubicBezTo>
                <a:lnTo>
                  <a:pt x="1276168" y="59072"/>
                </a:lnTo>
                <a:cubicBezTo>
                  <a:pt x="1193076" y="59072"/>
                  <a:pt x="1127783" y="124118"/>
                  <a:pt x="1127783" y="206895"/>
                </a:cubicBezTo>
                <a:lnTo>
                  <a:pt x="1127783" y="206895"/>
                </a:lnTo>
                <a:cubicBezTo>
                  <a:pt x="1127783" y="289672"/>
                  <a:pt x="1193076" y="354718"/>
                  <a:pt x="1276168" y="354718"/>
                </a:cubicBezTo>
                <a:lnTo>
                  <a:pt x="1276168" y="354718"/>
                </a:lnTo>
                <a:cubicBezTo>
                  <a:pt x="1359260" y="354718"/>
                  <a:pt x="1424553" y="289672"/>
                  <a:pt x="1424553" y="206895"/>
                </a:cubicBezTo>
                <a:close/>
                <a:moveTo>
                  <a:pt x="207777" y="1064249"/>
                </a:moveTo>
                <a:lnTo>
                  <a:pt x="207777" y="1064249"/>
                </a:lnTo>
                <a:cubicBezTo>
                  <a:pt x="323515" y="1064249"/>
                  <a:pt x="415554" y="1155938"/>
                  <a:pt x="415554" y="1271238"/>
                </a:cubicBezTo>
                <a:lnTo>
                  <a:pt x="415554" y="1271238"/>
                </a:lnTo>
                <a:cubicBezTo>
                  <a:pt x="415554" y="1386538"/>
                  <a:pt x="323515" y="1478228"/>
                  <a:pt x="207777" y="1478228"/>
                </a:cubicBezTo>
                <a:lnTo>
                  <a:pt x="207777" y="1478228"/>
                </a:lnTo>
                <a:cubicBezTo>
                  <a:pt x="92039" y="1478228"/>
                  <a:pt x="0" y="1386538"/>
                  <a:pt x="0" y="1271238"/>
                </a:cubicBezTo>
                <a:lnTo>
                  <a:pt x="0" y="1271238"/>
                </a:lnTo>
                <a:cubicBezTo>
                  <a:pt x="0" y="1155938"/>
                  <a:pt x="92039" y="1064249"/>
                  <a:pt x="207777" y="1064249"/>
                </a:cubicBezTo>
                <a:close/>
                <a:moveTo>
                  <a:pt x="356162" y="1271238"/>
                </a:moveTo>
                <a:lnTo>
                  <a:pt x="356162" y="1271238"/>
                </a:lnTo>
                <a:cubicBezTo>
                  <a:pt x="356162" y="1188461"/>
                  <a:pt x="290869" y="1123416"/>
                  <a:pt x="207777" y="1123416"/>
                </a:cubicBezTo>
                <a:lnTo>
                  <a:pt x="207777" y="1123416"/>
                </a:lnTo>
                <a:cubicBezTo>
                  <a:pt x="124685" y="1123416"/>
                  <a:pt x="59392" y="1188461"/>
                  <a:pt x="59392" y="1271238"/>
                </a:cubicBezTo>
                <a:lnTo>
                  <a:pt x="59392" y="1271238"/>
                </a:lnTo>
                <a:cubicBezTo>
                  <a:pt x="59392" y="1354016"/>
                  <a:pt x="124685" y="1419061"/>
                  <a:pt x="207777" y="1419061"/>
                </a:cubicBezTo>
                <a:lnTo>
                  <a:pt x="207777" y="1419061"/>
                </a:lnTo>
                <a:cubicBezTo>
                  <a:pt x="290869" y="1419061"/>
                  <a:pt x="356162" y="1354016"/>
                  <a:pt x="356162" y="1271238"/>
                </a:cubicBezTo>
                <a:close/>
                <a:moveTo>
                  <a:pt x="118784" y="206895"/>
                </a:moveTo>
                <a:cubicBezTo>
                  <a:pt x="118784" y="255916"/>
                  <a:pt x="158664" y="295551"/>
                  <a:pt x="207777" y="295551"/>
                </a:cubicBezTo>
                <a:cubicBezTo>
                  <a:pt x="256890" y="295551"/>
                  <a:pt x="296770" y="255822"/>
                  <a:pt x="296770" y="206895"/>
                </a:cubicBezTo>
                <a:cubicBezTo>
                  <a:pt x="296770" y="157968"/>
                  <a:pt x="256890" y="118239"/>
                  <a:pt x="207777" y="118239"/>
                </a:cubicBezTo>
                <a:cubicBezTo>
                  <a:pt x="158664" y="118239"/>
                  <a:pt x="118784" y="157968"/>
                  <a:pt x="118784" y="206895"/>
                </a:cubicBezTo>
                <a:close/>
                <a:moveTo>
                  <a:pt x="1187080" y="206895"/>
                </a:moveTo>
                <a:cubicBezTo>
                  <a:pt x="1187080" y="255916"/>
                  <a:pt x="1226960" y="295551"/>
                  <a:pt x="1276073" y="295551"/>
                </a:cubicBezTo>
                <a:cubicBezTo>
                  <a:pt x="1325186" y="295551"/>
                  <a:pt x="1365066" y="255822"/>
                  <a:pt x="1365066" y="206895"/>
                </a:cubicBezTo>
                <a:cubicBezTo>
                  <a:pt x="1365066" y="157968"/>
                  <a:pt x="1325186" y="118239"/>
                  <a:pt x="1276073" y="118239"/>
                </a:cubicBezTo>
                <a:cubicBezTo>
                  <a:pt x="1226960" y="118239"/>
                  <a:pt x="1187080" y="157968"/>
                  <a:pt x="1187080" y="206895"/>
                </a:cubicBezTo>
                <a:close/>
                <a:moveTo>
                  <a:pt x="118784" y="1271238"/>
                </a:moveTo>
                <a:cubicBezTo>
                  <a:pt x="118784" y="1320260"/>
                  <a:pt x="158664" y="1359894"/>
                  <a:pt x="207777" y="1359894"/>
                </a:cubicBezTo>
                <a:cubicBezTo>
                  <a:pt x="256890" y="1359894"/>
                  <a:pt x="296770" y="1320165"/>
                  <a:pt x="296770" y="1271238"/>
                </a:cubicBezTo>
                <a:cubicBezTo>
                  <a:pt x="296770" y="1222312"/>
                  <a:pt x="256890" y="1182583"/>
                  <a:pt x="207777" y="1182583"/>
                </a:cubicBezTo>
                <a:cubicBezTo>
                  <a:pt x="158664" y="1182583"/>
                  <a:pt x="118784" y="1222312"/>
                  <a:pt x="118784" y="1271238"/>
                </a:cubicBezTo>
                <a:close/>
              </a:path>
            </a:pathLst>
          </a:custGeom>
          <a:solidFill>
            <a:schemeClr val="bg1"/>
          </a:solidFill>
          <a:ln w="950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2031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cent_top-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848" imgH="851" progId="TCLayout.ActiveDocument.1">
                  <p:embed/>
                </p:oleObj>
              </mc:Choice>
              <mc:Fallback>
                <p:oleObj name="Слайд think-cell" r:id="rId3" imgW="848" imgH="851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>
            <a:spLocks/>
          </p:cNvSpPr>
          <p:nvPr/>
        </p:nvSpPr>
        <p:spPr>
          <a:xfrm>
            <a:off x="0" y="0"/>
            <a:ext cx="12192000" cy="17002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51664"/>
            <a:ext cx="1128990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5" name="Текст 38"/>
          <p:cNvSpPr>
            <a:spLocks noGrp="1"/>
          </p:cNvSpPr>
          <p:nvPr>
            <p:ph type="body" sz="quarter" idx="20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16" name="Текст 38"/>
          <p:cNvSpPr>
            <a:spLocks noGrp="1"/>
          </p:cNvSpPr>
          <p:nvPr>
            <p:ph type="body" sz="quarter" idx="21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7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</p:spTree>
    <p:extLst>
      <p:ext uri="{BB962C8B-B14F-4D97-AF65-F5344CB8AC3E}">
        <p14:creationId xmlns:p14="http://schemas.microsoft.com/office/powerpoint/2010/main" val="3356453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orient="horz" pos="2432">
          <p15:clr>
            <a:srgbClr val="FBAE40"/>
          </p15:clr>
        </p15:guide>
        <p15:guide id="8" pos="1840">
          <p15:clr>
            <a:srgbClr val="FBAE40"/>
          </p15:clr>
        </p15:guide>
        <p15:guide id="9" pos="2131">
          <p15:clr>
            <a:srgbClr val="FBAE40"/>
          </p15:clr>
        </p15:guide>
        <p15:guide id="10" pos="3706">
          <p15:clr>
            <a:srgbClr val="FBAE40"/>
          </p15:clr>
        </p15:guide>
        <p15:guide id="11" pos="3981">
          <p15:clr>
            <a:srgbClr val="FBAE40"/>
          </p15:clr>
        </p15:guide>
        <p15:guide id="12" pos="5555">
          <p15:clr>
            <a:srgbClr val="FBAE40"/>
          </p15:clr>
        </p15:guide>
        <p15:guide id="13" pos="582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bg>
      <p:bgPr>
        <a:solidFill>
          <a:srgbClr val="0B18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950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3" name="TextBox 272">
            <a:extLst>
              <a:ext uri="{FF2B5EF4-FFF2-40B4-BE49-F238E27FC236}">
                <a16:creationId xmlns:a16="http://schemas.microsoft.com/office/drawing/2014/main" id="{13C43E77-3C68-E4FF-DC38-0AD7C894C05B}"/>
              </a:ext>
            </a:extLst>
          </p:cNvPr>
          <p:cNvSpPr txBox="1"/>
          <p:nvPr/>
        </p:nvSpPr>
        <p:spPr bwMode="auto">
          <a:xfrm>
            <a:off x="442914" y="5193626"/>
            <a:ext cx="5758414" cy="974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lnSpc>
                <a:spcPct val="150000"/>
              </a:lnSpc>
            </a:pPr>
            <a:r>
              <a:rPr lang="ru-RU" sz="1400" b="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121099, г. Москва, ул. Композиторская, д. 17</a:t>
            </a:r>
          </a:p>
          <a:p>
            <a:pPr marL="0" indent="0" defTabSz="610845">
              <a:lnSpc>
                <a:spcPct val="150000"/>
              </a:lnSpc>
              <a:defRPr/>
            </a:pPr>
            <a:r>
              <a:rPr lang="en-US" sz="1400" b="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+7 (495) 730-77-47</a:t>
            </a:r>
            <a:endParaRPr lang="ru-RU" sz="1400" b="0" kern="1200" dirty="0">
              <a:solidFill>
                <a:schemeClr val="tx1">
                  <a:alpha val="70000"/>
                </a:schemeClr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SB Sans Text" panose="020B0503040504020204" pitchFamily="34" charset="0"/>
              <a:sym typeface="Verdana" panose="020B0604030504040204" pitchFamily="34" charset="0"/>
            </a:endParaRPr>
          </a:p>
          <a:p>
            <a:pPr marL="0" indent="0" defTabSz="610845">
              <a:lnSpc>
                <a:spcPct val="150000"/>
              </a:lnSpc>
              <a:defRPr/>
            </a:pPr>
            <a:r>
              <a:rPr lang="en-US" sz="1400" b="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inbox@strategy.ru</a:t>
            </a:r>
            <a:endParaRPr lang="ru-RU" sz="1400" b="0" kern="1200" dirty="0">
              <a:solidFill>
                <a:schemeClr val="tx1">
                  <a:alpha val="70000"/>
                </a:schemeClr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SB Sans Text" panose="020B0503040504020204" pitchFamily="34" charset="0"/>
              <a:sym typeface="Verdana" panose="020B0604030504040204" pitchFamily="34" charset="0"/>
            </a:endParaRPr>
          </a:p>
        </p:txBody>
      </p:sp>
      <p:sp>
        <p:nvSpPr>
          <p:cNvPr id="277" name="Прямоугольник 276"/>
          <p:cNvSpPr/>
          <p:nvPr/>
        </p:nvSpPr>
        <p:spPr>
          <a:xfrm>
            <a:off x="419763" y="1453121"/>
            <a:ext cx="3650213" cy="247092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lvl="0" algn="l"/>
            <a:r>
              <a:rPr lang="ru-RU" sz="1800" spc="0" dirty="0">
                <a:solidFill>
                  <a:schemeClr val="tx1"/>
                </a:solidFill>
                <a:sym typeface="Verdana" panose="020B0604030504040204" pitchFamily="34" charset="0"/>
              </a:rPr>
              <a:t>Решения,</a:t>
            </a:r>
            <a:r>
              <a:rPr lang="ru-RU" sz="1800" spc="0" baseline="0" dirty="0">
                <a:solidFill>
                  <a:schemeClr val="tx1"/>
                </a:solidFill>
                <a:sym typeface="Verdana" panose="020B0604030504040204" pitchFamily="34" charset="0"/>
              </a:rPr>
              <a:t> которые работают</a:t>
            </a:r>
            <a:endParaRPr lang="ru-RU" sz="1800" spc="0" dirty="0">
              <a:solidFill>
                <a:schemeClr val="tx1"/>
              </a:solidFill>
              <a:sym typeface="Verdana" panose="020B0604030504040204" pitchFamily="34" charset="0"/>
            </a:endParaRPr>
          </a:p>
        </p:txBody>
      </p:sp>
      <p:grpSp>
        <p:nvGrpSpPr>
          <p:cNvPr id="278" name="Группа 277"/>
          <p:cNvGrpSpPr/>
          <p:nvPr/>
        </p:nvGrpSpPr>
        <p:grpSpPr>
          <a:xfrm>
            <a:off x="442913" y="767859"/>
            <a:ext cx="3354898" cy="424488"/>
            <a:chOff x="442913" y="767859"/>
            <a:chExt cx="3354898" cy="424488"/>
          </a:xfrm>
        </p:grpSpPr>
        <p:sp>
          <p:nvSpPr>
            <p:cNvPr id="279" name="Полилиния 278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2882887" y="822599"/>
              <a:ext cx="111866" cy="260005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0" name="Полилиния 279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3492292" y="882524"/>
              <a:ext cx="126609" cy="200126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1" name="Полилиния 280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3251533" y="877008"/>
              <a:ext cx="194407" cy="211079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2" name="Полилиния 281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3638131" y="877864"/>
              <a:ext cx="159680" cy="209903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3" name="Полилиния 282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3034882" y="877053"/>
              <a:ext cx="173326" cy="205597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4" name="Полилиния 283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2235169" y="770886"/>
              <a:ext cx="247039" cy="311719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5" name="Полилиния 284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2479182" y="877008"/>
              <a:ext cx="194052" cy="211079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6" name="Полилиния 285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2727398" y="882524"/>
              <a:ext cx="126608" cy="200126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7" name="Полилиния 286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1281897" y="823387"/>
              <a:ext cx="111866" cy="260005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8" name="Полилиния 287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442913" y="767859"/>
              <a:ext cx="257534" cy="321746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9" name="Полилиния 288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746810" y="823387"/>
              <a:ext cx="111866" cy="260005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0" name="Полилиния 289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1414798" y="877830"/>
              <a:ext cx="194281" cy="211079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1" name="Полилиния 290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1034036" y="877830"/>
              <a:ext cx="193584" cy="211079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2" name="Полилиния 291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898805" y="883301"/>
              <a:ext cx="126609" cy="200126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3" name="Полилиния 292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1646581" y="877830"/>
              <a:ext cx="193698" cy="314403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4" name="Полилиния 293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1892479" y="883301"/>
              <a:ext cx="182576" cy="309046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5" name="Полилиния 294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1859157" y="883301"/>
              <a:ext cx="90591" cy="153073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443499" y="4105112"/>
            <a:ext cx="3438870" cy="580534"/>
            <a:chOff x="7840752" y="2102985"/>
            <a:chExt cx="3438870" cy="580534"/>
          </a:xfrm>
        </p:grpSpPr>
        <p:sp>
          <p:nvSpPr>
            <p:cNvPr id="32" name="Прямоугольник 31"/>
            <p:cNvSpPr>
              <a:spLocks/>
            </p:cNvSpPr>
            <p:nvPr/>
          </p:nvSpPr>
          <p:spPr>
            <a:xfrm>
              <a:off x="7840752" y="2102985"/>
              <a:ext cx="1443216" cy="395869"/>
            </a:xfrm>
            <a:prstGeom prst="rect">
              <a:avLst/>
            </a:prstGeom>
          </p:spPr>
          <p:txBody>
            <a:bodyPr wrap="none" tIns="72000">
              <a:spAutoFit/>
            </a:bodyPr>
            <a:lstStyle/>
            <a:p>
              <a:pPr algn="ctr" defTabSz="610845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n-US" sz="1800" spc="0" baseline="0" dirty="0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strategy.ru</a:t>
              </a:r>
              <a:endParaRPr lang="ru-RU" sz="1800" spc="0" baseline="0" dirty="0"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693847" y="2102985"/>
              <a:ext cx="1585775" cy="580534"/>
            </a:xfrm>
            <a:prstGeom prst="rect">
              <a:avLst/>
            </a:prstGeom>
          </p:spPr>
          <p:txBody>
            <a:bodyPr wrap="square" tIns="72000">
              <a:spAutoFit/>
            </a:bodyPr>
            <a:lstStyle/>
            <a:p>
              <a:pPr defTabSz="610845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n-US" sz="1500" dirty="0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t.me/</a:t>
              </a:r>
              <a:r>
                <a:rPr lang="en-US" sz="1500" dirty="0" err="1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strategypartners</a:t>
              </a:r>
              <a:endParaRPr lang="ru-RU" sz="1500" dirty="0"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37" name="Рисунок 4">
            <a:extLst>
              <a:ext uri="{FF2B5EF4-FFF2-40B4-BE49-F238E27FC236}">
                <a16:creationId xmlns:a16="http://schemas.microsoft.com/office/drawing/2014/main" id="{94082320-2525-B04E-C59B-FF0C15071698}"/>
              </a:ext>
            </a:extLst>
          </p:cNvPr>
          <p:cNvGrpSpPr/>
          <p:nvPr/>
        </p:nvGrpSpPr>
        <p:grpSpPr>
          <a:xfrm>
            <a:off x="2389720" y="2841898"/>
            <a:ext cx="1248411" cy="1243681"/>
            <a:chOff x="6450353" y="2684481"/>
            <a:chExt cx="1473380" cy="1467798"/>
          </a:xfrm>
          <a:solidFill>
            <a:schemeClr val="bg1"/>
          </a:solidFill>
        </p:grpSpPr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26574203-C9FF-56CB-BD05-E58149F2AFB7}"/>
                </a:ext>
              </a:extLst>
            </p:cNvPr>
            <p:cNvSpPr/>
            <p:nvPr/>
          </p:nvSpPr>
          <p:spPr>
            <a:xfrm>
              <a:off x="6852106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A24D71F8-4027-5A39-55F7-A699BF43CB5E}"/>
                </a:ext>
              </a:extLst>
            </p:cNvPr>
            <p:cNvSpPr/>
            <p:nvPr/>
          </p:nvSpPr>
          <p:spPr>
            <a:xfrm>
              <a:off x="6941480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8DCB951D-1CD9-E835-FCA1-486D5405A754}"/>
                </a:ext>
              </a:extLst>
            </p:cNvPr>
            <p:cNvSpPr/>
            <p:nvPr/>
          </p:nvSpPr>
          <p:spPr>
            <a:xfrm>
              <a:off x="720931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45DFA8A6-3340-9D3D-0913-1EA19FA4C0E2}"/>
                </a:ext>
              </a:extLst>
            </p:cNvPr>
            <p:cNvSpPr/>
            <p:nvPr/>
          </p:nvSpPr>
          <p:spPr>
            <a:xfrm>
              <a:off x="725395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B0939566-AB1C-DC69-898D-3FD5A715A56C}"/>
                </a:ext>
              </a:extLst>
            </p:cNvPr>
            <p:cNvSpPr/>
            <p:nvPr/>
          </p:nvSpPr>
          <p:spPr>
            <a:xfrm>
              <a:off x="7298594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AFDC0A9B-E544-484B-E16E-1B9EBC827860}"/>
                </a:ext>
              </a:extLst>
            </p:cNvPr>
            <p:cNvSpPr/>
            <p:nvPr/>
          </p:nvSpPr>
          <p:spPr>
            <a:xfrm>
              <a:off x="738787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54462312-B083-431E-5531-3F09386D2B4D}"/>
                </a:ext>
              </a:extLst>
            </p:cNvPr>
            <p:cNvSpPr/>
            <p:nvPr/>
          </p:nvSpPr>
          <p:spPr>
            <a:xfrm>
              <a:off x="743251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BFCC57CD-4211-AB20-A66D-3865E654A0B2}"/>
                </a:ext>
              </a:extLst>
            </p:cNvPr>
            <p:cNvSpPr/>
            <p:nvPr/>
          </p:nvSpPr>
          <p:spPr>
            <a:xfrm>
              <a:off x="752188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9E2AC277-DE9E-E328-33A1-5E4739B1E0C6}"/>
                </a:ext>
              </a:extLst>
            </p:cNvPr>
            <p:cNvSpPr/>
            <p:nvPr/>
          </p:nvSpPr>
          <p:spPr>
            <a:xfrm>
              <a:off x="680746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13D4CB15-F2E3-3500-2B98-B4C6DA0BB557}"/>
                </a:ext>
              </a:extLst>
            </p:cNvPr>
            <p:cNvSpPr/>
            <p:nvPr/>
          </p:nvSpPr>
          <p:spPr>
            <a:xfrm>
              <a:off x="6986119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CD618E06-45DA-E5AE-12E4-3BF006655DAB}"/>
                </a:ext>
              </a:extLst>
            </p:cNvPr>
            <p:cNvSpPr/>
            <p:nvPr/>
          </p:nvSpPr>
          <p:spPr>
            <a:xfrm>
              <a:off x="712003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FDD141A2-5F70-6E73-AAE0-D7AE720DACEC}"/>
                </a:ext>
              </a:extLst>
            </p:cNvPr>
            <p:cNvSpPr/>
            <p:nvPr/>
          </p:nvSpPr>
          <p:spPr>
            <a:xfrm>
              <a:off x="720931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7FF78871-7679-EA3B-4C37-F8FB0CB7F74C}"/>
                </a:ext>
              </a:extLst>
            </p:cNvPr>
            <p:cNvSpPr/>
            <p:nvPr/>
          </p:nvSpPr>
          <p:spPr>
            <a:xfrm>
              <a:off x="725395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89544812-BDE0-EF1B-AFA2-56B5DE5069FB}"/>
                </a:ext>
              </a:extLst>
            </p:cNvPr>
            <p:cNvSpPr/>
            <p:nvPr/>
          </p:nvSpPr>
          <p:spPr>
            <a:xfrm>
              <a:off x="7298594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043617E0-5897-290C-5684-42666AB367DF}"/>
                </a:ext>
              </a:extLst>
            </p:cNvPr>
            <p:cNvSpPr/>
            <p:nvPr/>
          </p:nvSpPr>
          <p:spPr>
            <a:xfrm>
              <a:off x="7432512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3B0771E8-3887-9710-981A-01C72364DAEB}"/>
                </a:ext>
              </a:extLst>
            </p:cNvPr>
            <p:cNvSpPr/>
            <p:nvPr/>
          </p:nvSpPr>
          <p:spPr>
            <a:xfrm>
              <a:off x="680746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08139889-98BB-E336-01DA-4F85AF887AFF}"/>
                </a:ext>
              </a:extLst>
            </p:cNvPr>
            <p:cNvSpPr/>
            <p:nvPr/>
          </p:nvSpPr>
          <p:spPr>
            <a:xfrm>
              <a:off x="703075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B3DF69F5-AE01-7319-629F-6A17D1FEA8EB}"/>
                </a:ext>
              </a:extLst>
            </p:cNvPr>
            <p:cNvSpPr/>
            <p:nvPr/>
          </p:nvSpPr>
          <p:spPr>
            <a:xfrm>
              <a:off x="707539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57F32FC1-C8C1-C479-A6EE-FF10C94105EC}"/>
                </a:ext>
              </a:extLst>
            </p:cNvPr>
            <p:cNvSpPr/>
            <p:nvPr/>
          </p:nvSpPr>
          <p:spPr>
            <a:xfrm>
              <a:off x="712003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4A50B605-D0F8-BA8D-FEE0-F999843EF2AF}"/>
                </a:ext>
              </a:extLst>
            </p:cNvPr>
            <p:cNvSpPr/>
            <p:nvPr/>
          </p:nvSpPr>
          <p:spPr>
            <a:xfrm>
              <a:off x="720931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 57">
              <a:extLst>
                <a:ext uri="{FF2B5EF4-FFF2-40B4-BE49-F238E27FC236}">
                  <a16:creationId xmlns:a16="http://schemas.microsoft.com/office/drawing/2014/main" id="{12EEBEB4-FCF2-F580-73C4-40EF76EF17CE}"/>
                </a:ext>
              </a:extLst>
            </p:cNvPr>
            <p:cNvSpPr/>
            <p:nvPr/>
          </p:nvSpPr>
          <p:spPr>
            <a:xfrm>
              <a:off x="725395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 58">
              <a:extLst>
                <a:ext uri="{FF2B5EF4-FFF2-40B4-BE49-F238E27FC236}">
                  <a16:creationId xmlns:a16="http://schemas.microsoft.com/office/drawing/2014/main" id="{D2960D56-2087-2605-4994-3F2AFE199C36}"/>
                </a:ext>
              </a:extLst>
            </p:cNvPr>
            <p:cNvSpPr/>
            <p:nvPr/>
          </p:nvSpPr>
          <p:spPr>
            <a:xfrm>
              <a:off x="7298594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 59">
              <a:extLst>
                <a:ext uri="{FF2B5EF4-FFF2-40B4-BE49-F238E27FC236}">
                  <a16:creationId xmlns:a16="http://schemas.microsoft.com/office/drawing/2014/main" id="{439FB4E0-FEB3-6B91-1133-CDB50749328E}"/>
                </a:ext>
              </a:extLst>
            </p:cNvPr>
            <p:cNvSpPr/>
            <p:nvPr/>
          </p:nvSpPr>
          <p:spPr>
            <a:xfrm>
              <a:off x="7343233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Полилиния 60">
              <a:extLst>
                <a:ext uri="{FF2B5EF4-FFF2-40B4-BE49-F238E27FC236}">
                  <a16:creationId xmlns:a16="http://schemas.microsoft.com/office/drawing/2014/main" id="{FF0B7FAA-9A11-AEF9-80FA-36A0923C7953}"/>
                </a:ext>
              </a:extLst>
            </p:cNvPr>
            <p:cNvSpPr/>
            <p:nvPr/>
          </p:nvSpPr>
          <p:spPr>
            <a:xfrm>
              <a:off x="738787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 61">
              <a:extLst>
                <a:ext uri="{FF2B5EF4-FFF2-40B4-BE49-F238E27FC236}">
                  <a16:creationId xmlns:a16="http://schemas.microsoft.com/office/drawing/2014/main" id="{9397A71B-BD8B-8C1E-2CDC-765A7EDB0256}"/>
                </a:ext>
              </a:extLst>
            </p:cNvPr>
            <p:cNvSpPr/>
            <p:nvPr/>
          </p:nvSpPr>
          <p:spPr>
            <a:xfrm>
              <a:off x="743251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 62">
              <a:extLst>
                <a:ext uri="{FF2B5EF4-FFF2-40B4-BE49-F238E27FC236}">
                  <a16:creationId xmlns:a16="http://schemas.microsoft.com/office/drawing/2014/main" id="{D58D2E34-7BBA-AE37-6E52-2B8F274074A7}"/>
                </a:ext>
              </a:extLst>
            </p:cNvPr>
            <p:cNvSpPr/>
            <p:nvPr/>
          </p:nvSpPr>
          <p:spPr>
            <a:xfrm>
              <a:off x="752188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 63">
              <a:extLst>
                <a:ext uri="{FF2B5EF4-FFF2-40B4-BE49-F238E27FC236}">
                  <a16:creationId xmlns:a16="http://schemas.microsoft.com/office/drawing/2014/main" id="{4E8C5E1C-7CA5-A040-AC11-7D9473213E77}"/>
                </a:ext>
              </a:extLst>
            </p:cNvPr>
            <p:cNvSpPr/>
            <p:nvPr/>
          </p:nvSpPr>
          <p:spPr>
            <a:xfrm>
              <a:off x="6807467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" name="Полилиния 64">
              <a:extLst>
                <a:ext uri="{FF2B5EF4-FFF2-40B4-BE49-F238E27FC236}">
                  <a16:creationId xmlns:a16="http://schemas.microsoft.com/office/drawing/2014/main" id="{49156D91-5FCB-E601-5552-6B15DAEA94AD}"/>
                </a:ext>
              </a:extLst>
            </p:cNvPr>
            <p:cNvSpPr/>
            <p:nvPr/>
          </p:nvSpPr>
          <p:spPr>
            <a:xfrm>
              <a:off x="689684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" name="Полилиния 65">
              <a:extLst>
                <a:ext uri="{FF2B5EF4-FFF2-40B4-BE49-F238E27FC236}">
                  <a16:creationId xmlns:a16="http://schemas.microsoft.com/office/drawing/2014/main" id="{F73A94B4-B222-3A5C-102A-2E368D4BBF55}"/>
                </a:ext>
              </a:extLst>
            </p:cNvPr>
            <p:cNvSpPr/>
            <p:nvPr/>
          </p:nvSpPr>
          <p:spPr>
            <a:xfrm>
              <a:off x="6986119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" name="Полилиния 66">
              <a:extLst>
                <a:ext uri="{FF2B5EF4-FFF2-40B4-BE49-F238E27FC236}">
                  <a16:creationId xmlns:a16="http://schemas.microsoft.com/office/drawing/2014/main" id="{343DD0CB-72E6-4563-AD20-CFC0E37F933A}"/>
                </a:ext>
              </a:extLst>
            </p:cNvPr>
            <p:cNvSpPr/>
            <p:nvPr/>
          </p:nvSpPr>
          <p:spPr>
            <a:xfrm>
              <a:off x="703075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" name="Полилиния 67">
              <a:extLst>
                <a:ext uri="{FF2B5EF4-FFF2-40B4-BE49-F238E27FC236}">
                  <a16:creationId xmlns:a16="http://schemas.microsoft.com/office/drawing/2014/main" id="{5BFA067A-3F9C-DF66-9DD0-C39740F49EC5}"/>
                </a:ext>
              </a:extLst>
            </p:cNvPr>
            <p:cNvSpPr/>
            <p:nvPr/>
          </p:nvSpPr>
          <p:spPr>
            <a:xfrm>
              <a:off x="707539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" name="Полилиния 68">
              <a:extLst>
                <a:ext uri="{FF2B5EF4-FFF2-40B4-BE49-F238E27FC236}">
                  <a16:creationId xmlns:a16="http://schemas.microsoft.com/office/drawing/2014/main" id="{900F1D90-0A05-5AC8-EC7F-3AAAB532877B}"/>
                </a:ext>
              </a:extLst>
            </p:cNvPr>
            <p:cNvSpPr/>
            <p:nvPr/>
          </p:nvSpPr>
          <p:spPr>
            <a:xfrm>
              <a:off x="7164676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 69">
              <a:extLst>
                <a:ext uri="{FF2B5EF4-FFF2-40B4-BE49-F238E27FC236}">
                  <a16:creationId xmlns:a16="http://schemas.microsoft.com/office/drawing/2014/main" id="{F4018580-6F9A-9282-0961-FD05523841E3}"/>
                </a:ext>
              </a:extLst>
            </p:cNvPr>
            <p:cNvSpPr/>
            <p:nvPr/>
          </p:nvSpPr>
          <p:spPr>
            <a:xfrm>
              <a:off x="720931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F8A929BC-8BBB-683B-7213-AA48184F5DDE}"/>
                </a:ext>
              </a:extLst>
            </p:cNvPr>
            <p:cNvSpPr/>
            <p:nvPr/>
          </p:nvSpPr>
          <p:spPr>
            <a:xfrm>
              <a:off x="725395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23E492E5-8828-CF44-91CD-32CEE2B80ED3}"/>
                </a:ext>
              </a:extLst>
            </p:cNvPr>
            <p:cNvSpPr/>
            <p:nvPr/>
          </p:nvSpPr>
          <p:spPr>
            <a:xfrm>
              <a:off x="7298594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89B43AF3-3CCA-FFA6-06BF-A8C57D235C6B}"/>
                </a:ext>
              </a:extLst>
            </p:cNvPr>
            <p:cNvSpPr/>
            <p:nvPr/>
          </p:nvSpPr>
          <p:spPr>
            <a:xfrm>
              <a:off x="738787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48570E47-8F8F-82AD-0690-1C5F725D3127}"/>
                </a:ext>
              </a:extLst>
            </p:cNvPr>
            <p:cNvSpPr/>
            <p:nvPr/>
          </p:nvSpPr>
          <p:spPr>
            <a:xfrm>
              <a:off x="743251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30362F07-BABC-F9B6-3B05-D102D5CCFD8F}"/>
                </a:ext>
              </a:extLst>
            </p:cNvPr>
            <p:cNvSpPr/>
            <p:nvPr/>
          </p:nvSpPr>
          <p:spPr>
            <a:xfrm>
              <a:off x="747715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39E7C827-7D01-0129-F198-6A108365296E}"/>
                </a:ext>
              </a:extLst>
            </p:cNvPr>
            <p:cNvSpPr/>
            <p:nvPr/>
          </p:nvSpPr>
          <p:spPr>
            <a:xfrm>
              <a:off x="680746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6D7E14D3-449F-40E8-C861-EC2831D8046B}"/>
                </a:ext>
              </a:extLst>
            </p:cNvPr>
            <p:cNvSpPr/>
            <p:nvPr/>
          </p:nvSpPr>
          <p:spPr>
            <a:xfrm>
              <a:off x="6852106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107E61F-6D09-9C35-F812-257C24E39FA7}"/>
                </a:ext>
              </a:extLst>
            </p:cNvPr>
            <p:cNvSpPr/>
            <p:nvPr/>
          </p:nvSpPr>
          <p:spPr>
            <a:xfrm>
              <a:off x="689684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C77735BA-988C-D444-DA7C-5116C93D4E54}"/>
                </a:ext>
              </a:extLst>
            </p:cNvPr>
            <p:cNvSpPr/>
            <p:nvPr/>
          </p:nvSpPr>
          <p:spPr>
            <a:xfrm>
              <a:off x="7030758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904F7A52-69E1-7222-132C-BF255B891B3D}"/>
                </a:ext>
              </a:extLst>
            </p:cNvPr>
            <p:cNvSpPr/>
            <p:nvPr/>
          </p:nvSpPr>
          <p:spPr>
            <a:xfrm>
              <a:off x="712003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80A7EB9A-512F-C4F4-C437-99CB238A8340}"/>
                </a:ext>
              </a:extLst>
            </p:cNvPr>
            <p:cNvSpPr/>
            <p:nvPr/>
          </p:nvSpPr>
          <p:spPr>
            <a:xfrm>
              <a:off x="720931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72C492C5-5A1F-63D1-6453-800AEACC690C}"/>
                </a:ext>
              </a:extLst>
            </p:cNvPr>
            <p:cNvSpPr/>
            <p:nvPr/>
          </p:nvSpPr>
          <p:spPr>
            <a:xfrm>
              <a:off x="725395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07DF7846-D1A3-BE76-A43A-81AA108E332B}"/>
                </a:ext>
              </a:extLst>
            </p:cNvPr>
            <p:cNvSpPr/>
            <p:nvPr/>
          </p:nvSpPr>
          <p:spPr>
            <a:xfrm>
              <a:off x="7387872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E782FFEB-14BC-03D7-E2EB-7387666481BA}"/>
                </a:ext>
              </a:extLst>
            </p:cNvPr>
            <p:cNvSpPr/>
            <p:nvPr/>
          </p:nvSpPr>
          <p:spPr>
            <a:xfrm>
              <a:off x="747715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6201762F-DDE4-04BC-FB83-5BBA33D00210}"/>
                </a:ext>
              </a:extLst>
            </p:cNvPr>
            <p:cNvSpPr/>
            <p:nvPr/>
          </p:nvSpPr>
          <p:spPr>
            <a:xfrm>
              <a:off x="680746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40B280E3-D6AC-E5E1-F97C-8A3296DCB85A}"/>
                </a:ext>
              </a:extLst>
            </p:cNvPr>
            <p:cNvSpPr/>
            <p:nvPr/>
          </p:nvSpPr>
          <p:spPr>
            <a:xfrm>
              <a:off x="689684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1C5593EB-1260-61B3-70BA-122160EBA894}"/>
                </a:ext>
              </a:extLst>
            </p:cNvPr>
            <p:cNvSpPr/>
            <p:nvPr/>
          </p:nvSpPr>
          <p:spPr>
            <a:xfrm>
              <a:off x="6941480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29395AC3-D72F-2E2A-3950-F9791DCF5750}"/>
                </a:ext>
              </a:extLst>
            </p:cNvPr>
            <p:cNvSpPr/>
            <p:nvPr/>
          </p:nvSpPr>
          <p:spPr>
            <a:xfrm>
              <a:off x="7075398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A9552098-6A7D-AAF4-FADE-5A359FDD77A6}"/>
                </a:ext>
              </a:extLst>
            </p:cNvPr>
            <p:cNvSpPr/>
            <p:nvPr/>
          </p:nvSpPr>
          <p:spPr>
            <a:xfrm>
              <a:off x="712003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FF0DA03E-4A16-08F1-61AE-4A9C343C37AF}"/>
                </a:ext>
              </a:extLst>
            </p:cNvPr>
            <p:cNvSpPr/>
            <p:nvPr/>
          </p:nvSpPr>
          <p:spPr>
            <a:xfrm>
              <a:off x="7164676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71A28393-CB8B-7BD2-3A45-E9823927332A}"/>
                </a:ext>
              </a:extLst>
            </p:cNvPr>
            <p:cNvSpPr/>
            <p:nvPr/>
          </p:nvSpPr>
          <p:spPr>
            <a:xfrm>
              <a:off x="7387872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7CD4909D-9AB0-964A-45E7-796DAF100769}"/>
                </a:ext>
              </a:extLst>
            </p:cNvPr>
            <p:cNvSpPr/>
            <p:nvPr/>
          </p:nvSpPr>
          <p:spPr>
            <a:xfrm>
              <a:off x="747715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485EFE18-1551-191B-03C5-14E6804D7180}"/>
                </a:ext>
              </a:extLst>
            </p:cNvPr>
            <p:cNvSpPr/>
            <p:nvPr/>
          </p:nvSpPr>
          <p:spPr>
            <a:xfrm>
              <a:off x="6807467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D2563A29-2FA5-B5B5-DCF7-FC45811983A2}"/>
                </a:ext>
              </a:extLst>
            </p:cNvPr>
            <p:cNvSpPr/>
            <p:nvPr/>
          </p:nvSpPr>
          <p:spPr>
            <a:xfrm>
              <a:off x="6896841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DD045CDE-24ED-979E-3546-F829E3714699}"/>
                </a:ext>
              </a:extLst>
            </p:cNvPr>
            <p:cNvSpPr/>
            <p:nvPr/>
          </p:nvSpPr>
          <p:spPr>
            <a:xfrm>
              <a:off x="6986119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685DEA47-FE37-B28A-0A31-57A7F7838021}"/>
                </a:ext>
              </a:extLst>
            </p:cNvPr>
            <p:cNvSpPr/>
            <p:nvPr/>
          </p:nvSpPr>
          <p:spPr>
            <a:xfrm>
              <a:off x="7075398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6CD824FA-B189-E68A-9F0C-5BD300678241}"/>
                </a:ext>
              </a:extLst>
            </p:cNvPr>
            <p:cNvSpPr/>
            <p:nvPr/>
          </p:nvSpPr>
          <p:spPr>
            <a:xfrm>
              <a:off x="7164676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A26A4093-61F3-7329-C236-2F5846E29D41}"/>
                </a:ext>
              </a:extLst>
            </p:cNvPr>
            <p:cNvSpPr/>
            <p:nvPr/>
          </p:nvSpPr>
          <p:spPr>
            <a:xfrm>
              <a:off x="725395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F13A0D70-7F42-6303-A5A7-DA70899354C2}"/>
                </a:ext>
              </a:extLst>
            </p:cNvPr>
            <p:cNvSpPr/>
            <p:nvPr/>
          </p:nvSpPr>
          <p:spPr>
            <a:xfrm>
              <a:off x="7343233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DAD0D5B3-C9E3-85B2-90D8-EE8A9B1E299F}"/>
                </a:ext>
              </a:extLst>
            </p:cNvPr>
            <p:cNvSpPr/>
            <p:nvPr/>
          </p:nvSpPr>
          <p:spPr>
            <a:xfrm>
              <a:off x="7432512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7527CFBA-F981-212B-8DF9-CA7C246C99DB}"/>
                </a:ext>
              </a:extLst>
            </p:cNvPr>
            <p:cNvSpPr/>
            <p:nvPr/>
          </p:nvSpPr>
          <p:spPr>
            <a:xfrm>
              <a:off x="752188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C633C890-FEA5-71AB-AE2C-7A1BFE914570}"/>
                </a:ext>
              </a:extLst>
            </p:cNvPr>
            <p:cNvSpPr/>
            <p:nvPr/>
          </p:nvSpPr>
          <p:spPr>
            <a:xfrm>
              <a:off x="685210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64F3635B-954C-B790-151B-515798854197}"/>
                </a:ext>
              </a:extLst>
            </p:cNvPr>
            <p:cNvSpPr/>
            <p:nvPr/>
          </p:nvSpPr>
          <p:spPr>
            <a:xfrm>
              <a:off x="689684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Полилиния 103">
              <a:extLst>
                <a:ext uri="{FF2B5EF4-FFF2-40B4-BE49-F238E27FC236}">
                  <a16:creationId xmlns:a16="http://schemas.microsoft.com/office/drawing/2014/main" id="{4688EFC3-7CB0-490F-7EC3-7C26CDC8638B}"/>
                </a:ext>
              </a:extLst>
            </p:cNvPr>
            <p:cNvSpPr/>
            <p:nvPr/>
          </p:nvSpPr>
          <p:spPr>
            <a:xfrm>
              <a:off x="7030758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" name="Полилиния 104">
              <a:extLst>
                <a:ext uri="{FF2B5EF4-FFF2-40B4-BE49-F238E27FC236}">
                  <a16:creationId xmlns:a16="http://schemas.microsoft.com/office/drawing/2014/main" id="{0AE26F97-98D8-98CB-8FC9-332DDB825491}"/>
                </a:ext>
              </a:extLst>
            </p:cNvPr>
            <p:cNvSpPr/>
            <p:nvPr/>
          </p:nvSpPr>
          <p:spPr>
            <a:xfrm>
              <a:off x="716467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" name="Полилиния 105">
              <a:extLst>
                <a:ext uri="{FF2B5EF4-FFF2-40B4-BE49-F238E27FC236}">
                  <a16:creationId xmlns:a16="http://schemas.microsoft.com/office/drawing/2014/main" id="{FD401CD6-8BEF-0D3D-90B8-1DE72EAE81F2}"/>
                </a:ext>
              </a:extLst>
            </p:cNvPr>
            <p:cNvSpPr/>
            <p:nvPr/>
          </p:nvSpPr>
          <p:spPr>
            <a:xfrm>
              <a:off x="747715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" name="Полилиния 106">
              <a:extLst>
                <a:ext uri="{FF2B5EF4-FFF2-40B4-BE49-F238E27FC236}">
                  <a16:creationId xmlns:a16="http://schemas.microsoft.com/office/drawing/2014/main" id="{E965B668-DAC7-7FEF-EF26-71632A11900F}"/>
                </a:ext>
              </a:extLst>
            </p:cNvPr>
            <p:cNvSpPr/>
            <p:nvPr/>
          </p:nvSpPr>
          <p:spPr>
            <a:xfrm>
              <a:off x="7521885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" name="Полилиния 107">
              <a:extLst>
                <a:ext uri="{FF2B5EF4-FFF2-40B4-BE49-F238E27FC236}">
                  <a16:creationId xmlns:a16="http://schemas.microsoft.com/office/drawing/2014/main" id="{176661F1-D8EB-FA6D-4DF5-6F491C89B86D}"/>
                </a:ext>
              </a:extLst>
            </p:cNvPr>
            <p:cNvSpPr/>
            <p:nvPr/>
          </p:nvSpPr>
          <p:spPr>
            <a:xfrm>
              <a:off x="653963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" name="Полилиния 108">
              <a:extLst>
                <a:ext uri="{FF2B5EF4-FFF2-40B4-BE49-F238E27FC236}">
                  <a16:creationId xmlns:a16="http://schemas.microsoft.com/office/drawing/2014/main" id="{652D957F-FAC9-7FFC-B03A-98B3383FA630}"/>
                </a:ext>
              </a:extLst>
            </p:cNvPr>
            <p:cNvSpPr/>
            <p:nvPr/>
          </p:nvSpPr>
          <p:spPr>
            <a:xfrm>
              <a:off x="667354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" name="Полилиния 109">
              <a:extLst>
                <a:ext uri="{FF2B5EF4-FFF2-40B4-BE49-F238E27FC236}">
                  <a16:creationId xmlns:a16="http://schemas.microsoft.com/office/drawing/2014/main" id="{5DC9D1A1-D776-66AC-D57B-302B297FAD1E}"/>
                </a:ext>
              </a:extLst>
            </p:cNvPr>
            <p:cNvSpPr/>
            <p:nvPr/>
          </p:nvSpPr>
          <p:spPr>
            <a:xfrm>
              <a:off x="671818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" name="Полилиния 110">
              <a:extLst>
                <a:ext uri="{FF2B5EF4-FFF2-40B4-BE49-F238E27FC236}">
                  <a16:creationId xmlns:a16="http://schemas.microsoft.com/office/drawing/2014/main" id="{E8BFA029-8542-BBB5-5090-02FF7963C522}"/>
                </a:ext>
              </a:extLst>
            </p:cNvPr>
            <p:cNvSpPr/>
            <p:nvPr/>
          </p:nvSpPr>
          <p:spPr>
            <a:xfrm>
              <a:off x="676282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" name="Полилиния 111">
              <a:extLst>
                <a:ext uri="{FF2B5EF4-FFF2-40B4-BE49-F238E27FC236}">
                  <a16:creationId xmlns:a16="http://schemas.microsoft.com/office/drawing/2014/main" id="{AB4AA159-6533-D322-C8CC-FC1F91B1EA44}"/>
                </a:ext>
              </a:extLst>
            </p:cNvPr>
            <p:cNvSpPr/>
            <p:nvPr/>
          </p:nvSpPr>
          <p:spPr>
            <a:xfrm>
              <a:off x="680746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" name="Полилиния 112">
              <a:extLst>
                <a:ext uri="{FF2B5EF4-FFF2-40B4-BE49-F238E27FC236}">
                  <a16:creationId xmlns:a16="http://schemas.microsoft.com/office/drawing/2014/main" id="{05BF4988-5D0C-6AF9-3AB1-9B74F64004B4}"/>
                </a:ext>
              </a:extLst>
            </p:cNvPr>
            <p:cNvSpPr/>
            <p:nvPr/>
          </p:nvSpPr>
          <p:spPr>
            <a:xfrm>
              <a:off x="689684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" name="Полилиния 113">
              <a:extLst>
                <a:ext uri="{FF2B5EF4-FFF2-40B4-BE49-F238E27FC236}">
                  <a16:creationId xmlns:a16="http://schemas.microsoft.com/office/drawing/2014/main" id="{754645E9-A58F-6E9A-1051-13322880A14A}"/>
                </a:ext>
              </a:extLst>
            </p:cNvPr>
            <p:cNvSpPr/>
            <p:nvPr/>
          </p:nvSpPr>
          <p:spPr>
            <a:xfrm>
              <a:off x="703075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" name="Полилиния 114">
              <a:extLst>
                <a:ext uri="{FF2B5EF4-FFF2-40B4-BE49-F238E27FC236}">
                  <a16:creationId xmlns:a16="http://schemas.microsoft.com/office/drawing/2014/main" id="{44AE3059-5919-62C4-144A-7201255FAA9B}"/>
                </a:ext>
              </a:extLst>
            </p:cNvPr>
            <p:cNvSpPr/>
            <p:nvPr/>
          </p:nvSpPr>
          <p:spPr>
            <a:xfrm>
              <a:off x="712003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" name="Полилиния 115">
              <a:extLst>
                <a:ext uri="{FF2B5EF4-FFF2-40B4-BE49-F238E27FC236}">
                  <a16:creationId xmlns:a16="http://schemas.microsoft.com/office/drawing/2014/main" id="{1BF1589F-676A-A714-78F6-3F22435DED82}"/>
                </a:ext>
              </a:extLst>
            </p:cNvPr>
            <p:cNvSpPr/>
            <p:nvPr/>
          </p:nvSpPr>
          <p:spPr>
            <a:xfrm>
              <a:off x="7164676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 116">
              <a:extLst>
                <a:ext uri="{FF2B5EF4-FFF2-40B4-BE49-F238E27FC236}">
                  <a16:creationId xmlns:a16="http://schemas.microsoft.com/office/drawing/2014/main" id="{E5D3A95E-D8CE-8B40-D5DA-CF1589EB2181}"/>
                </a:ext>
              </a:extLst>
            </p:cNvPr>
            <p:cNvSpPr/>
            <p:nvPr/>
          </p:nvSpPr>
          <p:spPr>
            <a:xfrm>
              <a:off x="720931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" name="Полилиния 117">
              <a:extLst>
                <a:ext uri="{FF2B5EF4-FFF2-40B4-BE49-F238E27FC236}">
                  <a16:creationId xmlns:a16="http://schemas.microsoft.com/office/drawing/2014/main" id="{20328D4E-9196-FC3D-94E9-7903317E2963}"/>
                </a:ext>
              </a:extLst>
            </p:cNvPr>
            <p:cNvSpPr/>
            <p:nvPr/>
          </p:nvSpPr>
          <p:spPr>
            <a:xfrm>
              <a:off x="725395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" name="Полилиния 118">
              <a:extLst>
                <a:ext uri="{FF2B5EF4-FFF2-40B4-BE49-F238E27FC236}">
                  <a16:creationId xmlns:a16="http://schemas.microsoft.com/office/drawing/2014/main" id="{05861AE1-98B2-D6DB-C1C4-26D298503A8A}"/>
                </a:ext>
              </a:extLst>
            </p:cNvPr>
            <p:cNvSpPr/>
            <p:nvPr/>
          </p:nvSpPr>
          <p:spPr>
            <a:xfrm>
              <a:off x="734323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" name="Полилиния 119">
              <a:extLst>
                <a:ext uri="{FF2B5EF4-FFF2-40B4-BE49-F238E27FC236}">
                  <a16:creationId xmlns:a16="http://schemas.microsoft.com/office/drawing/2014/main" id="{393C4112-AC62-934D-E668-AA1B5A4F3CCA}"/>
                </a:ext>
              </a:extLst>
            </p:cNvPr>
            <p:cNvSpPr/>
            <p:nvPr/>
          </p:nvSpPr>
          <p:spPr>
            <a:xfrm>
              <a:off x="7566524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" name="Полилиния 120">
              <a:extLst>
                <a:ext uri="{FF2B5EF4-FFF2-40B4-BE49-F238E27FC236}">
                  <a16:creationId xmlns:a16="http://schemas.microsoft.com/office/drawing/2014/main" id="{73A096AB-7010-FC80-ADB4-BB7ED2AD92C6}"/>
                </a:ext>
              </a:extLst>
            </p:cNvPr>
            <p:cNvSpPr/>
            <p:nvPr/>
          </p:nvSpPr>
          <p:spPr>
            <a:xfrm>
              <a:off x="765580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" name="Полилиния 121">
              <a:extLst>
                <a:ext uri="{FF2B5EF4-FFF2-40B4-BE49-F238E27FC236}">
                  <a16:creationId xmlns:a16="http://schemas.microsoft.com/office/drawing/2014/main" id="{3A785189-D0FB-B548-7393-F3D443FBECBB}"/>
                </a:ext>
              </a:extLst>
            </p:cNvPr>
            <p:cNvSpPr/>
            <p:nvPr/>
          </p:nvSpPr>
          <p:spPr>
            <a:xfrm>
              <a:off x="7700442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" name="Полилиния 122">
              <a:extLst>
                <a:ext uri="{FF2B5EF4-FFF2-40B4-BE49-F238E27FC236}">
                  <a16:creationId xmlns:a16="http://schemas.microsoft.com/office/drawing/2014/main" id="{8825FBE5-F988-15A5-9A99-291F74B3AA83}"/>
                </a:ext>
              </a:extLst>
            </p:cNvPr>
            <p:cNvSpPr/>
            <p:nvPr/>
          </p:nvSpPr>
          <p:spPr>
            <a:xfrm>
              <a:off x="774508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" name="Полилиния 123">
              <a:extLst>
                <a:ext uri="{FF2B5EF4-FFF2-40B4-BE49-F238E27FC236}">
                  <a16:creationId xmlns:a16="http://schemas.microsoft.com/office/drawing/2014/main" id="{A5FD7387-E0CC-4520-831A-B9A350370A5F}"/>
                </a:ext>
              </a:extLst>
            </p:cNvPr>
            <p:cNvSpPr/>
            <p:nvPr/>
          </p:nvSpPr>
          <p:spPr>
            <a:xfrm>
              <a:off x="778972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" name="Полилиния 124">
              <a:extLst>
                <a:ext uri="{FF2B5EF4-FFF2-40B4-BE49-F238E27FC236}">
                  <a16:creationId xmlns:a16="http://schemas.microsoft.com/office/drawing/2014/main" id="{E32EFB0C-E777-DCD7-1910-5BBEEEF748DC}"/>
                </a:ext>
              </a:extLst>
            </p:cNvPr>
            <p:cNvSpPr/>
            <p:nvPr/>
          </p:nvSpPr>
          <p:spPr>
            <a:xfrm>
              <a:off x="7834360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" name="Полилиния 125">
              <a:extLst>
                <a:ext uri="{FF2B5EF4-FFF2-40B4-BE49-F238E27FC236}">
                  <a16:creationId xmlns:a16="http://schemas.microsoft.com/office/drawing/2014/main" id="{A37C3103-445F-76E7-C110-DE718BA7886B}"/>
                </a:ext>
              </a:extLst>
            </p:cNvPr>
            <p:cNvSpPr/>
            <p:nvPr/>
          </p:nvSpPr>
          <p:spPr>
            <a:xfrm>
              <a:off x="649499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" name="Полилиния 126">
              <a:extLst>
                <a:ext uri="{FF2B5EF4-FFF2-40B4-BE49-F238E27FC236}">
                  <a16:creationId xmlns:a16="http://schemas.microsoft.com/office/drawing/2014/main" id="{E91CDF4B-5DF0-FA59-05CA-4CA9E998E1F1}"/>
                </a:ext>
              </a:extLst>
            </p:cNvPr>
            <p:cNvSpPr/>
            <p:nvPr/>
          </p:nvSpPr>
          <p:spPr>
            <a:xfrm>
              <a:off x="653963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" name="Полилиния 127">
              <a:extLst>
                <a:ext uri="{FF2B5EF4-FFF2-40B4-BE49-F238E27FC236}">
                  <a16:creationId xmlns:a16="http://schemas.microsoft.com/office/drawing/2014/main" id="{96AC3E34-BE5F-DBB9-202B-A09BE2AC5C01}"/>
                </a:ext>
              </a:extLst>
            </p:cNvPr>
            <p:cNvSpPr/>
            <p:nvPr/>
          </p:nvSpPr>
          <p:spPr>
            <a:xfrm>
              <a:off x="667354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" name="Полилиния 128">
              <a:extLst>
                <a:ext uri="{FF2B5EF4-FFF2-40B4-BE49-F238E27FC236}">
                  <a16:creationId xmlns:a16="http://schemas.microsoft.com/office/drawing/2014/main" id="{253BCCA3-44D5-A068-3D46-CB5803C037D7}"/>
                </a:ext>
              </a:extLst>
            </p:cNvPr>
            <p:cNvSpPr/>
            <p:nvPr/>
          </p:nvSpPr>
          <p:spPr>
            <a:xfrm>
              <a:off x="6852106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" name="Полилиния 129">
              <a:extLst>
                <a:ext uri="{FF2B5EF4-FFF2-40B4-BE49-F238E27FC236}">
                  <a16:creationId xmlns:a16="http://schemas.microsoft.com/office/drawing/2014/main" id="{10DCEF63-1601-EE77-F159-2CE408E2806F}"/>
                </a:ext>
              </a:extLst>
            </p:cNvPr>
            <p:cNvSpPr/>
            <p:nvPr/>
          </p:nvSpPr>
          <p:spPr>
            <a:xfrm>
              <a:off x="6941480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" name="Полилиния 130">
              <a:extLst>
                <a:ext uri="{FF2B5EF4-FFF2-40B4-BE49-F238E27FC236}">
                  <a16:creationId xmlns:a16="http://schemas.microsoft.com/office/drawing/2014/main" id="{348BEF39-51CE-A449-ECC2-B1FCBC670624}"/>
                </a:ext>
              </a:extLst>
            </p:cNvPr>
            <p:cNvSpPr/>
            <p:nvPr/>
          </p:nvSpPr>
          <p:spPr>
            <a:xfrm>
              <a:off x="7030758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" name="Полилиния 131">
              <a:extLst>
                <a:ext uri="{FF2B5EF4-FFF2-40B4-BE49-F238E27FC236}">
                  <a16:creationId xmlns:a16="http://schemas.microsoft.com/office/drawing/2014/main" id="{16DA196F-990D-46F0-0C51-12A205B6D812}"/>
                </a:ext>
              </a:extLst>
            </p:cNvPr>
            <p:cNvSpPr/>
            <p:nvPr/>
          </p:nvSpPr>
          <p:spPr>
            <a:xfrm>
              <a:off x="720931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" name="Полилиния 132">
              <a:extLst>
                <a:ext uri="{FF2B5EF4-FFF2-40B4-BE49-F238E27FC236}">
                  <a16:creationId xmlns:a16="http://schemas.microsoft.com/office/drawing/2014/main" id="{973A7080-9CB8-511A-3629-1A598831CA67}"/>
                </a:ext>
              </a:extLst>
            </p:cNvPr>
            <p:cNvSpPr/>
            <p:nvPr/>
          </p:nvSpPr>
          <p:spPr>
            <a:xfrm>
              <a:off x="725395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" name="Полилиния 133">
              <a:extLst>
                <a:ext uri="{FF2B5EF4-FFF2-40B4-BE49-F238E27FC236}">
                  <a16:creationId xmlns:a16="http://schemas.microsoft.com/office/drawing/2014/main" id="{09DBBB45-6442-C72B-377C-C5EEB2BF4056}"/>
                </a:ext>
              </a:extLst>
            </p:cNvPr>
            <p:cNvSpPr/>
            <p:nvPr/>
          </p:nvSpPr>
          <p:spPr>
            <a:xfrm>
              <a:off x="729859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" name="Полилиния 134">
              <a:extLst>
                <a:ext uri="{FF2B5EF4-FFF2-40B4-BE49-F238E27FC236}">
                  <a16:creationId xmlns:a16="http://schemas.microsoft.com/office/drawing/2014/main" id="{764C86E6-FD18-658E-E880-54AC0A02F78E}"/>
                </a:ext>
              </a:extLst>
            </p:cNvPr>
            <p:cNvSpPr/>
            <p:nvPr/>
          </p:nvSpPr>
          <p:spPr>
            <a:xfrm>
              <a:off x="7432512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" name="Полилиния 135">
              <a:extLst>
                <a:ext uri="{FF2B5EF4-FFF2-40B4-BE49-F238E27FC236}">
                  <a16:creationId xmlns:a16="http://schemas.microsoft.com/office/drawing/2014/main" id="{7E5A7A40-4D81-DA7A-4E1C-8026F6387F47}"/>
                </a:ext>
              </a:extLst>
            </p:cNvPr>
            <p:cNvSpPr/>
            <p:nvPr/>
          </p:nvSpPr>
          <p:spPr>
            <a:xfrm>
              <a:off x="747715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" name="Полилиния 136">
              <a:extLst>
                <a:ext uri="{FF2B5EF4-FFF2-40B4-BE49-F238E27FC236}">
                  <a16:creationId xmlns:a16="http://schemas.microsoft.com/office/drawing/2014/main" id="{55B36C43-9698-6F50-A863-ED38BB763E7D}"/>
                </a:ext>
              </a:extLst>
            </p:cNvPr>
            <p:cNvSpPr/>
            <p:nvPr/>
          </p:nvSpPr>
          <p:spPr>
            <a:xfrm>
              <a:off x="752188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" name="Полилиния 137">
              <a:extLst>
                <a:ext uri="{FF2B5EF4-FFF2-40B4-BE49-F238E27FC236}">
                  <a16:creationId xmlns:a16="http://schemas.microsoft.com/office/drawing/2014/main" id="{CB4C7803-5557-AC36-671F-DC6A81D56931}"/>
                </a:ext>
              </a:extLst>
            </p:cNvPr>
            <p:cNvSpPr/>
            <p:nvPr/>
          </p:nvSpPr>
          <p:spPr>
            <a:xfrm>
              <a:off x="756652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" name="Полилиния 138">
              <a:extLst>
                <a:ext uri="{FF2B5EF4-FFF2-40B4-BE49-F238E27FC236}">
                  <a16:creationId xmlns:a16="http://schemas.microsoft.com/office/drawing/2014/main" id="{CF4CE090-C845-C874-368D-FE01F9E6F8B5}"/>
                </a:ext>
              </a:extLst>
            </p:cNvPr>
            <p:cNvSpPr/>
            <p:nvPr/>
          </p:nvSpPr>
          <p:spPr>
            <a:xfrm>
              <a:off x="761116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" name="Полилиния 139">
              <a:extLst>
                <a:ext uri="{FF2B5EF4-FFF2-40B4-BE49-F238E27FC236}">
                  <a16:creationId xmlns:a16="http://schemas.microsoft.com/office/drawing/2014/main" id="{C32CA1FA-831E-BE25-8768-98F393AAE0E0}"/>
                </a:ext>
              </a:extLst>
            </p:cNvPr>
            <p:cNvSpPr/>
            <p:nvPr/>
          </p:nvSpPr>
          <p:spPr>
            <a:xfrm>
              <a:off x="765580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" name="Полилиния 140">
              <a:extLst>
                <a:ext uri="{FF2B5EF4-FFF2-40B4-BE49-F238E27FC236}">
                  <a16:creationId xmlns:a16="http://schemas.microsoft.com/office/drawing/2014/main" id="{EFFF860C-07B2-655D-B89C-40B69A1D58D4}"/>
                </a:ext>
              </a:extLst>
            </p:cNvPr>
            <p:cNvSpPr/>
            <p:nvPr/>
          </p:nvSpPr>
          <p:spPr>
            <a:xfrm>
              <a:off x="774508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" name="Полилиния 141">
              <a:extLst>
                <a:ext uri="{FF2B5EF4-FFF2-40B4-BE49-F238E27FC236}">
                  <a16:creationId xmlns:a16="http://schemas.microsoft.com/office/drawing/2014/main" id="{8D2F1159-D070-1DBA-4217-AC5FC8011E1F}"/>
                </a:ext>
              </a:extLst>
            </p:cNvPr>
            <p:cNvSpPr/>
            <p:nvPr/>
          </p:nvSpPr>
          <p:spPr>
            <a:xfrm>
              <a:off x="787899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" name="Полилиния 142">
              <a:extLst>
                <a:ext uri="{FF2B5EF4-FFF2-40B4-BE49-F238E27FC236}">
                  <a16:creationId xmlns:a16="http://schemas.microsoft.com/office/drawing/2014/main" id="{3C5E7457-133E-48B3-1809-CA1914EC9FE6}"/>
                </a:ext>
              </a:extLst>
            </p:cNvPr>
            <p:cNvSpPr/>
            <p:nvPr/>
          </p:nvSpPr>
          <p:spPr>
            <a:xfrm>
              <a:off x="671818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" name="Полилиния 143">
              <a:extLst>
                <a:ext uri="{FF2B5EF4-FFF2-40B4-BE49-F238E27FC236}">
                  <a16:creationId xmlns:a16="http://schemas.microsoft.com/office/drawing/2014/main" id="{62BAFD93-6172-D4AD-7A5B-E2226CEAAF83}"/>
                </a:ext>
              </a:extLst>
            </p:cNvPr>
            <p:cNvSpPr/>
            <p:nvPr/>
          </p:nvSpPr>
          <p:spPr>
            <a:xfrm>
              <a:off x="676282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" name="Полилиния 144">
              <a:extLst>
                <a:ext uri="{FF2B5EF4-FFF2-40B4-BE49-F238E27FC236}">
                  <a16:creationId xmlns:a16="http://schemas.microsoft.com/office/drawing/2014/main" id="{D9064AD5-686E-9D90-C412-1A71E0383775}"/>
                </a:ext>
              </a:extLst>
            </p:cNvPr>
            <p:cNvSpPr/>
            <p:nvPr/>
          </p:nvSpPr>
          <p:spPr>
            <a:xfrm>
              <a:off x="685210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" name="Полилиния 145">
              <a:extLst>
                <a:ext uri="{FF2B5EF4-FFF2-40B4-BE49-F238E27FC236}">
                  <a16:creationId xmlns:a16="http://schemas.microsoft.com/office/drawing/2014/main" id="{E2DEF5D6-4CD9-5544-B9C9-3FABB37F010F}"/>
                </a:ext>
              </a:extLst>
            </p:cNvPr>
            <p:cNvSpPr/>
            <p:nvPr/>
          </p:nvSpPr>
          <p:spPr>
            <a:xfrm>
              <a:off x="694148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" name="Полилиния 146">
              <a:extLst>
                <a:ext uri="{FF2B5EF4-FFF2-40B4-BE49-F238E27FC236}">
                  <a16:creationId xmlns:a16="http://schemas.microsoft.com/office/drawing/2014/main" id="{259D6511-F9C6-003E-2023-D73419BF80FD}"/>
                </a:ext>
              </a:extLst>
            </p:cNvPr>
            <p:cNvSpPr/>
            <p:nvPr/>
          </p:nvSpPr>
          <p:spPr>
            <a:xfrm>
              <a:off x="703075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" name="Полилиния 147">
              <a:extLst>
                <a:ext uri="{FF2B5EF4-FFF2-40B4-BE49-F238E27FC236}">
                  <a16:creationId xmlns:a16="http://schemas.microsoft.com/office/drawing/2014/main" id="{5C280713-6F1D-7334-EC09-D3FF77246591}"/>
                </a:ext>
              </a:extLst>
            </p:cNvPr>
            <p:cNvSpPr/>
            <p:nvPr/>
          </p:nvSpPr>
          <p:spPr>
            <a:xfrm>
              <a:off x="707539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" name="Полилиния 148">
              <a:extLst>
                <a:ext uri="{FF2B5EF4-FFF2-40B4-BE49-F238E27FC236}">
                  <a16:creationId xmlns:a16="http://schemas.microsoft.com/office/drawing/2014/main" id="{3DCD2A8D-DA55-4594-39A4-9DF3F549B20B}"/>
                </a:ext>
              </a:extLst>
            </p:cNvPr>
            <p:cNvSpPr/>
            <p:nvPr/>
          </p:nvSpPr>
          <p:spPr>
            <a:xfrm>
              <a:off x="7120037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" name="Полилиния 149">
              <a:extLst>
                <a:ext uri="{FF2B5EF4-FFF2-40B4-BE49-F238E27FC236}">
                  <a16:creationId xmlns:a16="http://schemas.microsoft.com/office/drawing/2014/main" id="{0B207389-5281-F539-B275-E23EE298D212}"/>
                </a:ext>
              </a:extLst>
            </p:cNvPr>
            <p:cNvSpPr/>
            <p:nvPr/>
          </p:nvSpPr>
          <p:spPr>
            <a:xfrm>
              <a:off x="716467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Полилиния 150">
              <a:extLst>
                <a:ext uri="{FF2B5EF4-FFF2-40B4-BE49-F238E27FC236}">
                  <a16:creationId xmlns:a16="http://schemas.microsoft.com/office/drawing/2014/main" id="{7CCC54D2-A69E-3C17-EEC4-20295B08E67A}"/>
                </a:ext>
              </a:extLst>
            </p:cNvPr>
            <p:cNvSpPr/>
            <p:nvPr/>
          </p:nvSpPr>
          <p:spPr>
            <a:xfrm>
              <a:off x="7209315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" name="Полилиния 151">
              <a:extLst>
                <a:ext uri="{FF2B5EF4-FFF2-40B4-BE49-F238E27FC236}">
                  <a16:creationId xmlns:a16="http://schemas.microsoft.com/office/drawing/2014/main" id="{96723457-89AB-7D31-6532-E6E4A0A09E53}"/>
                </a:ext>
              </a:extLst>
            </p:cNvPr>
            <p:cNvSpPr/>
            <p:nvPr/>
          </p:nvSpPr>
          <p:spPr>
            <a:xfrm>
              <a:off x="729859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" name="Полилиния 152">
              <a:extLst>
                <a:ext uri="{FF2B5EF4-FFF2-40B4-BE49-F238E27FC236}">
                  <a16:creationId xmlns:a16="http://schemas.microsoft.com/office/drawing/2014/main" id="{BE2E41EE-92C0-26B6-1A1D-A67469F6CA07}"/>
                </a:ext>
              </a:extLst>
            </p:cNvPr>
            <p:cNvSpPr/>
            <p:nvPr/>
          </p:nvSpPr>
          <p:spPr>
            <a:xfrm>
              <a:off x="734323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" name="Полилиния 153">
              <a:extLst>
                <a:ext uri="{FF2B5EF4-FFF2-40B4-BE49-F238E27FC236}">
                  <a16:creationId xmlns:a16="http://schemas.microsoft.com/office/drawing/2014/main" id="{EEE8C9D9-940C-BE11-6B66-EC63A2552D1E}"/>
                </a:ext>
              </a:extLst>
            </p:cNvPr>
            <p:cNvSpPr/>
            <p:nvPr/>
          </p:nvSpPr>
          <p:spPr>
            <a:xfrm>
              <a:off x="738787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" name="Полилиния 154">
              <a:extLst>
                <a:ext uri="{FF2B5EF4-FFF2-40B4-BE49-F238E27FC236}">
                  <a16:creationId xmlns:a16="http://schemas.microsoft.com/office/drawing/2014/main" id="{E8734CF1-4B40-7CF9-839A-A2BCCD170D7C}"/>
                </a:ext>
              </a:extLst>
            </p:cNvPr>
            <p:cNvSpPr/>
            <p:nvPr/>
          </p:nvSpPr>
          <p:spPr>
            <a:xfrm>
              <a:off x="743251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" name="Полилиния 155">
              <a:extLst>
                <a:ext uri="{FF2B5EF4-FFF2-40B4-BE49-F238E27FC236}">
                  <a16:creationId xmlns:a16="http://schemas.microsoft.com/office/drawing/2014/main" id="{CBBDA2C7-75F2-9026-D0DB-B86E0DE8EE50}"/>
                </a:ext>
              </a:extLst>
            </p:cNvPr>
            <p:cNvSpPr/>
            <p:nvPr/>
          </p:nvSpPr>
          <p:spPr>
            <a:xfrm>
              <a:off x="747715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" name="Полилиния 156">
              <a:extLst>
                <a:ext uri="{FF2B5EF4-FFF2-40B4-BE49-F238E27FC236}">
                  <a16:creationId xmlns:a16="http://schemas.microsoft.com/office/drawing/2014/main" id="{81372B50-8191-3C5C-D661-2850D30F97F9}"/>
                </a:ext>
              </a:extLst>
            </p:cNvPr>
            <p:cNvSpPr/>
            <p:nvPr/>
          </p:nvSpPr>
          <p:spPr>
            <a:xfrm>
              <a:off x="761116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" name="Полилиния 157">
              <a:extLst>
                <a:ext uri="{FF2B5EF4-FFF2-40B4-BE49-F238E27FC236}">
                  <a16:creationId xmlns:a16="http://schemas.microsoft.com/office/drawing/2014/main" id="{CE656A6A-FF10-F2FD-7834-8D42DA052BDF}"/>
                </a:ext>
              </a:extLst>
            </p:cNvPr>
            <p:cNvSpPr/>
            <p:nvPr/>
          </p:nvSpPr>
          <p:spPr>
            <a:xfrm>
              <a:off x="765580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" name="Полилиния 158">
              <a:extLst>
                <a:ext uri="{FF2B5EF4-FFF2-40B4-BE49-F238E27FC236}">
                  <a16:creationId xmlns:a16="http://schemas.microsoft.com/office/drawing/2014/main" id="{EE30700B-6F07-D0F1-FEBA-D9E97AB0F7D8}"/>
                </a:ext>
              </a:extLst>
            </p:cNvPr>
            <p:cNvSpPr/>
            <p:nvPr/>
          </p:nvSpPr>
          <p:spPr>
            <a:xfrm>
              <a:off x="770044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" name="Полилиния 159">
              <a:extLst>
                <a:ext uri="{FF2B5EF4-FFF2-40B4-BE49-F238E27FC236}">
                  <a16:creationId xmlns:a16="http://schemas.microsoft.com/office/drawing/2014/main" id="{AFBF9584-C0A9-42AE-54AA-76B4E56113B2}"/>
                </a:ext>
              </a:extLst>
            </p:cNvPr>
            <p:cNvSpPr/>
            <p:nvPr/>
          </p:nvSpPr>
          <p:spPr>
            <a:xfrm>
              <a:off x="774508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" name="Полилиния 160">
              <a:extLst>
                <a:ext uri="{FF2B5EF4-FFF2-40B4-BE49-F238E27FC236}">
                  <a16:creationId xmlns:a16="http://schemas.microsoft.com/office/drawing/2014/main" id="{D807A1C6-14FF-A588-A2F4-FD15632908FE}"/>
                </a:ext>
              </a:extLst>
            </p:cNvPr>
            <p:cNvSpPr/>
            <p:nvPr/>
          </p:nvSpPr>
          <p:spPr>
            <a:xfrm>
              <a:off x="778972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" name="Полилиния 161">
              <a:extLst>
                <a:ext uri="{FF2B5EF4-FFF2-40B4-BE49-F238E27FC236}">
                  <a16:creationId xmlns:a16="http://schemas.microsoft.com/office/drawing/2014/main" id="{50465C9A-6C0A-07C2-FB7D-B7CFF99E326A}"/>
                </a:ext>
              </a:extLst>
            </p:cNvPr>
            <p:cNvSpPr/>
            <p:nvPr/>
          </p:nvSpPr>
          <p:spPr>
            <a:xfrm>
              <a:off x="783436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" name="Полилиния 162">
              <a:extLst>
                <a:ext uri="{FF2B5EF4-FFF2-40B4-BE49-F238E27FC236}">
                  <a16:creationId xmlns:a16="http://schemas.microsoft.com/office/drawing/2014/main" id="{5776D4D3-D8E6-0199-4A4B-320287057ED4}"/>
                </a:ext>
              </a:extLst>
            </p:cNvPr>
            <p:cNvSpPr/>
            <p:nvPr/>
          </p:nvSpPr>
          <p:spPr>
            <a:xfrm>
              <a:off x="787899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" name="Полилиния 163">
              <a:extLst>
                <a:ext uri="{FF2B5EF4-FFF2-40B4-BE49-F238E27FC236}">
                  <a16:creationId xmlns:a16="http://schemas.microsoft.com/office/drawing/2014/main" id="{75C68EF0-4EC5-B389-532C-4E61E12C39AB}"/>
                </a:ext>
              </a:extLst>
            </p:cNvPr>
            <p:cNvSpPr/>
            <p:nvPr/>
          </p:nvSpPr>
          <p:spPr>
            <a:xfrm>
              <a:off x="649499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" name="Полилиния 164">
              <a:extLst>
                <a:ext uri="{FF2B5EF4-FFF2-40B4-BE49-F238E27FC236}">
                  <a16:creationId xmlns:a16="http://schemas.microsoft.com/office/drawing/2014/main" id="{4C6B3290-0827-6358-B2E3-5ABB5083497C}"/>
                </a:ext>
              </a:extLst>
            </p:cNvPr>
            <p:cNvSpPr/>
            <p:nvPr/>
          </p:nvSpPr>
          <p:spPr>
            <a:xfrm>
              <a:off x="653963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" name="Полилиния 165">
              <a:extLst>
                <a:ext uri="{FF2B5EF4-FFF2-40B4-BE49-F238E27FC236}">
                  <a16:creationId xmlns:a16="http://schemas.microsoft.com/office/drawing/2014/main" id="{92C7A409-0A61-C89C-9CF9-ED189AD0E729}"/>
                </a:ext>
              </a:extLst>
            </p:cNvPr>
            <p:cNvSpPr/>
            <p:nvPr/>
          </p:nvSpPr>
          <p:spPr>
            <a:xfrm>
              <a:off x="6628910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" name="Полилиния 166">
              <a:extLst>
                <a:ext uri="{FF2B5EF4-FFF2-40B4-BE49-F238E27FC236}">
                  <a16:creationId xmlns:a16="http://schemas.microsoft.com/office/drawing/2014/main" id="{D9C9FDBA-AA64-E084-00D0-F6342BEADF89}"/>
                </a:ext>
              </a:extLst>
            </p:cNvPr>
            <p:cNvSpPr/>
            <p:nvPr/>
          </p:nvSpPr>
          <p:spPr>
            <a:xfrm>
              <a:off x="667354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8" name="Полилиния 167">
              <a:extLst>
                <a:ext uri="{FF2B5EF4-FFF2-40B4-BE49-F238E27FC236}">
                  <a16:creationId xmlns:a16="http://schemas.microsoft.com/office/drawing/2014/main" id="{D00AFAA6-1353-2B8B-9DD9-1E80436376E0}"/>
                </a:ext>
              </a:extLst>
            </p:cNvPr>
            <p:cNvSpPr/>
            <p:nvPr/>
          </p:nvSpPr>
          <p:spPr>
            <a:xfrm>
              <a:off x="685210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9" name="Полилиния 168">
              <a:extLst>
                <a:ext uri="{FF2B5EF4-FFF2-40B4-BE49-F238E27FC236}">
                  <a16:creationId xmlns:a16="http://schemas.microsoft.com/office/drawing/2014/main" id="{F0D4895A-059E-87BB-DA9D-51711FB07321}"/>
                </a:ext>
              </a:extLst>
            </p:cNvPr>
            <p:cNvSpPr/>
            <p:nvPr/>
          </p:nvSpPr>
          <p:spPr>
            <a:xfrm>
              <a:off x="698611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0" name="Полилиния 169">
              <a:extLst>
                <a:ext uri="{FF2B5EF4-FFF2-40B4-BE49-F238E27FC236}">
                  <a16:creationId xmlns:a16="http://schemas.microsoft.com/office/drawing/2014/main" id="{96B6FBDB-23B2-4930-5AF6-C4886BF9A64C}"/>
                </a:ext>
              </a:extLst>
            </p:cNvPr>
            <p:cNvSpPr/>
            <p:nvPr/>
          </p:nvSpPr>
          <p:spPr>
            <a:xfrm>
              <a:off x="7030758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1" name="Полилиния 170">
              <a:extLst>
                <a:ext uri="{FF2B5EF4-FFF2-40B4-BE49-F238E27FC236}">
                  <a16:creationId xmlns:a16="http://schemas.microsoft.com/office/drawing/2014/main" id="{C0976B56-8B08-DFE9-3B98-CDD511FC4D61}"/>
                </a:ext>
              </a:extLst>
            </p:cNvPr>
            <p:cNvSpPr/>
            <p:nvPr/>
          </p:nvSpPr>
          <p:spPr>
            <a:xfrm>
              <a:off x="716467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2" name="Полилиния 171">
              <a:extLst>
                <a:ext uri="{FF2B5EF4-FFF2-40B4-BE49-F238E27FC236}">
                  <a16:creationId xmlns:a16="http://schemas.microsoft.com/office/drawing/2014/main" id="{10BE8E9D-E8A1-27A0-8389-9801B5F9CB01}"/>
                </a:ext>
              </a:extLst>
            </p:cNvPr>
            <p:cNvSpPr/>
            <p:nvPr/>
          </p:nvSpPr>
          <p:spPr>
            <a:xfrm>
              <a:off x="720931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3" name="Полилиния 172">
              <a:extLst>
                <a:ext uri="{FF2B5EF4-FFF2-40B4-BE49-F238E27FC236}">
                  <a16:creationId xmlns:a16="http://schemas.microsoft.com/office/drawing/2014/main" id="{1B402CEA-4A6A-828E-15E8-F5AE47126653}"/>
                </a:ext>
              </a:extLst>
            </p:cNvPr>
            <p:cNvSpPr/>
            <p:nvPr/>
          </p:nvSpPr>
          <p:spPr>
            <a:xfrm>
              <a:off x="725395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4" name="Полилиния 173">
              <a:extLst>
                <a:ext uri="{FF2B5EF4-FFF2-40B4-BE49-F238E27FC236}">
                  <a16:creationId xmlns:a16="http://schemas.microsoft.com/office/drawing/2014/main" id="{86739307-9909-7B0D-F70D-BBE108EA8043}"/>
                </a:ext>
              </a:extLst>
            </p:cNvPr>
            <p:cNvSpPr/>
            <p:nvPr/>
          </p:nvSpPr>
          <p:spPr>
            <a:xfrm>
              <a:off x="729859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5" name="Полилиния 174">
              <a:extLst>
                <a:ext uri="{FF2B5EF4-FFF2-40B4-BE49-F238E27FC236}">
                  <a16:creationId xmlns:a16="http://schemas.microsoft.com/office/drawing/2014/main" id="{2136FBEE-CEAC-986A-6BC7-002A8A5FD3F1}"/>
                </a:ext>
              </a:extLst>
            </p:cNvPr>
            <p:cNvSpPr/>
            <p:nvPr/>
          </p:nvSpPr>
          <p:spPr>
            <a:xfrm>
              <a:off x="734323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6" name="Полилиния 175">
              <a:extLst>
                <a:ext uri="{FF2B5EF4-FFF2-40B4-BE49-F238E27FC236}">
                  <a16:creationId xmlns:a16="http://schemas.microsoft.com/office/drawing/2014/main" id="{3378F68C-26DB-7C6A-5774-88DAD5766CEC}"/>
                </a:ext>
              </a:extLst>
            </p:cNvPr>
            <p:cNvSpPr/>
            <p:nvPr/>
          </p:nvSpPr>
          <p:spPr>
            <a:xfrm>
              <a:off x="7432512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7" name="Полилиния 176">
              <a:extLst>
                <a:ext uri="{FF2B5EF4-FFF2-40B4-BE49-F238E27FC236}">
                  <a16:creationId xmlns:a16="http://schemas.microsoft.com/office/drawing/2014/main" id="{4FB8F570-72EC-A69B-F910-92E7AC6766E3}"/>
                </a:ext>
              </a:extLst>
            </p:cNvPr>
            <p:cNvSpPr/>
            <p:nvPr/>
          </p:nvSpPr>
          <p:spPr>
            <a:xfrm>
              <a:off x="756652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8" name="Полилиния 177">
              <a:extLst>
                <a:ext uri="{FF2B5EF4-FFF2-40B4-BE49-F238E27FC236}">
                  <a16:creationId xmlns:a16="http://schemas.microsoft.com/office/drawing/2014/main" id="{93D006B0-B519-9D18-F4D6-5D7FF9344161}"/>
                </a:ext>
              </a:extLst>
            </p:cNvPr>
            <p:cNvSpPr/>
            <p:nvPr/>
          </p:nvSpPr>
          <p:spPr>
            <a:xfrm>
              <a:off x="765580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9" name="Полилиния 178">
              <a:extLst>
                <a:ext uri="{FF2B5EF4-FFF2-40B4-BE49-F238E27FC236}">
                  <a16:creationId xmlns:a16="http://schemas.microsoft.com/office/drawing/2014/main" id="{E1688A47-6600-9AEB-E2C3-BAFF46A44712}"/>
                </a:ext>
              </a:extLst>
            </p:cNvPr>
            <p:cNvSpPr/>
            <p:nvPr/>
          </p:nvSpPr>
          <p:spPr>
            <a:xfrm>
              <a:off x="774508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0" name="Полилиния 179">
              <a:extLst>
                <a:ext uri="{FF2B5EF4-FFF2-40B4-BE49-F238E27FC236}">
                  <a16:creationId xmlns:a16="http://schemas.microsoft.com/office/drawing/2014/main" id="{DFB65C79-1E28-80D7-C064-9E020E53E321}"/>
                </a:ext>
              </a:extLst>
            </p:cNvPr>
            <p:cNvSpPr/>
            <p:nvPr/>
          </p:nvSpPr>
          <p:spPr>
            <a:xfrm>
              <a:off x="649499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1" name="Полилиния 180">
              <a:extLst>
                <a:ext uri="{FF2B5EF4-FFF2-40B4-BE49-F238E27FC236}">
                  <a16:creationId xmlns:a16="http://schemas.microsoft.com/office/drawing/2014/main" id="{5688806E-EFD3-5F2E-E3CF-53381C13CCA8}"/>
                </a:ext>
              </a:extLst>
            </p:cNvPr>
            <p:cNvSpPr/>
            <p:nvPr/>
          </p:nvSpPr>
          <p:spPr>
            <a:xfrm>
              <a:off x="658427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2" name="Полилиния 181">
              <a:extLst>
                <a:ext uri="{FF2B5EF4-FFF2-40B4-BE49-F238E27FC236}">
                  <a16:creationId xmlns:a16="http://schemas.microsoft.com/office/drawing/2014/main" id="{0387C885-C534-4237-4187-F58D1384350D}"/>
                </a:ext>
              </a:extLst>
            </p:cNvPr>
            <p:cNvSpPr/>
            <p:nvPr/>
          </p:nvSpPr>
          <p:spPr>
            <a:xfrm>
              <a:off x="662891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" name="Полилиния 182">
              <a:extLst>
                <a:ext uri="{FF2B5EF4-FFF2-40B4-BE49-F238E27FC236}">
                  <a16:creationId xmlns:a16="http://schemas.microsoft.com/office/drawing/2014/main" id="{F2B5746E-2410-BA3D-C160-AC1E49574E69}"/>
                </a:ext>
              </a:extLst>
            </p:cNvPr>
            <p:cNvSpPr/>
            <p:nvPr/>
          </p:nvSpPr>
          <p:spPr>
            <a:xfrm>
              <a:off x="667354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4" name="Полилиния 183">
              <a:extLst>
                <a:ext uri="{FF2B5EF4-FFF2-40B4-BE49-F238E27FC236}">
                  <a16:creationId xmlns:a16="http://schemas.microsoft.com/office/drawing/2014/main" id="{F96CC817-B386-74DF-25EE-8A26276681A7}"/>
                </a:ext>
              </a:extLst>
            </p:cNvPr>
            <p:cNvSpPr/>
            <p:nvPr/>
          </p:nvSpPr>
          <p:spPr>
            <a:xfrm>
              <a:off x="671818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5" name="Полилиния 184">
              <a:extLst>
                <a:ext uri="{FF2B5EF4-FFF2-40B4-BE49-F238E27FC236}">
                  <a16:creationId xmlns:a16="http://schemas.microsoft.com/office/drawing/2014/main" id="{958DDC3F-3485-E5A9-8461-52EEF2425AFE}"/>
                </a:ext>
              </a:extLst>
            </p:cNvPr>
            <p:cNvSpPr/>
            <p:nvPr/>
          </p:nvSpPr>
          <p:spPr>
            <a:xfrm>
              <a:off x="676282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6" name="Полилиния 185">
              <a:extLst>
                <a:ext uri="{FF2B5EF4-FFF2-40B4-BE49-F238E27FC236}">
                  <a16:creationId xmlns:a16="http://schemas.microsoft.com/office/drawing/2014/main" id="{099B7DB0-1D9F-2455-26A4-208B86B1C0FC}"/>
                </a:ext>
              </a:extLst>
            </p:cNvPr>
            <p:cNvSpPr/>
            <p:nvPr/>
          </p:nvSpPr>
          <p:spPr>
            <a:xfrm>
              <a:off x="694148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7" name="Полилиния 186">
              <a:extLst>
                <a:ext uri="{FF2B5EF4-FFF2-40B4-BE49-F238E27FC236}">
                  <a16:creationId xmlns:a16="http://schemas.microsoft.com/office/drawing/2014/main" id="{F4C67200-5C16-776D-60DA-9F88193DD135}"/>
                </a:ext>
              </a:extLst>
            </p:cNvPr>
            <p:cNvSpPr/>
            <p:nvPr/>
          </p:nvSpPr>
          <p:spPr>
            <a:xfrm>
              <a:off x="698611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8" name="Полилиния 187">
              <a:extLst>
                <a:ext uri="{FF2B5EF4-FFF2-40B4-BE49-F238E27FC236}">
                  <a16:creationId xmlns:a16="http://schemas.microsoft.com/office/drawing/2014/main" id="{FE98A9B2-1D99-81D2-91E7-40F21262215A}"/>
                </a:ext>
              </a:extLst>
            </p:cNvPr>
            <p:cNvSpPr/>
            <p:nvPr/>
          </p:nvSpPr>
          <p:spPr>
            <a:xfrm>
              <a:off x="703075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9" name="Полилиния 188">
              <a:extLst>
                <a:ext uri="{FF2B5EF4-FFF2-40B4-BE49-F238E27FC236}">
                  <a16:creationId xmlns:a16="http://schemas.microsoft.com/office/drawing/2014/main" id="{7A5CBED9-D735-B5DB-A2E4-0B0FD287FFC0}"/>
                </a:ext>
              </a:extLst>
            </p:cNvPr>
            <p:cNvSpPr/>
            <p:nvPr/>
          </p:nvSpPr>
          <p:spPr>
            <a:xfrm>
              <a:off x="7120037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0" name="Полилиния 189">
              <a:extLst>
                <a:ext uri="{FF2B5EF4-FFF2-40B4-BE49-F238E27FC236}">
                  <a16:creationId xmlns:a16="http://schemas.microsoft.com/office/drawing/2014/main" id="{4BC307EE-7B7A-C215-8ADF-16D50069D92C}"/>
                </a:ext>
              </a:extLst>
            </p:cNvPr>
            <p:cNvSpPr/>
            <p:nvPr/>
          </p:nvSpPr>
          <p:spPr>
            <a:xfrm>
              <a:off x="7209315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1" name="Полилиния 190">
              <a:extLst>
                <a:ext uri="{FF2B5EF4-FFF2-40B4-BE49-F238E27FC236}">
                  <a16:creationId xmlns:a16="http://schemas.microsoft.com/office/drawing/2014/main" id="{62791FB7-B328-928E-BAB0-B2385B632B1B}"/>
                </a:ext>
              </a:extLst>
            </p:cNvPr>
            <p:cNvSpPr/>
            <p:nvPr/>
          </p:nvSpPr>
          <p:spPr>
            <a:xfrm>
              <a:off x="738787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2" name="Полилиния 191">
              <a:extLst>
                <a:ext uri="{FF2B5EF4-FFF2-40B4-BE49-F238E27FC236}">
                  <a16:creationId xmlns:a16="http://schemas.microsoft.com/office/drawing/2014/main" id="{5170AB40-2AC5-1869-911A-FBAF3825A98F}"/>
                </a:ext>
              </a:extLst>
            </p:cNvPr>
            <p:cNvSpPr/>
            <p:nvPr/>
          </p:nvSpPr>
          <p:spPr>
            <a:xfrm>
              <a:off x="743251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3" name="Полилиния 192">
              <a:extLst>
                <a:ext uri="{FF2B5EF4-FFF2-40B4-BE49-F238E27FC236}">
                  <a16:creationId xmlns:a16="http://schemas.microsoft.com/office/drawing/2014/main" id="{E8D5B912-58A6-178E-3429-701406F9A2EC}"/>
                </a:ext>
              </a:extLst>
            </p:cNvPr>
            <p:cNvSpPr/>
            <p:nvPr/>
          </p:nvSpPr>
          <p:spPr>
            <a:xfrm>
              <a:off x="747715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4" name="Полилиния 193">
              <a:extLst>
                <a:ext uri="{FF2B5EF4-FFF2-40B4-BE49-F238E27FC236}">
                  <a16:creationId xmlns:a16="http://schemas.microsoft.com/office/drawing/2014/main" id="{D0B5AB8C-F821-F204-CAB4-556807F376A9}"/>
                </a:ext>
              </a:extLst>
            </p:cNvPr>
            <p:cNvSpPr/>
            <p:nvPr/>
          </p:nvSpPr>
          <p:spPr>
            <a:xfrm>
              <a:off x="756652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5" name="Полилиния 194">
              <a:extLst>
                <a:ext uri="{FF2B5EF4-FFF2-40B4-BE49-F238E27FC236}">
                  <a16:creationId xmlns:a16="http://schemas.microsoft.com/office/drawing/2014/main" id="{3B7E88F4-32A1-0DC9-7E3E-74C577AFEB76}"/>
                </a:ext>
              </a:extLst>
            </p:cNvPr>
            <p:cNvSpPr/>
            <p:nvPr/>
          </p:nvSpPr>
          <p:spPr>
            <a:xfrm>
              <a:off x="761116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6" name="Полилиния 195">
              <a:extLst>
                <a:ext uri="{FF2B5EF4-FFF2-40B4-BE49-F238E27FC236}">
                  <a16:creationId xmlns:a16="http://schemas.microsoft.com/office/drawing/2014/main" id="{A1E7C260-F29F-62AD-9D55-5D2FCE3AB39F}"/>
                </a:ext>
              </a:extLst>
            </p:cNvPr>
            <p:cNvSpPr/>
            <p:nvPr/>
          </p:nvSpPr>
          <p:spPr>
            <a:xfrm>
              <a:off x="765580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7" name="Полилиния 196">
              <a:extLst>
                <a:ext uri="{FF2B5EF4-FFF2-40B4-BE49-F238E27FC236}">
                  <a16:creationId xmlns:a16="http://schemas.microsoft.com/office/drawing/2014/main" id="{C8AB9071-2C5E-ED43-760D-CD0877B16A2C}"/>
                </a:ext>
              </a:extLst>
            </p:cNvPr>
            <p:cNvSpPr/>
            <p:nvPr/>
          </p:nvSpPr>
          <p:spPr>
            <a:xfrm>
              <a:off x="770044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8" name="Полилиния 197">
              <a:extLst>
                <a:ext uri="{FF2B5EF4-FFF2-40B4-BE49-F238E27FC236}">
                  <a16:creationId xmlns:a16="http://schemas.microsoft.com/office/drawing/2014/main" id="{9EE3B8F9-8C3B-998C-7B3B-58BAB27238E5}"/>
                </a:ext>
              </a:extLst>
            </p:cNvPr>
            <p:cNvSpPr/>
            <p:nvPr/>
          </p:nvSpPr>
          <p:spPr>
            <a:xfrm>
              <a:off x="774508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9" name="Полилиния 198">
              <a:extLst>
                <a:ext uri="{FF2B5EF4-FFF2-40B4-BE49-F238E27FC236}">
                  <a16:creationId xmlns:a16="http://schemas.microsoft.com/office/drawing/2014/main" id="{0524E18B-DACE-13DB-8215-C3E6CAA68700}"/>
                </a:ext>
              </a:extLst>
            </p:cNvPr>
            <p:cNvSpPr/>
            <p:nvPr/>
          </p:nvSpPr>
          <p:spPr>
            <a:xfrm>
              <a:off x="787899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0" name="Полилиния 199">
              <a:extLst>
                <a:ext uri="{FF2B5EF4-FFF2-40B4-BE49-F238E27FC236}">
                  <a16:creationId xmlns:a16="http://schemas.microsoft.com/office/drawing/2014/main" id="{4BC13619-8F22-BE47-7356-7B2A479A5E83}"/>
                </a:ext>
              </a:extLst>
            </p:cNvPr>
            <p:cNvSpPr/>
            <p:nvPr/>
          </p:nvSpPr>
          <p:spPr>
            <a:xfrm>
              <a:off x="645035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1" name="Полилиния 200">
              <a:extLst>
                <a:ext uri="{FF2B5EF4-FFF2-40B4-BE49-F238E27FC236}">
                  <a16:creationId xmlns:a16="http://schemas.microsoft.com/office/drawing/2014/main" id="{57BAA716-0CF8-ABCD-AFD1-05AF0C52475A}"/>
                </a:ext>
              </a:extLst>
            </p:cNvPr>
            <p:cNvSpPr/>
            <p:nvPr/>
          </p:nvSpPr>
          <p:spPr>
            <a:xfrm>
              <a:off x="6941480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2" name="Полилиния 201">
              <a:extLst>
                <a:ext uri="{FF2B5EF4-FFF2-40B4-BE49-F238E27FC236}">
                  <a16:creationId xmlns:a16="http://schemas.microsoft.com/office/drawing/2014/main" id="{AE173D05-DFE5-A8A2-C267-494C3A33120D}"/>
                </a:ext>
              </a:extLst>
            </p:cNvPr>
            <p:cNvSpPr/>
            <p:nvPr/>
          </p:nvSpPr>
          <p:spPr>
            <a:xfrm>
              <a:off x="698611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3" name="Полилиния 202">
              <a:extLst>
                <a:ext uri="{FF2B5EF4-FFF2-40B4-BE49-F238E27FC236}">
                  <a16:creationId xmlns:a16="http://schemas.microsoft.com/office/drawing/2014/main" id="{2F77A747-A8B2-3493-D4E7-CFC26E8D6D63}"/>
                </a:ext>
              </a:extLst>
            </p:cNvPr>
            <p:cNvSpPr/>
            <p:nvPr/>
          </p:nvSpPr>
          <p:spPr>
            <a:xfrm>
              <a:off x="703075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4" name="Полилиния 203">
              <a:extLst>
                <a:ext uri="{FF2B5EF4-FFF2-40B4-BE49-F238E27FC236}">
                  <a16:creationId xmlns:a16="http://schemas.microsoft.com/office/drawing/2014/main" id="{7ABA9A1D-FD0C-83DF-1CFB-9AF56148AC5B}"/>
                </a:ext>
              </a:extLst>
            </p:cNvPr>
            <p:cNvSpPr/>
            <p:nvPr/>
          </p:nvSpPr>
          <p:spPr>
            <a:xfrm>
              <a:off x="707539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5" name="Полилиния 204">
              <a:extLst>
                <a:ext uri="{FF2B5EF4-FFF2-40B4-BE49-F238E27FC236}">
                  <a16:creationId xmlns:a16="http://schemas.microsoft.com/office/drawing/2014/main" id="{AFFF6306-7B4E-D27B-3445-1CA9796C8FAB}"/>
                </a:ext>
              </a:extLst>
            </p:cNvPr>
            <p:cNvSpPr/>
            <p:nvPr/>
          </p:nvSpPr>
          <p:spPr>
            <a:xfrm>
              <a:off x="7164676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6" name="Полилиния 205">
              <a:extLst>
                <a:ext uri="{FF2B5EF4-FFF2-40B4-BE49-F238E27FC236}">
                  <a16:creationId xmlns:a16="http://schemas.microsoft.com/office/drawing/2014/main" id="{21D1D9BB-3C00-1496-5A0A-CB3AA4259DAB}"/>
                </a:ext>
              </a:extLst>
            </p:cNvPr>
            <p:cNvSpPr/>
            <p:nvPr/>
          </p:nvSpPr>
          <p:spPr>
            <a:xfrm>
              <a:off x="720931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7" name="Полилиния 206">
              <a:extLst>
                <a:ext uri="{FF2B5EF4-FFF2-40B4-BE49-F238E27FC236}">
                  <a16:creationId xmlns:a16="http://schemas.microsoft.com/office/drawing/2014/main" id="{AB5F44F0-D14E-1EA2-D582-BE3521EA184D}"/>
                </a:ext>
              </a:extLst>
            </p:cNvPr>
            <p:cNvSpPr/>
            <p:nvPr/>
          </p:nvSpPr>
          <p:spPr>
            <a:xfrm>
              <a:off x="725395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8" name="Полилиния 207">
              <a:extLst>
                <a:ext uri="{FF2B5EF4-FFF2-40B4-BE49-F238E27FC236}">
                  <a16:creationId xmlns:a16="http://schemas.microsoft.com/office/drawing/2014/main" id="{BAA31D16-D3C9-B4A7-9BBE-EB8CCBE1F3AD}"/>
                </a:ext>
              </a:extLst>
            </p:cNvPr>
            <p:cNvSpPr/>
            <p:nvPr/>
          </p:nvSpPr>
          <p:spPr>
            <a:xfrm>
              <a:off x="729859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9" name="Полилиния 208">
              <a:extLst>
                <a:ext uri="{FF2B5EF4-FFF2-40B4-BE49-F238E27FC236}">
                  <a16:creationId xmlns:a16="http://schemas.microsoft.com/office/drawing/2014/main" id="{D320B377-FB95-9CFB-A59B-3EACF448868D}"/>
                </a:ext>
              </a:extLst>
            </p:cNvPr>
            <p:cNvSpPr/>
            <p:nvPr/>
          </p:nvSpPr>
          <p:spPr>
            <a:xfrm>
              <a:off x="734323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0" name="Полилиния 209">
              <a:extLst>
                <a:ext uri="{FF2B5EF4-FFF2-40B4-BE49-F238E27FC236}">
                  <a16:creationId xmlns:a16="http://schemas.microsoft.com/office/drawing/2014/main" id="{D2505CC1-F467-B3A5-5E38-A17570D73E7A}"/>
                </a:ext>
              </a:extLst>
            </p:cNvPr>
            <p:cNvSpPr/>
            <p:nvPr/>
          </p:nvSpPr>
          <p:spPr>
            <a:xfrm>
              <a:off x="738787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1" name="Полилиния 210">
              <a:extLst>
                <a:ext uri="{FF2B5EF4-FFF2-40B4-BE49-F238E27FC236}">
                  <a16:creationId xmlns:a16="http://schemas.microsoft.com/office/drawing/2014/main" id="{77FB350B-F9BF-4AE9-EE46-F8E493C89E64}"/>
                </a:ext>
              </a:extLst>
            </p:cNvPr>
            <p:cNvSpPr/>
            <p:nvPr/>
          </p:nvSpPr>
          <p:spPr>
            <a:xfrm>
              <a:off x="743251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2" name="Полилиния 211">
              <a:extLst>
                <a:ext uri="{FF2B5EF4-FFF2-40B4-BE49-F238E27FC236}">
                  <a16:creationId xmlns:a16="http://schemas.microsoft.com/office/drawing/2014/main" id="{C6862E07-936E-8B31-C006-703535E17B04}"/>
                </a:ext>
              </a:extLst>
            </p:cNvPr>
            <p:cNvSpPr/>
            <p:nvPr/>
          </p:nvSpPr>
          <p:spPr>
            <a:xfrm>
              <a:off x="747715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3" name="Полилиния 212">
              <a:extLst>
                <a:ext uri="{FF2B5EF4-FFF2-40B4-BE49-F238E27FC236}">
                  <a16:creationId xmlns:a16="http://schemas.microsoft.com/office/drawing/2014/main" id="{4D75FB46-5A81-2B71-75C2-E8175B811925}"/>
                </a:ext>
              </a:extLst>
            </p:cNvPr>
            <p:cNvSpPr/>
            <p:nvPr/>
          </p:nvSpPr>
          <p:spPr>
            <a:xfrm>
              <a:off x="752188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4" name="Полилиния 213">
              <a:extLst>
                <a:ext uri="{FF2B5EF4-FFF2-40B4-BE49-F238E27FC236}">
                  <a16:creationId xmlns:a16="http://schemas.microsoft.com/office/drawing/2014/main" id="{5E58B157-12E1-E818-74E3-0FB3E755938F}"/>
                </a:ext>
              </a:extLst>
            </p:cNvPr>
            <p:cNvSpPr/>
            <p:nvPr/>
          </p:nvSpPr>
          <p:spPr>
            <a:xfrm>
              <a:off x="761116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5" name="Полилиния 214">
              <a:extLst>
                <a:ext uri="{FF2B5EF4-FFF2-40B4-BE49-F238E27FC236}">
                  <a16:creationId xmlns:a16="http://schemas.microsoft.com/office/drawing/2014/main" id="{EA6CAEF7-D3CC-3976-5F18-EF4492EE96B7}"/>
                </a:ext>
              </a:extLst>
            </p:cNvPr>
            <p:cNvSpPr/>
            <p:nvPr/>
          </p:nvSpPr>
          <p:spPr>
            <a:xfrm>
              <a:off x="774508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6" name="Полилиния 215">
              <a:extLst>
                <a:ext uri="{FF2B5EF4-FFF2-40B4-BE49-F238E27FC236}">
                  <a16:creationId xmlns:a16="http://schemas.microsoft.com/office/drawing/2014/main" id="{DABB295D-A09A-40BC-EC16-535B48EF16B2}"/>
                </a:ext>
              </a:extLst>
            </p:cNvPr>
            <p:cNvSpPr/>
            <p:nvPr/>
          </p:nvSpPr>
          <p:spPr>
            <a:xfrm>
              <a:off x="787899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7" name="Полилиния 216">
              <a:extLst>
                <a:ext uri="{FF2B5EF4-FFF2-40B4-BE49-F238E27FC236}">
                  <a16:creationId xmlns:a16="http://schemas.microsoft.com/office/drawing/2014/main" id="{44C01F2C-778B-FBFA-CE29-FCFE94BA8F8C}"/>
                </a:ext>
              </a:extLst>
            </p:cNvPr>
            <p:cNvSpPr/>
            <p:nvPr/>
          </p:nvSpPr>
          <p:spPr>
            <a:xfrm>
              <a:off x="649499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8" name="Полилиния 217">
              <a:extLst>
                <a:ext uri="{FF2B5EF4-FFF2-40B4-BE49-F238E27FC236}">
                  <a16:creationId xmlns:a16="http://schemas.microsoft.com/office/drawing/2014/main" id="{BEA11414-7F52-47D7-3A22-65631170CF9A}"/>
                </a:ext>
              </a:extLst>
            </p:cNvPr>
            <p:cNvSpPr/>
            <p:nvPr/>
          </p:nvSpPr>
          <p:spPr>
            <a:xfrm>
              <a:off x="653963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9" name="Полилиния 218">
              <a:extLst>
                <a:ext uri="{FF2B5EF4-FFF2-40B4-BE49-F238E27FC236}">
                  <a16:creationId xmlns:a16="http://schemas.microsoft.com/office/drawing/2014/main" id="{72407101-2706-A001-A664-E3E4EF8ED531}"/>
                </a:ext>
              </a:extLst>
            </p:cNvPr>
            <p:cNvSpPr/>
            <p:nvPr/>
          </p:nvSpPr>
          <p:spPr>
            <a:xfrm>
              <a:off x="658427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0" name="Полилиния 219">
              <a:extLst>
                <a:ext uri="{FF2B5EF4-FFF2-40B4-BE49-F238E27FC236}">
                  <a16:creationId xmlns:a16="http://schemas.microsoft.com/office/drawing/2014/main" id="{43FB7881-681B-251C-8C82-999532E04E8A}"/>
                </a:ext>
              </a:extLst>
            </p:cNvPr>
            <p:cNvSpPr/>
            <p:nvPr/>
          </p:nvSpPr>
          <p:spPr>
            <a:xfrm>
              <a:off x="6628910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1" name="Полилиния 220">
              <a:extLst>
                <a:ext uri="{FF2B5EF4-FFF2-40B4-BE49-F238E27FC236}">
                  <a16:creationId xmlns:a16="http://schemas.microsoft.com/office/drawing/2014/main" id="{26511C41-5B94-F6F7-337B-5CD00E85475E}"/>
                </a:ext>
              </a:extLst>
            </p:cNvPr>
            <p:cNvSpPr/>
            <p:nvPr/>
          </p:nvSpPr>
          <p:spPr>
            <a:xfrm>
              <a:off x="671818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2" name="Полилиния 221">
              <a:extLst>
                <a:ext uri="{FF2B5EF4-FFF2-40B4-BE49-F238E27FC236}">
                  <a16:creationId xmlns:a16="http://schemas.microsoft.com/office/drawing/2014/main" id="{D334D12A-5AA5-DCA2-559D-8D5EC664B5C1}"/>
                </a:ext>
              </a:extLst>
            </p:cNvPr>
            <p:cNvSpPr/>
            <p:nvPr/>
          </p:nvSpPr>
          <p:spPr>
            <a:xfrm>
              <a:off x="676282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3" name="Полилиния 222">
              <a:extLst>
                <a:ext uri="{FF2B5EF4-FFF2-40B4-BE49-F238E27FC236}">
                  <a16:creationId xmlns:a16="http://schemas.microsoft.com/office/drawing/2014/main" id="{A0D3FA9F-6399-2545-2331-BDCE16DBED84}"/>
                </a:ext>
              </a:extLst>
            </p:cNvPr>
            <p:cNvSpPr/>
            <p:nvPr/>
          </p:nvSpPr>
          <p:spPr>
            <a:xfrm>
              <a:off x="698611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4" name="Полилиния 223">
              <a:extLst>
                <a:ext uri="{FF2B5EF4-FFF2-40B4-BE49-F238E27FC236}">
                  <a16:creationId xmlns:a16="http://schemas.microsoft.com/office/drawing/2014/main" id="{F5FD6456-158C-D169-0265-5A98B2329EA7}"/>
                </a:ext>
              </a:extLst>
            </p:cNvPr>
            <p:cNvSpPr/>
            <p:nvPr/>
          </p:nvSpPr>
          <p:spPr>
            <a:xfrm>
              <a:off x="707539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5" name="Полилиния 224">
              <a:extLst>
                <a:ext uri="{FF2B5EF4-FFF2-40B4-BE49-F238E27FC236}">
                  <a16:creationId xmlns:a16="http://schemas.microsoft.com/office/drawing/2014/main" id="{A8DB75FC-D3CB-2629-4538-7B08669A75ED}"/>
                </a:ext>
              </a:extLst>
            </p:cNvPr>
            <p:cNvSpPr/>
            <p:nvPr/>
          </p:nvSpPr>
          <p:spPr>
            <a:xfrm>
              <a:off x="7120037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6" name="Полилиния 225">
              <a:extLst>
                <a:ext uri="{FF2B5EF4-FFF2-40B4-BE49-F238E27FC236}">
                  <a16:creationId xmlns:a16="http://schemas.microsoft.com/office/drawing/2014/main" id="{9EECB70B-A297-E1C0-7BEE-CFDAEE5E3B0F}"/>
                </a:ext>
              </a:extLst>
            </p:cNvPr>
            <p:cNvSpPr/>
            <p:nvPr/>
          </p:nvSpPr>
          <p:spPr>
            <a:xfrm>
              <a:off x="7164676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7" name="Полилиния 226">
              <a:extLst>
                <a:ext uri="{FF2B5EF4-FFF2-40B4-BE49-F238E27FC236}">
                  <a16:creationId xmlns:a16="http://schemas.microsoft.com/office/drawing/2014/main" id="{D2CEC86A-F82F-5600-CCBC-F014003EAD16}"/>
                </a:ext>
              </a:extLst>
            </p:cNvPr>
            <p:cNvSpPr/>
            <p:nvPr/>
          </p:nvSpPr>
          <p:spPr>
            <a:xfrm>
              <a:off x="720931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8" name="Полилиния 227">
              <a:extLst>
                <a:ext uri="{FF2B5EF4-FFF2-40B4-BE49-F238E27FC236}">
                  <a16:creationId xmlns:a16="http://schemas.microsoft.com/office/drawing/2014/main" id="{344BF45B-1E00-7E5F-557D-DC1C1567405D}"/>
                </a:ext>
              </a:extLst>
            </p:cNvPr>
            <p:cNvSpPr/>
            <p:nvPr/>
          </p:nvSpPr>
          <p:spPr>
            <a:xfrm>
              <a:off x="725395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9" name="Полилиния 228">
              <a:extLst>
                <a:ext uri="{FF2B5EF4-FFF2-40B4-BE49-F238E27FC236}">
                  <a16:creationId xmlns:a16="http://schemas.microsoft.com/office/drawing/2014/main" id="{2EBBC00F-0C15-B376-B4CD-74126CB983DA}"/>
                </a:ext>
              </a:extLst>
            </p:cNvPr>
            <p:cNvSpPr/>
            <p:nvPr/>
          </p:nvSpPr>
          <p:spPr>
            <a:xfrm>
              <a:off x="734323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0" name="Полилиния 229">
              <a:extLst>
                <a:ext uri="{FF2B5EF4-FFF2-40B4-BE49-F238E27FC236}">
                  <a16:creationId xmlns:a16="http://schemas.microsoft.com/office/drawing/2014/main" id="{6AE8D584-DB17-7338-9A3E-F9887332999A}"/>
                </a:ext>
              </a:extLst>
            </p:cNvPr>
            <p:cNvSpPr/>
            <p:nvPr/>
          </p:nvSpPr>
          <p:spPr>
            <a:xfrm>
              <a:off x="747715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1" name="Полилиния 230">
              <a:extLst>
                <a:ext uri="{FF2B5EF4-FFF2-40B4-BE49-F238E27FC236}">
                  <a16:creationId xmlns:a16="http://schemas.microsoft.com/office/drawing/2014/main" id="{9DE64A35-9E19-8E73-0912-CB8902CC778F}"/>
                </a:ext>
              </a:extLst>
            </p:cNvPr>
            <p:cNvSpPr/>
            <p:nvPr/>
          </p:nvSpPr>
          <p:spPr>
            <a:xfrm>
              <a:off x="7566524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2" name="Полилиния 231">
              <a:extLst>
                <a:ext uri="{FF2B5EF4-FFF2-40B4-BE49-F238E27FC236}">
                  <a16:creationId xmlns:a16="http://schemas.microsoft.com/office/drawing/2014/main" id="{537C2437-9424-8F4B-9E04-D6F93B67B757}"/>
                </a:ext>
              </a:extLst>
            </p:cNvPr>
            <p:cNvSpPr/>
            <p:nvPr/>
          </p:nvSpPr>
          <p:spPr>
            <a:xfrm>
              <a:off x="778972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3" name="Полилиния 232">
              <a:extLst>
                <a:ext uri="{FF2B5EF4-FFF2-40B4-BE49-F238E27FC236}">
                  <a16:creationId xmlns:a16="http://schemas.microsoft.com/office/drawing/2014/main" id="{104151B3-606E-EB61-EB87-7007923E1F56}"/>
                </a:ext>
              </a:extLst>
            </p:cNvPr>
            <p:cNvSpPr/>
            <p:nvPr/>
          </p:nvSpPr>
          <p:spPr>
            <a:xfrm>
              <a:off x="787899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4" name="Полилиния 233">
              <a:extLst>
                <a:ext uri="{FF2B5EF4-FFF2-40B4-BE49-F238E27FC236}">
                  <a16:creationId xmlns:a16="http://schemas.microsoft.com/office/drawing/2014/main" id="{E7ACC6BE-304E-15F9-D47A-9F53906C2829}"/>
                </a:ext>
              </a:extLst>
            </p:cNvPr>
            <p:cNvSpPr/>
            <p:nvPr/>
          </p:nvSpPr>
          <p:spPr>
            <a:xfrm>
              <a:off x="645035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5" name="Полилиния 234">
              <a:extLst>
                <a:ext uri="{FF2B5EF4-FFF2-40B4-BE49-F238E27FC236}">
                  <a16:creationId xmlns:a16="http://schemas.microsoft.com/office/drawing/2014/main" id="{AC6390AD-2178-ED39-173A-45845F7812BF}"/>
                </a:ext>
              </a:extLst>
            </p:cNvPr>
            <p:cNvSpPr/>
            <p:nvPr/>
          </p:nvSpPr>
          <p:spPr>
            <a:xfrm>
              <a:off x="649499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6" name="Полилиния 235">
              <a:extLst>
                <a:ext uri="{FF2B5EF4-FFF2-40B4-BE49-F238E27FC236}">
                  <a16:creationId xmlns:a16="http://schemas.microsoft.com/office/drawing/2014/main" id="{F95F8BE8-F25D-8FB9-3602-4882820B17D8}"/>
                </a:ext>
              </a:extLst>
            </p:cNvPr>
            <p:cNvSpPr/>
            <p:nvPr/>
          </p:nvSpPr>
          <p:spPr>
            <a:xfrm>
              <a:off x="653963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7" name="Полилиния 236">
              <a:extLst>
                <a:ext uri="{FF2B5EF4-FFF2-40B4-BE49-F238E27FC236}">
                  <a16:creationId xmlns:a16="http://schemas.microsoft.com/office/drawing/2014/main" id="{B756CF05-39D0-05C8-1D36-101F04C3E666}"/>
                </a:ext>
              </a:extLst>
            </p:cNvPr>
            <p:cNvSpPr/>
            <p:nvPr/>
          </p:nvSpPr>
          <p:spPr>
            <a:xfrm>
              <a:off x="658427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8" name="Полилиния 237">
              <a:extLst>
                <a:ext uri="{FF2B5EF4-FFF2-40B4-BE49-F238E27FC236}">
                  <a16:creationId xmlns:a16="http://schemas.microsoft.com/office/drawing/2014/main" id="{3B1B314B-E48F-6415-8273-E01F1BC4F9E7}"/>
                </a:ext>
              </a:extLst>
            </p:cNvPr>
            <p:cNvSpPr/>
            <p:nvPr/>
          </p:nvSpPr>
          <p:spPr>
            <a:xfrm>
              <a:off x="662891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9" name="Полилиния 238">
              <a:extLst>
                <a:ext uri="{FF2B5EF4-FFF2-40B4-BE49-F238E27FC236}">
                  <a16:creationId xmlns:a16="http://schemas.microsoft.com/office/drawing/2014/main" id="{ADE858D7-AB68-4E47-71A4-6B3EC4A1315F}"/>
                </a:ext>
              </a:extLst>
            </p:cNvPr>
            <p:cNvSpPr/>
            <p:nvPr/>
          </p:nvSpPr>
          <p:spPr>
            <a:xfrm>
              <a:off x="676282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0" name="Полилиния 239">
              <a:extLst>
                <a:ext uri="{FF2B5EF4-FFF2-40B4-BE49-F238E27FC236}">
                  <a16:creationId xmlns:a16="http://schemas.microsoft.com/office/drawing/2014/main" id="{2C6F10E5-6907-D466-6C97-C83C200949B4}"/>
                </a:ext>
              </a:extLst>
            </p:cNvPr>
            <p:cNvSpPr/>
            <p:nvPr/>
          </p:nvSpPr>
          <p:spPr>
            <a:xfrm>
              <a:off x="680746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1" name="Полилиния 240">
              <a:extLst>
                <a:ext uri="{FF2B5EF4-FFF2-40B4-BE49-F238E27FC236}">
                  <a16:creationId xmlns:a16="http://schemas.microsoft.com/office/drawing/2014/main" id="{CC2C53B7-95D4-F851-410E-7F702FBECEAB}"/>
                </a:ext>
              </a:extLst>
            </p:cNvPr>
            <p:cNvSpPr/>
            <p:nvPr/>
          </p:nvSpPr>
          <p:spPr>
            <a:xfrm>
              <a:off x="689684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2" name="Полилиния 241">
              <a:extLst>
                <a:ext uri="{FF2B5EF4-FFF2-40B4-BE49-F238E27FC236}">
                  <a16:creationId xmlns:a16="http://schemas.microsoft.com/office/drawing/2014/main" id="{AABA3CE8-B0A8-7488-2F1F-AF4B66C5DE6B}"/>
                </a:ext>
              </a:extLst>
            </p:cNvPr>
            <p:cNvSpPr/>
            <p:nvPr/>
          </p:nvSpPr>
          <p:spPr>
            <a:xfrm>
              <a:off x="703075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3" name="Полилиния 242">
              <a:extLst>
                <a:ext uri="{FF2B5EF4-FFF2-40B4-BE49-F238E27FC236}">
                  <a16:creationId xmlns:a16="http://schemas.microsoft.com/office/drawing/2014/main" id="{FD46958A-5172-FEAA-1B4D-C2CA64E4F8A2}"/>
                </a:ext>
              </a:extLst>
            </p:cNvPr>
            <p:cNvSpPr/>
            <p:nvPr/>
          </p:nvSpPr>
          <p:spPr>
            <a:xfrm>
              <a:off x="712003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4" name="Полилиния 243">
              <a:extLst>
                <a:ext uri="{FF2B5EF4-FFF2-40B4-BE49-F238E27FC236}">
                  <a16:creationId xmlns:a16="http://schemas.microsoft.com/office/drawing/2014/main" id="{4BBA19C9-F20B-D134-37C4-FCDDFECBD706}"/>
                </a:ext>
              </a:extLst>
            </p:cNvPr>
            <p:cNvSpPr/>
            <p:nvPr/>
          </p:nvSpPr>
          <p:spPr>
            <a:xfrm>
              <a:off x="720931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5" name="Полилиния 244">
              <a:extLst>
                <a:ext uri="{FF2B5EF4-FFF2-40B4-BE49-F238E27FC236}">
                  <a16:creationId xmlns:a16="http://schemas.microsoft.com/office/drawing/2014/main" id="{05B72AC1-8F03-000F-3E5C-8A2E43F73E9E}"/>
                </a:ext>
              </a:extLst>
            </p:cNvPr>
            <p:cNvSpPr/>
            <p:nvPr/>
          </p:nvSpPr>
          <p:spPr>
            <a:xfrm>
              <a:off x="725395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6" name="Полилиния 245">
              <a:extLst>
                <a:ext uri="{FF2B5EF4-FFF2-40B4-BE49-F238E27FC236}">
                  <a16:creationId xmlns:a16="http://schemas.microsoft.com/office/drawing/2014/main" id="{0500F979-8B20-9A42-1BAC-3A754A20A31B}"/>
                </a:ext>
              </a:extLst>
            </p:cNvPr>
            <p:cNvSpPr/>
            <p:nvPr/>
          </p:nvSpPr>
          <p:spPr>
            <a:xfrm>
              <a:off x="729859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7" name="Полилиния 246">
              <a:extLst>
                <a:ext uri="{FF2B5EF4-FFF2-40B4-BE49-F238E27FC236}">
                  <a16:creationId xmlns:a16="http://schemas.microsoft.com/office/drawing/2014/main" id="{B1DAFB58-A51F-DD05-1F51-46600EB34A57}"/>
                </a:ext>
              </a:extLst>
            </p:cNvPr>
            <p:cNvSpPr/>
            <p:nvPr/>
          </p:nvSpPr>
          <p:spPr>
            <a:xfrm>
              <a:off x="7432512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8" name="Полилиния 247">
              <a:extLst>
                <a:ext uri="{FF2B5EF4-FFF2-40B4-BE49-F238E27FC236}">
                  <a16:creationId xmlns:a16="http://schemas.microsoft.com/office/drawing/2014/main" id="{59273736-9760-79BD-11D8-6CBE219829DE}"/>
                </a:ext>
              </a:extLst>
            </p:cNvPr>
            <p:cNvSpPr/>
            <p:nvPr/>
          </p:nvSpPr>
          <p:spPr>
            <a:xfrm>
              <a:off x="747715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9732A1E7-E311-E12A-EB87-4EC3DCF60DC3}"/>
                </a:ext>
              </a:extLst>
            </p:cNvPr>
            <p:cNvSpPr/>
            <p:nvPr/>
          </p:nvSpPr>
          <p:spPr>
            <a:xfrm>
              <a:off x="756652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0" name="Полилиния 249">
              <a:extLst>
                <a:ext uri="{FF2B5EF4-FFF2-40B4-BE49-F238E27FC236}">
                  <a16:creationId xmlns:a16="http://schemas.microsoft.com/office/drawing/2014/main" id="{6B8B44D5-057B-F514-FA63-915572785A7B}"/>
                </a:ext>
              </a:extLst>
            </p:cNvPr>
            <p:cNvSpPr/>
            <p:nvPr/>
          </p:nvSpPr>
          <p:spPr>
            <a:xfrm>
              <a:off x="774508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1" name="Полилиния 250">
              <a:extLst>
                <a:ext uri="{FF2B5EF4-FFF2-40B4-BE49-F238E27FC236}">
                  <a16:creationId xmlns:a16="http://schemas.microsoft.com/office/drawing/2014/main" id="{EF46FAA5-BDFE-9459-C1D9-C43E96BC4C2E}"/>
                </a:ext>
              </a:extLst>
            </p:cNvPr>
            <p:cNvSpPr/>
            <p:nvPr/>
          </p:nvSpPr>
          <p:spPr>
            <a:xfrm>
              <a:off x="783436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2" name="Полилиния 251">
              <a:extLst>
                <a:ext uri="{FF2B5EF4-FFF2-40B4-BE49-F238E27FC236}">
                  <a16:creationId xmlns:a16="http://schemas.microsoft.com/office/drawing/2014/main" id="{7FD4A76F-6B11-91AA-216B-D60C1F084BE4}"/>
                </a:ext>
              </a:extLst>
            </p:cNvPr>
            <p:cNvSpPr/>
            <p:nvPr/>
          </p:nvSpPr>
          <p:spPr>
            <a:xfrm>
              <a:off x="653963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3" name="Полилиния 252">
              <a:extLst>
                <a:ext uri="{FF2B5EF4-FFF2-40B4-BE49-F238E27FC236}">
                  <a16:creationId xmlns:a16="http://schemas.microsoft.com/office/drawing/2014/main" id="{AF50FBF3-F5D6-AEA2-2752-E9E19BF93704}"/>
                </a:ext>
              </a:extLst>
            </p:cNvPr>
            <p:cNvSpPr/>
            <p:nvPr/>
          </p:nvSpPr>
          <p:spPr>
            <a:xfrm>
              <a:off x="6628910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4E7C4459-33DD-D2B3-DA7B-738EEEFA9D3A}"/>
                </a:ext>
              </a:extLst>
            </p:cNvPr>
            <p:cNvSpPr/>
            <p:nvPr/>
          </p:nvSpPr>
          <p:spPr>
            <a:xfrm>
              <a:off x="667354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5" name="Полилиния 254">
              <a:extLst>
                <a:ext uri="{FF2B5EF4-FFF2-40B4-BE49-F238E27FC236}">
                  <a16:creationId xmlns:a16="http://schemas.microsoft.com/office/drawing/2014/main" id="{059FCA12-EDEF-87F3-5BEC-5C22165C5C19}"/>
                </a:ext>
              </a:extLst>
            </p:cNvPr>
            <p:cNvSpPr/>
            <p:nvPr/>
          </p:nvSpPr>
          <p:spPr>
            <a:xfrm>
              <a:off x="671818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6" name="Полилиния 255">
              <a:extLst>
                <a:ext uri="{FF2B5EF4-FFF2-40B4-BE49-F238E27FC236}">
                  <a16:creationId xmlns:a16="http://schemas.microsoft.com/office/drawing/2014/main" id="{183983F3-014D-7AB7-41F7-6D02053AFABD}"/>
                </a:ext>
              </a:extLst>
            </p:cNvPr>
            <p:cNvSpPr/>
            <p:nvPr/>
          </p:nvSpPr>
          <p:spPr>
            <a:xfrm>
              <a:off x="6852106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7" name="Полилиния 256">
              <a:extLst>
                <a:ext uri="{FF2B5EF4-FFF2-40B4-BE49-F238E27FC236}">
                  <a16:creationId xmlns:a16="http://schemas.microsoft.com/office/drawing/2014/main" id="{35FC6A1E-7A44-DBE6-1D09-119454D1689E}"/>
                </a:ext>
              </a:extLst>
            </p:cNvPr>
            <p:cNvSpPr/>
            <p:nvPr/>
          </p:nvSpPr>
          <p:spPr>
            <a:xfrm>
              <a:off x="7253955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8" name="Полилиния 257">
              <a:extLst>
                <a:ext uri="{FF2B5EF4-FFF2-40B4-BE49-F238E27FC236}">
                  <a16:creationId xmlns:a16="http://schemas.microsoft.com/office/drawing/2014/main" id="{524126F1-325C-03D4-C1E7-15E695D3FD50}"/>
                </a:ext>
              </a:extLst>
            </p:cNvPr>
            <p:cNvSpPr/>
            <p:nvPr/>
          </p:nvSpPr>
          <p:spPr>
            <a:xfrm>
              <a:off x="7432512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7F41BAD4-779E-CC6F-1DD1-B5A7D32E03E2}"/>
                </a:ext>
              </a:extLst>
            </p:cNvPr>
            <p:cNvSpPr/>
            <p:nvPr/>
          </p:nvSpPr>
          <p:spPr>
            <a:xfrm>
              <a:off x="747715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0" name="Полилиния 259">
              <a:extLst>
                <a:ext uri="{FF2B5EF4-FFF2-40B4-BE49-F238E27FC236}">
                  <a16:creationId xmlns:a16="http://schemas.microsoft.com/office/drawing/2014/main" id="{60039CEB-D415-48F4-4D07-40617F9E4421}"/>
                </a:ext>
              </a:extLst>
            </p:cNvPr>
            <p:cNvSpPr/>
            <p:nvPr/>
          </p:nvSpPr>
          <p:spPr>
            <a:xfrm>
              <a:off x="7611164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" name="Полилиния 260">
              <a:extLst>
                <a:ext uri="{FF2B5EF4-FFF2-40B4-BE49-F238E27FC236}">
                  <a16:creationId xmlns:a16="http://schemas.microsoft.com/office/drawing/2014/main" id="{AC065DEE-F192-D388-0A75-C476B546E838}"/>
                </a:ext>
              </a:extLst>
            </p:cNvPr>
            <p:cNvSpPr/>
            <p:nvPr/>
          </p:nvSpPr>
          <p:spPr>
            <a:xfrm>
              <a:off x="649499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" name="Полилиния 261">
              <a:extLst>
                <a:ext uri="{FF2B5EF4-FFF2-40B4-BE49-F238E27FC236}">
                  <a16:creationId xmlns:a16="http://schemas.microsoft.com/office/drawing/2014/main" id="{90DC3D24-7D2A-8823-5C27-FD29AD5F7CB8}"/>
                </a:ext>
              </a:extLst>
            </p:cNvPr>
            <p:cNvSpPr/>
            <p:nvPr/>
          </p:nvSpPr>
          <p:spPr>
            <a:xfrm>
              <a:off x="6628910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" name="Полилиния 262">
              <a:extLst>
                <a:ext uri="{FF2B5EF4-FFF2-40B4-BE49-F238E27FC236}">
                  <a16:creationId xmlns:a16="http://schemas.microsoft.com/office/drawing/2014/main" id="{E838DC94-DAB5-5842-0E5B-78E3C2BD8003}"/>
                </a:ext>
              </a:extLst>
            </p:cNvPr>
            <p:cNvSpPr/>
            <p:nvPr/>
          </p:nvSpPr>
          <p:spPr>
            <a:xfrm>
              <a:off x="667354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" name="Полилиния 263">
              <a:extLst>
                <a:ext uri="{FF2B5EF4-FFF2-40B4-BE49-F238E27FC236}">
                  <a16:creationId xmlns:a16="http://schemas.microsoft.com/office/drawing/2014/main" id="{32E90591-8E35-C875-70BF-2E3F9EF5B07D}"/>
                </a:ext>
              </a:extLst>
            </p:cNvPr>
            <p:cNvSpPr/>
            <p:nvPr/>
          </p:nvSpPr>
          <p:spPr>
            <a:xfrm>
              <a:off x="685210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" name="Полилиния 264">
              <a:extLst>
                <a:ext uri="{FF2B5EF4-FFF2-40B4-BE49-F238E27FC236}">
                  <a16:creationId xmlns:a16="http://schemas.microsoft.com/office/drawing/2014/main" id="{8DB18D4E-8564-E1C5-DD45-8475306F6598}"/>
                </a:ext>
              </a:extLst>
            </p:cNvPr>
            <p:cNvSpPr/>
            <p:nvPr/>
          </p:nvSpPr>
          <p:spPr>
            <a:xfrm>
              <a:off x="689684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" name="Полилиния 265">
              <a:extLst>
                <a:ext uri="{FF2B5EF4-FFF2-40B4-BE49-F238E27FC236}">
                  <a16:creationId xmlns:a16="http://schemas.microsoft.com/office/drawing/2014/main" id="{51C197F2-EBE9-F6CB-64F8-9D67A411A151}"/>
                </a:ext>
              </a:extLst>
            </p:cNvPr>
            <p:cNvSpPr/>
            <p:nvPr/>
          </p:nvSpPr>
          <p:spPr>
            <a:xfrm>
              <a:off x="7075398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" name="Полилиния 266">
              <a:extLst>
                <a:ext uri="{FF2B5EF4-FFF2-40B4-BE49-F238E27FC236}">
                  <a16:creationId xmlns:a16="http://schemas.microsoft.com/office/drawing/2014/main" id="{53458AC1-9D90-E5D2-1793-1367D89FB8E7}"/>
                </a:ext>
              </a:extLst>
            </p:cNvPr>
            <p:cNvSpPr/>
            <p:nvPr/>
          </p:nvSpPr>
          <p:spPr>
            <a:xfrm>
              <a:off x="716467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" name="Полилиния 267">
              <a:extLst>
                <a:ext uri="{FF2B5EF4-FFF2-40B4-BE49-F238E27FC236}">
                  <a16:creationId xmlns:a16="http://schemas.microsoft.com/office/drawing/2014/main" id="{5A361043-605C-B74D-C8AE-FB873770DE41}"/>
                </a:ext>
              </a:extLst>
            </p:cNvPr>
            <p:cNvSpPr/>
            <p:nvPr/>
          </p:nvSpPr>
          <p:spPr>
            <a:xfrm>
              <a:off x="7209315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" name="Полилиния 268">
              <a:extLst>
                <a:ext uri="{FF2B5EF4-FFF2-40B4-BE49-F238E27FC236}">
                  <a16:creationId xmlns:a16="http://schemas.microsoft.com/office/drawing/2014/main" id="{7EECA926-E9C3-672F-D4F0-CB459F154CC0}"/>
                </a:ext>
              </a:extLst>
            </p:cNvPr>
            <p:cNvSpPr/>
            <p:nvPr/>
          </p:nvSpPr>
          <p:spPr>
            <a:xfrm>
              <a:off x="734323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" name="Полилиния 269">
              <a:extLst>
                <a:ext uri="{FF2B5EF4-FFF2-40B4-BE49-F238E27FC236}">
                  <a16:creationId xmlns:a16="http://schemas.microsoft.com/office/drawing/2014/main" id="{49E80F46-D50B-C3FF-EEDE-8B75CC37DE0E}"/>
                </a:ext>
              </a:extLst>
            </p:cNvPr>
            <p:cNvSpPr/>
            <p:nvPr/>
          </p:nvSpPr>
          <p:spPr>
            <a:xfrm>
              <a:off x="747715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" name="Полилиния 270">
              <a:extLst>
                <a:ext uri="{FF2B5EF4-FFF2-40B4-BE49-F238E27FC236}">
                  <a16:creationId xmlns:a16="http://schemas.microsoft.com/office/drawing/2014/main" id="{AE115DB8-056E-2D5C-76CE-5B3501CBB7A4}"/>
                </a:ext>
              </a:extLst>
            </p:cNvPr>
            <p:cNvSpPr/>
            <p:nvPr/>
          </p:nvSpPr>
          <p:spPr>
            <a:xfrm>
              <a:off x="7566524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" name="Полилиния 271">
              <a:extLst>
                <a:ext uri="{FF2B5EF4-FFF2-40B4-BE49-F238E27FC236}">
                  <a16:creationId xmlns:a16="http://schemas.microsoft.com/office/drawing/2014/main" id="{79E1BD6B-3691-990A-D8E4-43DF7B27ADB4}"/>
                </a:ext>
              </a:extLst>
            </p:cNvPr>
            <p:cNvSpPr/>
            <p:nvPr/>
          </p:nvSpPr>
          <p:spPr>
            <a:xfrm>
              <a:off x="765580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" name="Полилиния 273">
              <a:extLst>
                <a:ext uri="{FF2B5EF4-FFF2-40B4-BE49-F238E27FC236}">
                  <a16:creationId xmlns:a16="http://schemas.microsoft.com/office/drawing/2014/main" id="{85135A52-11C1-9032-AB41-49F1EFAD6FBE}"/>
                </a:ext>
              </a:extLst>
            </p:cNvPr>
            <p:cNvSpPr/>
            <p:nvPr/>
          </p:nvSpPr>
          <p:spPr>
            <a:xfrm>
              <a:off x="778972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" name="Полилиния 274">
              <a:extLst>
                <a:ext uri="{FF2B5EF4-FFF2-40B4-BE49-F238E27FC236}">
                  <a16:creationId xmlns:a16="http://schemas.microsoft.com/office/drawing/2014/main" id="{73BB7657-5F35-E3CC-3F90-1A53544B2211}"/>
                </a:ext>
              </a:extLst>
            </p:cNvPr>
            <p:cNvSpPr/>
            <p:nvPr/>
          </p:nvSpPr>
          <p:spPr>
            <a:xfrm>
              <a:off x="787899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" name="Полилиния 275">
              <a:extLst>
                <a:ext uri="{FF2B5EF4-FFF2-40B4-BE49-F238E27FC236}">
                  <a16:creationId xmlns:a16="http://schemas.microsoft.com/office/drawing/2014/main" id="{81C60136-6303-2E3B-1957-411F250B6BCB}"/>
                </a:ext>
              </a:extLst>
            </p:cNvPr>
            <p:cNvSpPr/>
            <p:nvPr/>
          </p:nvSpPr>
          <p:spPr>
            <a:xfrm>
              <a:off x="645035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" name="Полилиния 295">
              <a:extLst>
                <a:ext uri="{FF2B5EF4-FFF2-40B4-BE49-F238E27FC236}">
                  <a16:creationId xmlns:a16="http://schemas.microsoft.com/office/drawing/2014/main" id="{6E40ECCF-545A-6F8C-B6EE-5B16F682C98A}"/>
                </a:ext>
              </a:extLst>
            </p:cNvPr>
            <p:cNvSpPr/>
            <p:nvPr/>
          </p:nvSpPr>
          <p:spPr>
            <a:xfrm>
              <a:off x="653963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" name="Полилиния 296">
              <a:extLst>
                <a:ext uri="{FF2B5EF4-FFF2-40B4-BE49-F238E27FC236}">
                  <a16:creationId xmlns:a16="http://schemas.microsoft.com/office/drawing/2014/main" id="{2FE0B9DA-B7E1-B6D8-BA81-89420AC64F41}"/>
                </a:ext>
              </a:extLst>
            </p:cNvPr>
            <p:cNvSpPr/>
            <p:nvPr/>
          </p:nvSpPr>
          <p:spPr>
            <a:xfrm>
              <a:off x="658427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" name="Полилиния 297">
              <a:extLst>
                <a:ext uri="{FF2B5EF4-FFF2-40B4-BE49-F238E27FC236}">
                  <a16:creationId xmlns:a16="http://schemas.microsoft.com/office/drawing/2014/main" id="{5EAAFC26-E1C9-A55E-800A-69E941B5DD17}"/>
                </a:ext>
              </a:extLst>
            </p:cNvPr>
            <p:cNvSpPr/>
            <p:nvPr/>
          </p:nvSpPr>
          <p:spPr>
            <a:xfrm>
              <a:off x="662891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" name="Полилиния 298">
              <a:extLst>
                <a:ext uri="{FF2B5EF4-FFF2-40B4-BE49-F238E27FC236}">
                  <a16:creationId xmlns:a16="http://schemas.microsoft.com/office/drawing/2014/main" id="{E6FBDAD6-F532-A406-D2D4-370D1EEEA63C}"/>
                </a:ext>
              </a:extLst>
            </p:cNvPr>
            <p:cNvSpPr/>
            <p:nvPr/>
          </p:nvSpPr>
          <p:spPr>
            <a:xfrm>
              <a:off x="667354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" name="Полилиния 299">
              <a:extLst>
                <a:ext uri="{FF2B5EF4-FFF2-40B4-BE49-F238E27FC236}">
                  <a16:creationId xmlns:a16="http://schemas.microsoft.com/office/drawing/2014/main" id="{C0A5DBDB-8510-4AC1-B8FB-D18EF5BDFCE3}"/>
                </a:ext>
              </a:extLst>
            </p:cNvPr>
            <p:cNvSpPr/>
            <p:nvPr/>
          </p:nvSpPr>
          <p:spPr>
            <a:xfrm>
              <a:off x="671818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" name="Полилиния 300">
              <a:extLst>
                <a:ext uri="{FF2B5EF4-FFF2-40B4-BE49-F238E27FC236}">
                  <a16:creationId xmlns:a16="http://schemas.microsoft.com/office/drawing/2014/main" id="{84D4ECA7-2A6F-4754-FC8C-6A19F5DA7D8A}"/>
                </a:ext>
              </a:extLst>
            </p:cNvPr>
            <p:cNvSpPr/>
            <p:nvPr/>
          </p:nvSpPr>
          <p:spPr>
            <a:xfrm>
              <a:off x="6762828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" name="Полилиния 301">
              <a:extLst>
                <a:ext uri="{FF2B5EF4-FFF2-40B4-BE49-F238E27FC236}">
                  <a16:creationId xmlns:a16="http://schemas.microsoft.com/office/drawing/2014/main" id="{45B9FFBA-5F8A-9238-D438-3608178154DC}"/>
                </a:ext>
              </a:extLst>
            </p:cNvPr>
            <p:cNvSpPr/>
            <p:nvPr/>
          </p:nvSpPr>
          <p:spPr>
            <a:xfrm>
              <a:off x="680746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" name="Полилиния 302">
              <a:extLst>
                <a:ext uri="{FF2B5EF4-FFF2-40B4-BE49-F238E27FC236}">
                  <a16:creationId xmlns:a16="http://schemas.microsoft.com/office/drawing/2014/main" id="{5F35FE0A-6CCD-BD53-F291-6D75D3534A95}"/>
                </a:ext>
              </a:extLst>
            </p:cNvPr>
            <p:cNvSpPr/>
            <p:nvPr/>
          </p:nvSpPr>
          <p:spPr>
            <a:xfrm>
              <a:off x="6852106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" name="Полилиния 303">
              <a:extLst>
                <a:ext uri="{FF2B5EF4-FFF2-40B4-BE49-F238E27FC236}">
                  <a16:creationId xmlns:a16="http://schemas.microsoft.com/office/drawing/2014/main" id="{A388393E-E985-1853-0D1D-6CE8481CCFDE}"/>
                </a:ext>
              </a:extLst>
            </p:cNvPr>
            <p:cNvSpPr/>
            <p:nvPr/>
          </p:nvSpPr>
          <p:spPr>
            <a:xfrm>
              <a:off x="689684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" name="Полилиния 304">
              <a:extLst>
                <a:ext uri="{FF2B5EF4-FFF2-40B4-BE49-F238E27FC236}">
                  <a16:creationId xmlns:a16="http://schemas.microsoft.com/office/drawing/2014/main" id="{CFD71F9A-1995-86A0-54E8-1BDA41362F4C}"/>
                </a:ext>
              </a:extLst>
            </p:cNvPr>
            <p:cNvSpPr/>
            <p:nvPr/>
          </p:nvSpPr>
          <p:spPr>
            <a:xfrm>
              <a:off x="694148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" name="Полилиния 305">
              <a:extLst>
                <a:ext uri="{FF2B5EF4-FFF2-40B4-BE49-F238E27FC236}">
                  <a16:creationId xmlns:a16="http://schemas.microsoft.com/office/drawing/2014/main" id="{E7D393AF-B993-F1AB-33AD-FA256DE5936B}"/>
                </a:ext>
              </a:extLst>
            </p:cNvPr>
            <p:cNvSpPr/>
            <p:nvPr/>
          </p:nvSpPr>
          <p:spPr>
            <a:xfrm>
              <a:off x="712003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" name="Полилиния 306">
              <a:extLst>
                <a:ext uri="{FF2B5EF4-FFF2-40B4-BE49-F238E27FC236}">
                  <a16:creationId xmlns:a16="http://schemas.microsoft.com/office/drawing/2014/main" id="{69D7C069-4768-D88B-C1E5-C5F5C70B141A}"/>
                </a:ext>
              </a:extLst>
            </p:cNvPr>
            <p:cNvSpPr/>
            <p:nvPr/>
          </p:nvSpPr>
          <p:spPr>
            <a:xfrm>
              <a:off x="734323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" name="Полилиния 307">
              <a:extLst>
                <a:ext uri="{FF2B5EF4-FFF2-40B4-BE49-F238E27FC236}">
                  <a16:creationId xmlns:a16="http://schemas.microsoft.com/office/drawing/2014/main" id="{3EC1055A-22D1-AB4D-5396-725649AC965A}"/>
                </a:ext>
              </a:extLst>
            </p:cNvPr>
            <p:cNvSpPr/>
            <p:nvPr/>
          </p:nvSpPr>
          <p:spPr>
            <a:xfrm>
              <a:off x="7432512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" name="Полилиния 308">
              <a:extLst>
                <a:ext uri="{FF2B5EF4-FFF2-40B4-BE49-F238E27FC236}">
                  <a16:creationId xmlns:a16="http://schemas.microsoft.com/office/drawing/2014/main" id="{2E6BE152-02DF-4543-A164-E65F8BD5D4BE}"/>
                </a:ext>
              </a:extLst>
            </p:cNvPr>
            <p:cNvSpPr/>
            <p:nvPr/>
          </p:nvSpPr>
          <p:spPr>
            <a:xfrm>
              <a:off x="747715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" name="Полилиния 309">
              <a:extLst>
                <a:ext uri="{FF2B5EF4-FFF2-40B4-BE49-F238E27FC236}">
                  <a16:creationId xmlns:a16="http://schemas.microsoft.com/office/drawing/2014/main" id="{0163304B-D849-C2C3-85F4-D89F649F75D5}"/>
                </a:ext>
              </a:extLst>
            </p:cNvPr>
            <p:cNvSpPr/>
            <p:nvPr/>
          </p:nvSpPr>
          <p:spPr>
            <a:xfrm>
              <a:off x="774508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" name="Полилиния 310">
              <a:extLst>
                <a:ext uri="{FF2B5EF4-FFF2-40B4-BE49-F238E27FC236}">
                  <a16:creationId xmlns:a16="http://schemas.microsoft.com/office/drawing/2014/main" id="{152DFD4B-A198-29DD-9B00-DBA612EC2F1A}"/>
                </a:ext>
              </a:extLst>
            </p:cNvPr>
            <p:cNvSpPr/>
            <p:nvPr/>
          </p:nvSpPr>
          <p:spPr>
            <a:xfrm>
              <a:off x="778972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" name="Полилиния 311">
              <a:extLst>
                <a:ext uri="{FF2B5EF4-FFF2-40B4-BE49-F238E27FC236}">
                  <a16:creationId xmlns:a16="http://schemas.microsoft.com/office/drawing/2014/main" id="{AD5697D2-95DD-12EF-160F-F6E1F3D5406E}"/>
                </a:ext>
              </a:extLst>
            </p:cNvPr>
            <p:cNvSpPr/>
            <p:nvPr/>
          </p:nvSpPr>
          <p:spPr>
            <a:xfrm>
              <a:off x="787899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" name="Полилиния 312">
              <a:extLst>
                <a:ext uri="{FF2B5EF4-FFF2-40B4-BE49-F238E27FC236}">
                  <a16:creationId xmlns:a16="http://schemas.microsoft.com/office/drawing/2014/main" id="{60C2B5A1-B702-61AE-2354-902612AB9B49}"/>
                </a:ext>
              </a:extLst>
            </p:cNvPr>
            <p:cNvSpPr/>
            <p:nvPr/>
          </p:nvSpPr>
          <p:spPr>
            <a:xfrm>
              <a:off x="649499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" name="Полилиния 313">
              <a:extLst>
                <a:ext uri="{FF2B5EF4-FFF2-40B4-BE49-F238E27FC236}">
                  <a16:creationId xmlns:a16="http://schemas.microsoft.com/office/drawing/2014/main" id="{21C29BC4-81C2-0679-8AB6-087DCADE4BEB}"/>
                </a:ext>
              </a:extLst>
            </p:cNvPr>
            <p:cNvSpPr/>
            <p:nvPr/>
          </p:nvSpPr>
          <p:spPr>
            <a:xfrm>
              <a:off x="653963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" name="Полилиния 314">
              <a:extLst>
                <a:ext uri="{FF2B5EF4-FFF2-40B4-BE49-F238E27FC236}">
                  <a16:creationId xmlns:a16="http://schemas.microsoft.com/office/drawing/2014/main" id="{22991EDE-592B-892D-80DB-16694D1FB74F}"/>
                </a:ext>
              </a:extLst>
            </p:cNvPr>
            <p:cNvSpPr/>
            <p:nvPr/>
          </p:nvSpPr>
          <p:spPr>
            <a:xfrm>
              <a:off x="667354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" name="Полилиния 315">
              <a:extLst>
                <a:ext uri="{FF2B5EF4-FFF2-40B4-BE49-F238E27FC236}">
                  <a16:creationId xmlns:a16="http://schemas.microsoft.com/office/drawing/2014/main" id="{17CA6753-ECF2-1545-31E6-75112DC5F3F3}"/>
                </a:ext>
              </a:extLst>
            </p:cNvPr>
            <p:cNvSpPr/>
            <p:nvPr/>
          </p:nvSpPr>
          <p:spPr>
            <a:xfrm>
              <a:off x="676282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" name="Полилиния 316">
              <a:extLst>
                <a:ext uri="{FF2B5EF4-FFF2-40B4-BE49-F238E27FC236}">
                  <a16:creationId xmlns:a16="http://schemas.microsoft.com/office/drawing/2014/main" id="{99CC0304-2A93-3D8A-46FE-6268A5929EE7}"/>
                </a:ext>
              </a:extLst>
            </p:cNvPr>
            <p:cNvSpPr/>
            <p:nvPr/>
          </p:nvSpPr>
          <p:spPr>
            <a:xfrm>
              <a:off x="689684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" name="Полилиния 317">
              <a:extLst>
                <a:ext uri="{FF2B5EF4-FFF2-40B4-BE49-F238E27FC236}">
                  <a16:creationId xmlns:a16="http://schemas.microsoft.com/office/drawing/2014/main" id="{C9B55BE2-33A5-8ACB-3A42-F4EAA316A4FC}"/>
                </a:ext>
              </a:extLst>
            </p:cNvPr>
            <p:cNvSpPr/>
            <p:nvPr/>
          </p:nvSpPr>
          <p:spPr>
            <a:xfrm>
              <a:off x="6941480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" name="Полилиния 318">
              <a:extLst>
                <a:ext uri="{FF2B5EF4-FFF2-40B4-BE49-F238E27FC236}">
                  <a16:creationId xmlns:a16="http://schemas.microsoft.com/office/drawing/2014/main" id="{2A7DBB42-4D3E-C3C5-C873-0750BE5CDF79}"/>
                </a:ext>
              </a:extLst>
            </p:cNvPr>
            <p:cNvSpPr/>
            <p:nvPr/>
          </p:nvSpPr>
          <p:spPr>
            <a:xfrm>
              <a:off x="707539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" name="Полилиния 319">
              <a:extLst>
                <a:ext uri="{FF2B5EF4-FFF2-40B4-BE49-F238E27FC236}">
                  <a16:creationId xmlns:a16="http://schemas.microsoft.com/office/drawing/2014/main" id="{F976CED7-F5CF-5B71-6025-B17B79B7436C}"/>
                </a:ext>
              </a:extLst>
            </p:cNvPr>
            <p:cNvSpPr/>
            <p:nvPr/>
          </p:nvSpPr>
          <p:spPr>
            <a:xfrm>
              <a:off x="7120037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" name="Полилиния 320">
              <a:extLst>
                <a:ext uri="{FF2B5EF4-FFF2-40B4-BE49-F238E27FC236}">
                  <a16:creationId xmlns:a16="http://schemas.microsoft.com/office/drawing/2014/main" id="{13D6E029-BB33-3B26-3112-AC1F1DD8233E}"/>
                </a:ext>
              </a:extLst>
            </p:cNvPr>
            <p:cNvSpPr/>
            <p:nvPr/>
          </p:nvSpPr>
          <p:spPr>
            <a:xfrm>
              <a:off x="7209315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" name="Полилиния 321">
              <a:extLst>
                <a:ext uri="{FF2B5EF4-FFF2-40B4-BE49-F238E27FC236}">
                  <a16:creationId xmlns:a16="http://schemas.microsoft.com/office/drawing/2014/main" id="{FCFA5420-DF70-1189-D06A-D5451C4257E7}"/>
                </a:ext>
              </a:extLst>
            </p:cNvPr>
            <p:cNvSpPr/>
            <p:nvPr/>
          </p:nvSpPr>
          <p:spPr>
            <a:xfrm>
              <a:off x="734323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" name="Полилиния 322">
              <a:extLst>
                <a:ext uri="{FF2B5EF4-FFF2-40B4-BE49-F238E27FC236}">
                  <a16:creationId xmlns:a16="http://schemas.microsoft.com/office/drawing/2014/main" id="{047DF1E4-2A83-4CFB-8CEB-555EBA002D87}"/>
                </a:ext>
              </a:extLst>
            </p:cNvPr>
            <p:cNvSpPr/>
            <p:nvPr/>
          </p:nvSpPr>
          <p:spPr>
            <a:xfrm>
              <a:off x="747715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" name="Полилиния 323">
              <a:extLst>
                <a:ext uri="{FF2B5EF4-FFF2-40B4-BE49-F238E27FC236}">
                  <a16:creationId xmlns:a16="http://schemas.microsoft.com/office/drawing/2014/main" id="{531174F2-7A12-E986-CD67-5F59506F95B3}"/>
                </a:ext>
              </a:extLst>
            </p:cNvPr>
            <p:cNvSpPr/>
            <p:nvPr/>
          </p:nvSpPr>
          <p:spPr>
            <a:xfrm>
              <a:off x="7611164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" name="Полилиния 324">
              <a:extLst>
                <a:ext uri="{FF2B5EF4-FFF2-40B4-BE49-F238E27FC236}">
                  <a16:creationId xmlns:a16="http://schemas.microsoft.com/office/drawing/2014/main" id="{A95E30B6-7B6A-87D0-74BA-46C02616F307}"/>
                </a:ext>
              </a:extLst>
            </p:cNvPr>
            <p:cNvSpPr/>
            <p:nvPr/>
          </p:nvSpPr>
          <p:spPr>
            <a:xfrm>
              <a:off x="765580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" name="Полилиния 325">
              <a:extLst>
                <a:ext uri="{FF2B5EF4-FFF2-40B4-BE49-F238E27FC236}">
                  <a16:creationId xmlns:a16="http://schemas.microsoft.com/office/drawing/2014/main" id="{CD107D46-05A2-B366-3B34-921C34720A90}"/>
                </a:ext>
              </a:extLst>
            </p:cNvPr>
            <p:cNvSpPr/>
            <p:nvPr/>
          </p:nvSpPr>
          <p:spPr>
            <a:xfrm>
              <a:off x="774508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" name="Полилиния 326">
              <a:extLst>
                <a:ext uri="{FF2B5EF4-FFF2-40B4-BE49-F238E27FC236}">
                  <a16:creationId xmlns:a16="http://schemas.microsoft.com/office/drawing/2014/main" id="{6D8193DE-DE73-DAF5-01C2-73B9CEC34E06}"/>
                </a:ext>
              </a:extLst>
            </p:cNvPr>
            <p:cNvSpPr/>
            <p:nvPr/>
          </p:nvSpPr>
          <p:spPr>
            <a:xfrm>
              <a:off x="787899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" name="Полилиния 327">
              <a:extLst>
                <a:ext uri="{FF2B5EF4-FFF2-40B4-BE49-F238E27FC236}">
                  <a16:creationId xmlns:a16="http://schemas.microsoft.com/office/drawing/2014/main" id="{B9FB7AD4-D396-9277-9413-36336499C727}"/>
                </a:ext>
              </a:extLst>
            </p:cNvPr>
            <p:cNvSpPr/>
            <p:nvPr/>
          </p:nvSpPr>
          <p:spPr>
            <a:xfrm>
              <a:off x="645035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" name="Полилиния 328">
              <a:extLst>
                <a:ext uri="{FF2B5EF4-FFF2-40B4-BE49-F238E27FC236}">
                  <a16:creationId xmlns:a16="http://schemas.microsoft.com/office/drawing/2014/main" id="{CBCA8733-5354-C4DB-F412-7479A7E83432}"/>
                </a:ext>
              </a:extLst>
            </p:cNvPr>
            <p:cNvSpPr/>
            <p:nvPr/>
          </p:nvSpPr>
          <p:spPr>
            <a:xfrm>
              <a:off x="649499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" name="Полилиния 329">
              <a:extLst>
                <a:ext uri="{FF2B5EF4-FFF2-40B4-BE49-F238E27FC236}">
                  <a16:creationId xmlns:a16="http://schemas.microsoft.com/office/drawing/2014/main" id="{F67D543E-51F2-1FEC-5EB1-C97E43B2B74A}"/>
                </a:ext>
              </a:extLst>
            </p:cNvPr>
            <p:cNvSpPr/>
            <p:nvPr/>
          </p:nvSpPr>
          <p:spPr>
            <a:xfrm>
              <a:off x="658427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" name="Полилиния 330">
              <a:extLst>
                <a:ext uri="{FF2B5EF4-FFF2-40B4-BE49-F238E27FC236}">
                  <a16:creationId xmlns:a16="http://schemas.microsoft.com/office/drawing/2014/main" id="{98D01845-0925-1657-D5B6-F2EEC3DB2E75}"/>
                </a:ext>
              </a:extLst>
            </p:cNvPr>
            <p:cNvSpPr/>
            <p:nvPr/>
          </p:nvSpPr>
          <p:spPr>
            <a:xfrm>
              <a:off x="662891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" name="Полилиния 331">
              <a:extLst>
                <a:ext uri="{FF2B5EF4-FFF2-40B4-BE49-F238E27FC236}">
                  <a16:creationId xmlns:a16="http://schemas.microsoft.com/office/drawing/2014/main" id="{DF832845-A475-B3B0-21C4-745C1BF5E251}"/>
                </a:ext>
              </a:extLst>
            </p:cNvPr>
            <p:cNvSpPr/>
            <p:nvPr/>
          </p:nvSpPr>
          <p:spPr>
            <a:xfrm>
              <a:off x="667354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" name="Полилиния 332">
              <a:extLst>
                <a:ext uri="{FF2B5EF4-FFF2-40B4-BE49-F238E27FC236}">
                  <a16:creationId xmlns:a16="http://schemas.microsoft.com/office/drawing/2014/main" id="{5D492ADB-14B4-E2FF-9586-84B64F665DAF}"/>
                </a:ext>
              </a:extLst>
            </p:cNvPr>
            <p:cNvSpPr/>
            <p:nvPr/>
          </p:nvSpPr>
          <p:spPr>
            <a:xfrm>
              <a:off x="671818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" name="Полилиния 333">
              <a:extLst>
                <a:ext uri="{FF2B5EF4-FFF2-40B4-BE49-F238E27FC236}">
                  <a16:creationId xmlns:a16="http://schemas.microsoft.com/office/drawing/2014/main" id="{807693DE-4EED-1619-7112-78C59E94B6F3}"/>
                </a:ext>
              </a:extLst>
            </p:cNvPr>
            <p:cNvSpPr/>
            <p:nvPr/>
          </p:nvSpPr>
          <p:spPr>
            <a:xfrm>
              <a:off x="680746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" name="Полилиния 334">
              <a:extLst>
                <a:ext uri="{FF2B5EF4-FFF2-40B4-BE49-F238E27FC236}">
                  <a16:creationId xmlns:a16="http://schemas.microsoft.com/office/drawing/2014/main" id="{3034FD9F-2167-6065-A890-F63DFC2495C2}"/>
                </a:ext>
              </a:extLst>
            </p:cNvPr>
            <p:cNvSpPr/>
            <p:nvPr/>
          </p:nvSpPr>
          <p:spPr>
            <a:xfrm>
              <a:off x="689684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" name="Полилиния 335">
              <a:extLst>
                <a:ext uri="{FF2B5EF4-FFF2-40B4-BE49-F238E27FC236}">
                  <a16:creationId xmlns:a16="http://schemas.microsoft.com/office/drawing/2014/main" id="{B1A238E2-ACA8-0CF6-0508-BA65A8AF1DD8}"/>
                </a:ext>
              </a:extLst>
            </p:cNvPr>
            <p:cNvSpPr/>
            <p:nvPr/>
          </p:nvSpPr>
          <p:spPr>
            <a:xfrm>
              <a:off x="694148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" name="Полилиния 336">
              <a:extLst>
                <a:ext uri="{FF2B5EF4-FFF2-40B4-BE49-F238E27FC236}">
                  <a16:creationId xmlns:a16="http://schemas.microsoft.com/office/drawing/2014/main" id="{73384646-97A8-21BB-09D4-06E15B19C016}"/>
                </a:ext>
              </a:extLst>
            </p:cNvPr>
            <p:cNvSpPr/>
            <p:nvPr/>
          </p:nvSpPr>
          <p:spPr>
            <a:xfrm>
              <a:off x="7030758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" name="Полилиния 337">
              <a:extLst>
                <a:ext uri="{FF2B5EF4-FFF2-40B4-BE49-F238E27FC236}">
                  <a16:creationId xmlns:a16="http://schemas.microsoft.com/office/drawing/2014/main" id="{443670A1-57DD-30EE-51D2-8C324608873D}"/>
                </a:ext>
              </a:extLst>
            </p:cNvPr>
            <p:cNvSpPr/>
            <p:nvPr/>
          </p:nvSpPr>
          <p:spPr>
            <a:xfrm>
              <a:off x="712003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" name="Полилиния 338">
              <a:extLst>
                <a:ext uri="{FF2B5EF4-FFF2-40B4-BE49-F238E27FC236}">
                  <a16:creationId xmlns:a16="http://schemas.microsoft.com/office/drawing/2014/main" id="{BF05D027-10B4-A9DD-F31C-7BD77BAFA800}"/>
                </a:ext>
              </a:extLst>
            </p:cNvPr>
            <p:cNvSpPr/>
            <p:nvPr/>
          </p:nvSpPr>
          <p:spPr>
            <a:xfrm>
              <a:off x="7253955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" name="Полилиния 339">
              <a:extLst>
                <a:ext uri="{FF2B5EF4-FFF2-40B4-BE49-F238E27FC236}">
                  <a16:creationId xmlns:a16="http://schemas.microsoft.com/office/drawing/2014/main" id="{681F96B3-EC74-1A50-6FD5-95558101E376}"/>
                </a:ext>
              </a:extLst>
            </p:cNvPr>
            <p:cNvSpPr/>
            <p:nvPr/>
          </p:nvSpPr>
          <p:spPr>
            <a:xfrm>
              <a:off x="7298594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" name="Полилиния 340">
              <a:extLst>
                <a:ext uri="{FF2B5EF4-FFF2-40B4-BE49-F238E27FC236}">
                  <a16:creationId xmlns:a16="http://schemas.microsoft.com/office/drawing/2014/main" id="{4E324197-4564-6C30-B4D4-78560504C6C4}"/>
                </a:ext>
              </a:extLst>
            </p:cNvPr>
            <p:cNvSpPr/>
            <p:nvPr/>
          </p:nvSpPr>
          <p:spPr>
            <a:xfrm>
              <a:off x="734323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" name="Полилиния 341">
              <a:extLst>
                <a:ext uri="{FF2B5EF4-FFF2-40B4-BE49-F238E27FC236}">
                  <a16:creationId xmlns:a16="http://schemas.microsoft.com/office/drawing/2014/main" id="{F90F2086-7FB1-BF37-FC25-ED1F64ACE0EB}"/>
                </a:ext>
              </a:extLst>
            </p:cNvPr>
            <p:cNvSpPr/>
            <p:nvPr/>
          </p:nvSpPr>
          <p:spPr>
            <a:xfrm>
              <a:off x="747715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" name="Полилиния 342">
              <a:extLst>
                <a:ext uri="{FF2B5EF4-FFF2-40B4-BE49-F238E27FC236}">
                  <a16:creationId xmlns:a16="http://schemas.microsoft.com/office/drawing/2014/main" id="{A902C540-54A0-D19D-CE99-7DF900B61BDE}"/>
                </a:ext>
              </a:extLst>
            </p:cNvPr>
            <p:cNvSpPr/>
            <p:nvPr/>
          </p:nvSpPr>
          <p:spPr>
            <a:xfrm>
              <a:off x="765580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" name="Полилиния 343">
              <a:extLst>
                <a:ext uri="{FF2B5EF4-FFF2-40B4-BE49-F238E27FC236}">
                  <a16:creationId xmlns:a16="http://schemas.microsoft.com/office/drawing/2014/main" id="{394D5420-A563-14FA-63A6-639F7B8ED4AC}"/>
                </a:ext>
              </a:extLst>
            </p:cNvPr>
            <p:cNvSpPr/>
            <p:nvPr/>
          </p:nvSpPr>
          <p:spPr>
            <a:xfrm>
              <a:off x="649499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" name="Полилиния 344">
              <a:extLst>
                <a:ext uri="{FF2B5EF4-FFF2-40B4-BE49-F238E27FC236}">
                  <a16:creationId xmlns:a16="http://schemas.microsoft.com/office/drawing/2014/main" id="{EF7C7AEE-66AD-62AD-A4EA-91DC6B8F2154}"/>
                </a:ext>
              </a:extLst>
            </p:cNvPr>
            <p:cNvSpPr/>
            <p:nvPr/>
          </p:nvSpPr>
          <p:spPr>
            <a:xfrm>
              <a:off x="653963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" name="Полилиния 345">
              <a:extLst>
                <a:ext uri="{FF2B5EF4-FFF2-40B4-BE49-F238E27FC236}">
                  <a16:creationId xmlns:a16="http://schemas.microsoft.com/office/drawing/2014/main" id="{4E9897C5-5E83-C727-732E-A4BAC99C2449}"/>
                </a:ext>
              </a:extLst>
            </p:cNvPr>
            <p:cNvSpPr/>
            <p:nvPr/>
          </p:nvSpPr>
          <p:spPr>
            <a:xfrm>
              <a:off x="658427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" name="Полилиния 346">
              <a:extLst>
                <a:ext uri="{FF2B5EF4-FFF2-40B4-BE49-F238E27FC236}">
                  <a16:creationId xmlns:a16="http://schemas.microsoft.com/office/drawing/2014/main" id="{6587FBF1-6216-F1C9-90AD-566807CD375B}"/>
                </a:ext>
              </a:extLst>
            </p:cNvPr>
            <p:cNvSpPr/>
            <p:nvPr/>
          </p:nvSpPr>
          <p:spPr>
            <a:xfrm>
              <a:off x="667354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" name="Полилиния 347">
              <a:extLst>
                <a:ext uri="{FF2B5EF4-FFF2-40B4-BE49-F238E27FC236}">
                  <a16:creationId xmlns:a16="http://schemas.microsoft.com/office/drawing/2014/main" id="{02660714-21A6-A613-910A-57FA15EBF3A9}"/>
                </a:ext>
              </a:extLst>
            </p:cNvPr>
            <p:cNvSpPr/>
            <p:nvPr/>
          </p:nvSpPr>
          <p:spPr>
            <a:xfrm>
              <a:off x="676282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" name="Полилиния 348">
              <a:extLst>
                <a:ext uri="{FF2B5EF4-FFF2-40B4-BE49-F238E27FC236}">
                  <a16:creationId xmlns:a16="http://schemas.microsoft.com/office/drawing/2014/main" id="{2ECA0B2F-3FFB-2E56-A719-9AEF8D09C369}"/>
                </a:ext>
              </a:extLst>
            </p:cNvPr>
            <p:cNvSpPr/>
            <p:nvPr/>
          </p:nvSpPr>
          <p:spPr>
            <a:xfrm>
              <a:off x="6807467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" name="Полилиния 349">
              <a:extLst>
                <a:ext uri="{FF2B5EF4-FFF2-40B4-BE49-F238E27FC236}">
                  <a16:creationId xmlns:a16="http://schemas.microsoft.com/office/drawing/2014/main" id="{3E8FD7AE-BEBF-2CD9-7B1E-9E3E8A4D5DA3}"/>
                </a:ext>
              </a:extLst>
            </p:cNvPr>
            <p:cNvSpPr/>
            <p:nvPr/>
          </p:nvSpPr>
          <p:spPr>
            <a:xfrm>
              <a:off x="685210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" name="Полилиния 350">
              <a:extLst>
                <a:ext uri="{FF2B5EF4-FFF2-40B4-BE49-F238E27FC236}">
                  <a16:creationId xmlns:a16="http://schemas.microsoft.com/office/drawing/2014/main" id="{218E5B38-AE6D-1BB5-6C38-000EFA7535EA}"/>
                </a:ext>
              </a:extLst>
            </p:cNvPr>
            <p:cNvSpPr/>
            <p:nvPr/>
          </p:nvSpPr>
          <p:spPr>
            <a:xfrm>
              <a:off x="703075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" name="Полилиния 351">
              <a:extLst>
                <a:ext uri="{FF2B5EF4-FFF2-40B4-BE49-F238E27FC236}">
                  <a16:creationId xmlns:a16="http://schemas.microsoft.com/office/drawing/2014/main" id="{A0C4D864-0421-1C1E-577A-A08FBBF8D108}"/>
                </a:ext>
              </a:extLst>
            </p:cNvPr>
            <p:cNvSpPr/>
            <p:nvPr/>
          </p:nvSpPr>
          <p:spPr>
            <a:xfrm>
              <a:off x="707539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" name="Полилиния 352">
              <a:extLst>
                <a:ext uri="{FF2B5EF4-FFF2-40B4-BE49-F238E27FC236}">
                  <a16:creationId xmlns:a16="http://schemas.microsoft.com/office/drawing/2014/main" id="{EE443848-11C4-F80D-13D5-05448B9FEE95}"/>
                </a:ext>
              </a:extLst>
            </p:cNvPr>
            <p:cNvSpPr/>
            <p:nvPr/>
          </p:nvSpPr>
          <p:spPr>
            <a:xfrm>
              <a:off x="716467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" name="Полилиния 353">
              <a:extLst>
                <a:ext uri="{FF2B5EF4-FFF2-40B4-BE49-F238E27FC236}">
                  <a16:creationId xmlns:a16="http://schemas.microsoft.com/office/drawing/2014/main" id="{314501DA-B082-2549-7137-A1F1E9306AFE}"/>
                </a:ext>
              </a:extLst>
            </p:cNvPr>
            <p:cNvSpPr/>
            <p:nvPr/>
          </p:nvSpPr>
          <p:spPr>
            <a:xfrm>
              <a:off x="720931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" name="Полилиния 354">
              <a:extLst>
                <a:ext uri="{FF2B5EF4-FFF2-40B4-BE49-F238E27FC236}">
                  <a16:creationId xmlns:a16="http://schemas.microsoft.com/office/drawing/2014/main" id="{2012FEFE-BD26-BA99-B108-3736AE6CFF10}"/>
                </a:ext>
              </a:extLst>
            </p:cNvPr>
            <p:cNvSpPr/>
            <p:nvPr/>
          </p:nvSpPr>
          <p:spPr>
            <a:xfrm>
              <a:off x="725395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" name="Полилиния 355">
              <a:extLst>
                <a:ext uri="{FF2B5EF4-FFF2-40B4-BE49-F238E27FC236}">
                  <a16:creationId xmlns:a16="http://schemas.microsoft.com/office/drawing/2014/main" id="{CD0C4F9C-B916-7AE6-1FF5-FFE99DEB08E6}"/>
                </a:ext>
              </a:extLst>
            </p:cNvPr>
            <p:cNvSpPr/>
            <p:nvPr/>
          </p:nvSpPr>
          <p:spPr>
            <a:xfrm>
              <a:off x="765580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" name="Полилиния 356">
              <a:extLst>
                <a:ext uri="{FF2B5EF4-FFF2-40B4-BE49-F238E27FC236}">
                  <a16:creationId xmlns:a16="http://schemas.microsoft.com/office/drawing/2014/main" id="{43D048B3-9390-21FC-0A94-5F4D221CDA43}"/>
                </a:ext>
              </a:extLst>
            </p:cNvPr>
            <p:cNvSpPr/>
            <p:nvPr/>
          </p:nvSpPr>
          <p:spPr>
            <a:xfrm>
              <a:off x="774508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" name="Полилиния 357">
              <a:extLst>
                <a:ext uri="{FF2B5EF4-FFF2-40B4-BE49-F238E27FC236}">
                  <a16:creationId xmlns:a16="http://schemas.microsoft.com/office/drawing/2014/main" id="{B1C063D4-D982-5FC7-FDEC-268E79514ABE}"/>
                </a:ext>
              </a:extLst>
            </p:cNvPr>
            <p:cNvSpPr/>
            <p:nvPr/>
          </p:nvSpPr>
          <p:spPr>
            <a:xfrm>
              <a:off x="778972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" name="Полилиния 358">
              <a:extLst>
                <a:ext uri="{FF2B5EF4-FFF2-40B4-BE49-F238E27FC236}">
                  <a16:creationId xmlns:a16="http://schemas.microsoft.com/office/drawing/2014/main" id="{AEF038B3-025D-5779-611B-4E13B1A9B8CE}"/>
                </a:ext>
              </a:extLst>
            </p:cNvPr>
            <p:cNvSpPr/>
            <p:nvPr/>
          </p:nvSpPr>
          <p:spPr>
            <a:xfrm>
              <a:off x="7834360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" name="Полилиния 359">
              <a:extLst>
                <a:ext uri="{FF2B5EF4-FFF2-40B4-BE49-F238E27FC236}">
                  <a16:creationId xmlns:a16="http://schemas.microsoft.com/office/drawing/2014/main" id="{2DB6B9D0-5C2D-4D71-E3FC-F0D881A446E4}"/>
                </a:ext>
              </a:extLst>
            </p:cNvPr>
            <p:cNvSpPr/>
            <p:nvPr/>
          </p:nvSpPr>
          <p:spPr>
            <a:xfrm>
              <a:off x="787899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" name="Полилиния 360">
              <a:extLst>
                <a:ext uri="{FF2B5EF4-FFF2-40B4-BE49-F238E27FC236}">
                  <a16:creationId xmlns:a16="http://schemas.microsoft.com/office/drawing/2014/main" id="{41B367E5-4CE1-6BA6-D4F3-2FF9661E742A}"/>
                </a:ext>
              </a:extLst>
            </p:cNvPr>
            <p:cNvSpPr/>
            <p:nvPr/>
          </p:nvSpPr>
          <p:spPr>
            <a:xfrm>
              <a:off x="645035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" name="Полилиния 361">
              <a:extLst>
                <a:ext uri="{FF2B5EF4-FFF2-40B4-BE49-F238E27FC236}">
                  <a16:creationId xmlns:a16="http://schemas.microsoft.com/office/drawing/2014/main" id="{6E0B7A81-0D2B-1D37-6475-34E08304019B}"/>
                </a:ext>
              </a:extLst>
            </p:cNvPr>
            <p:cNvSpPr/>
            <p:nvPr/>
          </p:nvSpPr>
          <p:spPr>
            <a:xfrm>
              <a:off x="649499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" name="Полилиния 362">
              <a:extLst>
                <a:ext uri="{FF2B5EF4-FFF2-40B4-BE49-F238E27FC236}">
                  <a16:creationId xmlns:a16="http://schemas.microsoft.com/office/drawing/2014/main" id="{494AB906-EACA-A4C7-2861-2C93736D58F3}"/>
                </a:ext>
              </a:extLst>
            </p:cNvPr>
            <p:cNvSpPr/>
            <p:nvPr/>
          </p:nvSpPr>
          <p:spPr>
            <a:xfrm>
              <a:off x="658427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" name="Полилиния 363">
              <a:extLst>
                <a:ext uri="{FF2B5EF4-FFF2-40B4-BE49-F238E27FC236}">
                  <a16:creationId xmlns:a16="http://schemas.microsoft.com/office/drawing/2014/main" id="{E996BAD6-6E6C-AC78-6CBE-9ADC531329E1}"/>
                </a:ext>
              </a:extLst>
            </p:cNvPr>
            <p:cNvSpPr/>
            <p:nvPr/>
          </p:nvSpPr>
          <p:spPr>
            <a:xfrm>
              <a:off x="667354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" name="Полилиния 364">
              <a:extLst>
                <a:ext uri="{FF2B5EF4-FFF2-40B4-BE49-F238E27FC236}">
                  <a16:creationId xmlns:a16="http://schemas.microsoft.com/office/drawing/2014/main" id="{8047F53A-C018-BC98-D2C3-CF7404DD7654}"/>
                </a:ext>
              </a:extLst>
            </p:cNvPr>
            <p:cNvSpPr/>
            <p:nvPr/>
          </p:nvSpPr>
          <p:spPr>
            <a:xfrm>
              <a:off x="671818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" name="Полилиния 365">
              <a:extLst>
                <a:ext uri="{FF2B5EF4-FFF2-40B4-BE49-F238E27FC236}">
                  <a16:creationId xmlns:a16="http://schemas.microsoft.com/office/drawing/2014/main" id="{DDDA5FF5-845B-9934-2887-221D2E7F96CA}"/>
                </a:ext>
              </a:extLst>
            </p:cNvPr>
            <p:cNvSpPr/>
            <p:nvPr/>
          </p:nvSpPr>
          <p:spPr>
            <a:xfrm>
              <a:off x="685210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" name="Полилиния 366">
              <a:extLst>
                <a:ext uri="{FF2B5EF4-FFF2-40B4-BE49-F238E27FC236}">
                  <a16:creationId xmlns:a16="http://schemas.microsoft.com/office/drawing/2014/main" id="{D71998AF-51B1-B901-51AF-388C36D546DE}"/>
                </a:ext>
              </a:extLst>
            </p:cNvPr>
            <p:cNvSpPr/>
            <p:nvPr/>
          </p:nvSpPr>
          <p:spPr>
            <a:xfrm>
              <a:off x="689684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" name="Полилиния 367">
              <a:extLst>
                <a:ext uri="{FF2B5EF4-FFF2-40B4-BE49-F238E27FC236}">
                  <a16:creationId xmlns:a16="http://schemas.microsoft.com/office/drawing/2014/main" id="{8B02C068-9722-7C6A-DE8F-ACC6B55E2F8B}"/>
                </a:ext>
              </a:extLst>
            </p:cNvPr>
            <p:cNvSpPr/>
            <p:nvPr/>
          </p:nvSpPr>
          <p:spPr>
            <a:xfrm>
              <a:off x="716467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" name="Полилиния 368">
              <a:extLst>
                <a:ext uri="{FF2B5EF4-FFF2-40B4-BE49-F238E27FC236}">
                  <a16:creationId xmlns:a16="http://schemas.microsoft.com/office/drawing/2014/main" id="{5AEA93B7-F875-CE45-289C-0FDD7C7B7378}"/>
                </a:ext>
              </a:extLst>
            </p:cNvPr>
            <p:cNvSpPr/>
            <p:nvPr/>
          </p:nvSpPr>
          <p:spPr>
            <a:xfrm>
              <a:off x="7253955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" name="Полилиния 369">
              <a:extLst>
                <a:ext uri="{FF2B5EF4-FFF2-40B4-BE49-F238E27FC236}">
                  <a16:creationId xmlns:a16="http://schemas.microsoft.com/office/drawing/2014/main" id="{166620B7-DE1C-9DD8-D412-0E2807179B91}"/>
                </a:ext>
              </a:extLst>
            </p:cNvPr>
            <p:cNvSpPr/>
            <p:nvPr/>
          </p:nvSpPr>
          <p:spPr>
            <a:xfrm>
              <a:off x="734323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" name="Полилиния 370">
              <a:extLst>
                <a:ext uri="{FF2B5EF4-FFF2-40B4-BE49-F238E27FC236}">
                  <a16:creationId xmlns:a16="http://schemas.microsoft.com/office/drawing/2014/main" id="{D878C388-9103-E06F-81FA-B103825EE02A}"/>
                </a:ext>
              </a:extLst>
            </p:cNvPr>
            <p:cNvSpPr/>
            <p:nvPr/>
          </p:nvSpPr>
          <p:spPr>
            <a:xfrm>
              <a:off x="738787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" name="Полилиния 371">
              <a:extLst>
                <a:ext uri="{FF2B5EF4-FFF2-40B4-BE49-F238E27FC236}">
                  <a16:creationId xmlns:a16="http://schemas.microsoft.com/office/drawing/2014/main" id="{1C7DD5D7-B0EC-BDBE-BB81-03BC9E4C11E9}"/>
                </a:ext>
              </a:extLst>
            </p:cNvPr>
            <p:cNvSpPr/>
            <p:nvPr/>
          </p:nvSpPr>
          <p:spPr>
            <a:xfrm>
              <a:off x="747715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" name="Полилиния 372">
              <a:extLst>
                <a:ext uri="{FF2B5EF4-FFF2-40B4-BE49-F238E27FC236}">
                  <a16:creationId xmlns:a16="http://schemas.microsoft.com/office/drawing/2014/main" id="{36EE600D-E5AA-E647-24C5-3C4E9DC1F21E}"/>
                </a:ext>
              </a:extLst>
            </p:cNvPr>
            <p:cNvSpPr/>
            <p:nvPr/>
          </p:nvSpPr>
          <p:spPr>
            <a:xfrm>
              <a:off x="756652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" name="Полилиния 373">
              <a:extLst>
                <a:ext uri="{FF2B5EF4-FFF2-40B4-BE49-F238E27FC236}">
                  <a16:creationId xmlns:a16="http://schemas.microsoft.com/office/drawing/2014/main" id="{896E09F0-9F4B-E025-67A2-C37732EA536A}"/>
                </a:ext>
              </a:extLst>
            </p:cNvPr>
            <p:cNvSpPr/>
            <p:nvPr/>
          </p:nvSpPr>
          <p:spPr>
            <a:xfrm>
              <a:off x="761116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" name="Полилиния 374">
              <a:extLst>
                <a:ext uri="{FF2B5EF4-FFF2-40B4-BE49-F238E27FC236}">
                  <a16:creationId xmlns:a16="http://schemas.microsoft.com/office/drawing/2014/main" id="{B48046FA-20FC-BC59-7719-E8CBB83EE42E}"/>
                </a:ext>
              </a:extLst>
            </p:cNvPr>
            <p:cNvSpPr/>
            <p:nvPr/>
          </p:nvSpPr>
          <p:spPr>
            <a:xfrm>
              <a:off x="770044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" name="Полилиния 375">
              <a:extLst>
                <a:ext uri="{FF2B5EF4-FFF2-40B4-BE49-F238E27FC236}">
                  <a16:creationId xmlns:a16="http://schemas.microsoft.com/office/drawing/2014/main" id="{AA53CC91-FA1C-E222-3070-CC9F8B154BAD}"/>
                </a:ext>
              </a:extLst>
            </p:cNvPr>
            <p:cNvSpPr/>
            <p:nvPr/>
          </p:nvSpPr>
          <p:spPr>
            <a:xfrm>
              <a:off x="774508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" name="Полилиния 376">
              <a:extLst>
                <a:ext uri="{FF2B5EF4-FFF2-40B4-BE49-F238E27FC236}">
                  <a16:creationId xmlns:a16="http://schemas.microsoft.com/office/drawing/2014/main" id="{32A097AC-D2D9-7FFE-F8AC-6D057BCFC01D}"/>
                </a:ext>
              </a:extLst>
            </p:cNvPr>
            <p:cNvSpPr/>
            <p:nvPr/>
          </p:nvSpPr>
          <p:spPr>
            <a:xfrm>
              <a:off x="787899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" name="Полилиния 377">
              <a:extLst>
                <a:ext uri="{FF2B5EF4-FFF2-40B4-BE49-F238E27FC236}">
                  <a16:creationId xmlns:a16="http://schemas.microsoft.com/office/drawing/2014/main" id="{E0AED521-08F3-FEF2-CE07-DE29984916C5}"/>
                </a:ext>
              </a:extLst>
            </p:cNvPr>
            <p:cNvSpPr/>
            <p:nvPr/>
          </p:nvSpPr>
          <p:spPr>
            <a:xfrm>
              <a:off x="658427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" name="Полилиния 378">
              <a:extLst>
                <a:ext uri="{FF2B5EF4-FFF2-40B4-BE49-F238E27FC236}">
                  <a16:creationId xmlns:a16="http://schemas.microsoft.com/office/drawing/2014/main" id="{99EB6489-1222-C58A-1271-611BF657A822}"/>
                </a:ext>
              </a:extLst>
            </p:cNvPr>
            <p:cNvSpPr/>
            <p:nvPr/>
          </p:nvSpPr>
          <p:spPr>
            <a:xfrm>
              <a:off x="662891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" name="Полилиния 379">
              <a:extLst>
                <a:ext uri="{FF2B5EF4-FFF2-40B4-BE49-F238E27FC236}">
                  <a16:creationId xmlns:a16="http://schemas.microsoft.com/office/drawing/2014/main" id="{E4698306-7133-3553-2A53-0EE323123E40}"/>
                </a:ext>
              </a:extLst>
            </p:cNvPr>
            <p:cNvSpPr/>
            <p:nvPr/>
          </p:nvSpPr>
          <p:spPr>
            <a:xfrm>
              <a:off x="667354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" name="Полилиния 380">
              <a:extLst>
                <a:ext uri="{FF2B5EF4-FFF2-40B4-BE49-F238E27FC236}">
                  <a16:creationId xmlns:a16="http://schemas.microsoft.com/office/drawing/2014/main" id="{5FCC14CC-2B77-9323-1FA1-9DB6C321DD2C}"/>
                </a:ext>
              </a:extLst>
            </p:cNvPr>
            <p:cNvSpPr/>
            <p:nvPr/>
          </p:nvSpPr>
          <p:spPr>
            <a:xfrm>
              <a:off x="676282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" name="Полилиния 381">
              <a:extLst>
                <a:ext uri="{FF2B5EF4-FFF2-40B4-BE49-F238E27FC236}">
                  <a16:creationId xmlns:a16="http://schemas.microsoft.com/office/drawing/2014/main" id="{7570B6F6-E2BC-2E41-39DF-B1D70FA70237}"/>
                </a:ext>
              </a:extLst>
            </p:cNvPr>
            <p:cNvSpPr/>
            <p:nvPr/>
          </p:nvSpPr>
          <p:spPr>
            <a:xfrm>
              <a:off x="685210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" name="Полилиния 382">
              <a:extLst>
                <a:ext uri="{FF2B5EF4-FFF2-40B4-BE49-F238E27FC236}">
                  <a16:creationId xmlns:a16="http://schemas.microsoft.com/office/drawing/2014/main" id="{5901828D-70DC-B686-9803-AA3721253AFF}"/>
                </a:ext>
              </a:extLst>
            </p:cNvPr>
            <p:cNvSpPr/>
            <p:nvPr/>
          </p:nvSpPr>
          <p:spPr>
            <a:xfrm>
              <a:off x="694148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" name="Полилиния 383">
              <a:extLst>
                <a:ext uri="{FF2B5EF4-FFF2-40B4-BE49-F238E27FC236}">
                  <a16:creationId xmlns:a16="http://schemas.microsoft.com/office/drawing/2014/main" id="{D94CE48B-A278-6303-D34D-878DF1ABAF6A}"/>
                </a:ext>
              </a:extLst>
            </p:cNvPr>
            <p:cNvSpPr/>
            <p:nvPr/>
          </p:nvSpPr>
          <p:spPr>
            <a:xfrm>
              <a:off x="698611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" name="Полилиния 384">
              <a:extLst>
                <a:ext uri="{FF2B5EF4-FFF2-40B4-BE49-F238E27FC236}">
                  <a16:creationId xmlns:a16="http://schemas.microsoft.com/office/drawing/2014/main" id="{9BF8E8E3-19B2-DF1D-ABCB-AB85C2D080DB}"/>
                </a:ext>
              </a:extLst>
            </p:cNvPr>
            <p:cNvSpPr/>
            <p:nvPr/>
          </p:nvSpPr>
          <p:spPr>
            <a:xfrm>
              <a:off x="703075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" name="Полилиния 385">
              <a:extLst>
                <a:ext uri="{FF2B5EF4-FFF2-40B4-BE49-F238E27FC236}">
                  <a16:creationId xmlns:a16="http://schemas.microsoft.com/office/drawing/2014/main" id="{E1816DC2-578B-C588-E97E-4AE0AA0A797E}"/>
                </a:ext>
              </a:extLst>
            </p:cNvPr>
            <p:cNvSpPr/>
            <p:nvPr/>
          </p:nvSpPr>
          <p:spPr>
            <a:xfrm>
              <a:off x="707539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" name="Полилиния 386">
              <a:extLst>
                <a:ext uri="{FF2B5EF4-FFF2-40B4-BE49-F238E27FC236}">
                  <a16:creationId xmlns:a16="http://schemas.microsoft.com/office/drawing/2014/main" id="{E816D02B-79AE-A9C9-AFEC-7B6C4BB040D1}"/>
                </a:ext>
              </a:extLst>
            </p:cNvPr>
            <p:cNvSpPr/>
            <p:nvPr/>
          </p:nvSpPr>
          <p:spPr>
            <a:xfrm>
              <a:off x="7120037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" name="Полилиния 387">
              <a:extLst>
                <a:ext uri="{FF2B5EF4-FFF2-40B4-BE49-F238E27FC236}">
                  <a16:creationId xmlns:a16="http://schemas.microsoft.com/office/drawing/2014/main" id="{B4ACABDD-858B-152C-2B8D-9231867AB767}"/>
                </a:ext>
              </a:extLst>
            </p:cNvPr>
            <p:cNvSpPr/>
            <p:nvPr/>
          </p:nvSpPr>
          <p:spPr>
            <a:xfrm>
              <a:off x="716467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" name="Полилиния 388">
              <a:extLst>
                <a:ext uri="{FF2B5EF4-FFF2-40B4-BE49-F238E27FC236}">
                  <a16:creationId xmlns:a16="http://schemas.microsoft.com/office/drawing/2014/main" id="{AC7B1919-854F-28F3-5A93-B7F377999494}"/>
                </a:ext>
              </a:extLst>
            </p:cNvPr>
            <p:cNvSpPr/>
            <p:nvPr/>
          </p:nvSpPr>
          <p:spPr>
            <a:xfrm>
              <a:off x="7209315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" name="Полилиния 389">
              <a:extLst>
                <a:ext uri="{FF2B5EF4-FFF2-40B4-BE49-F238E27FC236}">
                  <a16:creationId xmlns:a16="http://schemas.microsoft.com/office/drawing/2014/main" id="{865D53BE-3423-936A-5853-A5116AB4FA06}"/>
                </a:ext>
              </a:extLst>
            </p:cNvPr>
            <p:cNvSpPr/>
            <p:nvPr/>
          </p:nvSpPr>
          <p:spPr>
            <a:xfrm>
              <a:off x="7298594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" name="Полилиния 390">
              <a:extLst>
                <a:ext uri="{FF2B5EF4-FFF2-40B4-BE49-F238E27FC236}">
                  <a16:creationId xmlns:a16="http://schemas.microsoft.com/office/drawing/2014/main" id="{978E287E-ED42-5532-61E9-41F166AEBE73}"/>
                </a:ext>
              </a:extLst>
            </p:cNvPr>
            <p:cNvSpPr/>
            <p:nvPr/>
          </p:nvSpPr>
          <p:spPr>
            <a:xfrm>
              <a:off x="7655803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" name="Полилиния 391">
              <a:extLst>
                <a:ext uri="{FF2B5EF4-FFF2-40B4-BE49-F238E27FC236}">
                  <a16:creationId xmlns:a16="http://schemas.microsoft.com/office/drawing/2014/main" id="{329B87C4-5F62-131F-E2DF-3B29750C68DC}"/>
                </a:ext>
              </a:extLst>
            </p:cNvPr>
            <p:cNvSpPr/>
            <p:nvPr/>
          </p:nvSpPr>
          <p:spPr>
            <a:xfrm>
              <a:off x="7700442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" name="Полилиния 392">
              <a:extLst>
                <a:ext uri="{FF2B5EF4-FFF2-40B4-BE49-F238E27FC236}">
                  <a16:creationId xmlns:a16="http://schemas.microsoft.com/office/drawing/2014/main" id="{F8F2B30F-C3C8-41D0-F89E-DDDD2E6E1515}"/>
                </a:ext>
              </a:extLst>
            </p:cNvPr>
            <p:cNvSpPr/>
            <p:nvPr/>
          </p:nvSpPr>
          <p:spPr>
            <a:xfrm>
              <a:off x="774508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" name="Полилиния 393">
              <a:extLst>
                <a:ext uri="{FF2B5EF4-FFF2-40B4-BE49-F238E27FC236}">
                  <a16:creationId xmlns:a16="http://schemas.microsoft.com/office/drawing/2014/main" id="{B1BA1014-91B3-6CAF-2250-C83ABE205740}"/>
                </a:ext>
              </a:extLst>
            </p:cNvPr>
            <p:cNvSpPr/>
            <p:nvPr/>
          </p:nvSpPr>
          <p:spPr>
            <a:xfrm>
              <a:off x="783436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" name="Полилиния 394">
              <a:extLst>
                <a:ext uri="{FF2B5EF4-FFF2-40B4-BE49-F238E27FC236}">
                  <a16:creationId xmlns:a16="http://schemas.microsoft.com/office/drawing/2014/main" id="{9F0C03A4-FD7A-8274-15F2-7D4839F658E0}"/>
                </a:ext>
              </a:extLst>
            </p:cNvPr>
            <p:cNvSpPr/>
            <p:nvPr/>
          </p:nvSpPr>
          <p:spPr>
            <a:xfrm>
              <a:off x="645035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" name="Полилиния 395">
              <a:extLst>
                <a:ext uri="{FF2B5EF4-FFF2-40B4-BE49-F238E27FC236}">
                  <a16:creationId xmlns:a16="http://schemas.microsoft.com/office/drawing/2014/main" id="{670BBCDC-2AE4-4740-DFB4-FD813B1289B7}"/>
                </a:ext>
              </a:extLst>
            </p:cNvPr>
            <p:cNvSpPr/>
            <p:nvPr/>
          </p:nvSpPr>
          <p:spPr>
            <a:xfrm>
              <a:off x="649499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" name="Полилиния 396">
              <a:extLst>
                <a:ext uri="{FF2B5EF4-FFF2-40B4-BE49-F238E27FC236}">
                  <a16:creationId xmlns:a16="http://schemas.microsoft.com/office/drawing/2014/main" id="{DA3DFCD5-FD22-7D08-E548-45D030BD57CF}"/>
                </a:ext>
              </a:extLst>
            </p:cNvPr>
            <p:cNvSpPr/>
            <p:nvPr/>
          </p:nvSpPr>
          <p:spPr>
            <a:xfrm>
              <a:off x="653963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" name="Полилиния 397">
              <a:extLst>
                <a:ext uri="{FF2B5EF4-FFF2-40B4-BE49-F238E27FC236}">
                  <a16:creationId xmlns:a16="http://schemas.microsoft.com/office/drawing/2014/main" id="{8BFDBA06-E4F1-67A7-CAF2-101FD3A8272C}"/>
                </a:ext>
              </a:extLst>
            </p:cNvPr>
            <p:cNvSpPr/>
            <p:nvPr/>
          </p:nvSpPr>
          <p:spPr>
            <a:xfrm>
              <a:off x="658427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" name="Полилиния 398">
              <a:extLst>
                <a:ext uri="{FF2B5EF4-FFF2-40B4-BE49-F238E27FC236}">
                  <a16:creationId xmlns:a16="http://schemas.microsoft.com/office/drawing/2014/main" id="{9EF1F016-659D-3A3E-2830-3936A883ECC8}"/>
                </a:ext>
              </a:extLst>
            </p:cNvPr>
            <p:cNvSpPr/>
            <p:nvPr/>
          </p:nvSpPr>
          <p:spPr>
            <a:xfrm>
              <a:off x="662891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" name="Полилиния 399">
              <a:extLst>
                <a:ext uri="{FF2B5EF4-FFF2-40B4-BE49-F238E27FC236}">
                  <a16:creationId xmlns:a16="http://schemas.microsoft.com/office/drawing/2014/main" id="{F2804DB5-445B-F2C1-9727-546BD51DD1E6}"/>
                </a:ext>
              </a:extLst>
            </p:cNvPr>
            <p:cNvSpPr/>
            <p:nvPr/>
          </p:nvSpPr>
          <p:spPr>
            <a:xfrm>
              <a:off x="671818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" name="Полилиния 400">
              <a:extLst>
                <a:ext uri="{FF2B5EF4-FFF2-40B4-BE49-F238E27FC236}">
                  <a16:creationId xmlns:a16="http://schemas.microsoft.com/office/drawing/2014/main" id="{6802C9D1-ED8D-DA60-635C-1E3AB009ECD1}"/>
                </a:ext>
              </a:extLst>
            </p:cNvPr>
            <p:cNvSpPr/>
            <p:nvPr/>
          </p:nvSpPr>
          <p:spPr>
            <a:xfrm>
              <a:off x="698611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" name="Полилиния 401">
              <a:extLst>
                <a:ext uri="{FF2B5EF4-FFF2-40B4-BE49-F238E27FC236}">
                  <a16:creationId xmlns:a16="http://schemas.microsoft.com/office/drawing/2014/main" id="{C651B77D-A241-209F-E96F-A30912741620}"/>
                </a:ext>
              </a:extLst>
            </p:cNvPr>
            <p:cNvSpPr/>
            <p:nvPr/>
          </p:nvSpPr>
          <p:spPr>
            <a:xfrm>
              <a:off x="7030758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" name="Полилиния 402">
              <a:extLst>
                <a:ext uri="{FF2B5EF4-FFF2-40B4-BE49-F238E27FC236}">
                  <a16:creationId xmlns:a16="http://schemas.microsoft.com/office/drawing/2014/main" id="{79C44ABC-582C-FF2F-B8F1-92C66754E9CB}"/>
                </a:ext>
              </a:extLst>
            </p:cNvPr>
            <p:cNvSpPr/>
            <p:nvPr/>
          </p:nvSpPr>
          <p:spPr>
            <a:xfrm>
              <a:off x="7120037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" name="Полилиния 403">
              <a:extLst>
                <a:ext uri="{FF2B5EF4-FFF2-40B4-BE49-F238E27FC236}">
                  <a16:creationId xmlns:a16="http://schemas.microsoft.com/office/drawing/2014/main" id="{260E2A8A-1420-D3B6-EB6B-23CABC1799AD}"/>
                </a:ext>
              </a:extLst>
            </p:cNvPr>
            <p:cNvSpPr/>
            <p:nvPr/>
          </p:nvSpPr>
          <p:spPr>
            <a:xfrm>
              <a:off x="725395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" name="Полилиния 404">
              <a:extLst>
                <a:ext uri="{FF2B5EF4-FFF2-40B4-BE49-F238E27FC236}">
                  <a16:creationId xmlns:a16="http://schemas.microsoft.com/office/drawing/2014/main" id="{17AADD70-3AE3-4659-2CFA-9D01A96AC036}"/>
                </a:ext>
              </a:extLst>
            </p:cNvPr>
            <p:cNvSpPr/>
            <p:nvPr/>
          </p:nvSpPr>
          <p:spPr>
            <a:xfrm>
              <a:off x="734323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" name="Полилиния 405">
              <a:extLst>
                <a:ext uri="{FF2B5EF4-FFF2-40B4-BE49-F238E27FC236}">
                  <a16:creationId xmlns:a16="http://schemas.microsoft.com/office/drawing/2014/main" id="{605FB15E-3E16-7AF4-358D-CE95542C9844}"/>
                </a:ext>
              </a:extLst>
            </p:cNvPr>
            <p:cNvSpPr/>
            <p:nvPr/>
          </p:nvSpPr>
          <p:spPr>
            <a:xfrm>
              <a:off x="747715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" name="Полилиния 406">
              <a:extLst>
                <a:ext uri="{FF2B5EF4-FFF2-40B4-BE49-F238E27FC236}">
                  <a16:creationId xmlns:a16="http://schemas.microsoft.com/office/drawing/2014/main" id="{7A4CB699-F012-AFF4-6CA3-CFC46A2F9864}"/>
                </a:ext>
              </a:extLst>
            </p:cNvPr>
            <p:cNvSpPr/>
            <p:nvPr/>
          </p:nvSpPr>
          <p:spPr>
            <a:xfrm>
              <a:off x="752188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" name="Полилиния 407">
              <a:extLst>
                <a:ext uri="{FF2B5EF4-FFF2-40B4-BE49-F238E27FC236}">
                  <a16:creationId xmlns:a16="http://schemas.microsoft.com/office/drawing/2014/main" id="{EAB6F394-27EE-7342-6AD4-5B1B3E7DFB15}"/>
                </a:ext>
              </a:extLst>
            </p:cNvPr>
            <p:cNvSpPr/>
            <p:nvPr/>
          </p:nvSpPr>
          <p:spPr>
            <a:xfrm>
              <a:off x="756652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" name="Полилиния 408">
              <a:extLst>
                <a:ext uri="{FF2B5EF4-FFF2-40B4-BE49-F238E27FC236}">
                  <a16:creationId xmlns:a16="http://schemas.microsoft.com/office/drawing/2014/main" id="{CE755D19-9C4F-E3AD-BD9F-5BC53CD13C47}"/>
                </a:ext>
              </a:extLst>
            </p:cNvPr>
            <p:cNvSpPr/>
            <p:nvPr/>
          </p:nvSpPr>
          <p:spPr>
            <a:xfrm>
              <a:off x="761116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0" name="Полилиния 409">
              <a:extLst>
                <a:ext uri="{FF2B5EF4-FFF2-40B4-BE49-F238E27FC236}">
                  <a16:creationId xmlns:a16="http://schemas.microsoft.com/office/drawing/2014/main" id="{70F20424-5448-596F-CD56-418FB74CD75A}"/>
                </a:ext>
              </a:extLst>
            </p:cNvPr>
            <p:cNvSpPr/>
            <p:nvPr/>
          </p:nvSpPr>
          <p:spPr>
            <a:xfrm>
              <a:off x="765580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1" name="Полилиния 410">
              <a:extLst>
                <a:ext uri="{FF2B5EF4-FFF2-40B4-BE49-F238E27FC236}">
                  <a16:creationId xmlns:a16="http://schemas.microsoft.com/office/drawing/2014/main" id="{64A18BAD-9CF0-C9DB-1CAD-9C4007FEC34A}"/>
                </a:ext>
              </a:extLst>
            </p:cNvPr>
            <p:cNvSpPr/>
            <p:nvPr/>
          </p:nvSpPr>
          <p:spPr>
            <a:xfrm>
              <a:off x="7700442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2" name="Полилиния 411">
              <a:extLst>
                <a:ext uri="{FF2B5EF4-FFF2-40B4-BE49-F238E27FC236}">
                  <a16:creationId xmlns:a16="http://schemas.microsoft.com/office/drawing/2014/main" id="{7EE9647A-DC12-0AD6-3C99-39A764ABB04D}"/>
                </a:ext>
              </a:extLst>
            </p:cNvPr>
            <p:cNvSpPr/>
            <p:nvPr/>
          </p:nvSpPr>
          <p:spPr>
            <a:xfrm>
              <a:off x="774508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3" name="Полилиния 412">
              <a:extLst>
                <a:ext uri="{FF2B5EF4-FFF2-40B4-BE49-F238E27FC236}">
                  <a16:creationId xmlns:a16="http://schemas.microsoft.com/office/drawing/2014/main" id="{652189F6-9F53-046A-EE95-E4471BA2450A}"/>
                </a:ext>
              </a:extLst>
            </p:cNvPr>
            <p:cNvSpPr/>
            <p:nvPr/>
          </p:nvSpPr>
          <p:spPr>
            <a:xfrm>
              <a:off x="783436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4" name="Полилиния 413">
              <a:extLst>
                <a:ext uri="{FF2B5EF4-FFF2-40B4-BE49-F238E27FC236}">
                  <a16:creationId xmlns:a16="http://schemas.microsoft.com/office/drawing/2014/main" id="{C3884808-B9CA-74B7-D7E9-B81AED931E49}"/>
                </a:ext>
              </a:extLst>
            </p:cNvPr>
            <p:cNvSpPr/>
            <p:nvPr/>
          </p:nvSpPr>
          <p:spPr>
            <a:xfrm>
              <a:off x="787899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5" name="Полилиния 414">
              <a:extLst>
                <a:ext uri="{FF2B5EF4-FFF2-40B4-BE49-F238E27FC236}">
                  <a16:creationId xmlns:a16="http://schemas.microsoft.com/office/drawing/2014/main" id="{038AA901-65D3-0763-7655-B178F29578FC}"/>
                </a:ext>
              </a:extLst>
            </p:cNvPr>
            <p:cNvSpPr/>
            <p:nvPr/>
          </p:nvSpPr>
          <p:spPr>
            <a:xfrm>
              <a:off x="6807467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6" name="Полилиния 415">
              <a:extLst>
                <a:ext uri="{FF2B5EF4-FFF2-40B4-BE49-F238E27FC236}">
                  <a16:creationId xmlns:a16="http://schemas.microsoft.com/office/drawing/2014/main" id="{B4B46649-9D5E-7A46-0916-10993369531A}"/>
                </a:ext>
              </a:extLst>
            </p:cNvPr>
            <p:cNvSpPr/>
            <p:nvPr/>
          </p:nvSpPr>
          <p:spPr>
            <a:xfrm>
              <a:off x="7164676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7" name="Полилиния 416">
              <a:extLst>
                <a:ext uri="{FF2B5EF4-FFF2-40B4-BE49-F238E27FC236}">
                  <a16:creationId xmlns:a16="http://schemas.microsoft.com/office/drawing/2014/main" id="{1859BE9E-DE29-C9E9-649B-D15E44BBDEC5}"/>
                </a:ext>
              </a:extLst>
            </p:cNvPr>
            <p:cNvSpPr/>
            <p:nvPr/>
          </p:nvSpPr>
          <p:spPr>
            <a:xfrm>
              <a:off x="720931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8" name="Полилиния 417">
              <a:extLst>
                <a:ext uri="{FF2B5EF4-FFF2-40B4-BE49-F238E27FC236}">
                  <a16:creationId xmlns:a16="http://schemas.microsoft.com/office/drawing/2014/main" id="{4BDDB241-6507-488C-8386-E962C2C168EF}"/>
                </a:ext>
              </a:extLst>
            </p:cNvPr>
            <p:cNvSpPr/>
            <p:nvPr/>
          </p:nvSpPr>
          <p:spPr>
            <a:xfrm>
              <a:off x="738787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9" name="Полилиния 418">
              <a:extLst>
                <a:ext uri="{FF2B5EF4-FFF2-40B4-BE49-F238E27FC236}">
                  <a16:creationId xmlns:a16="http://schemas.microsoft.com/office/drawing/2014/main" id="{FEF302F4-6473-D155-1E82-59934355FC52}"/>
                </a:ext>
              </a:extLst>
            </p:cNvPr>
            <p:cNvSpPr/>
            <p:nvPr/>
          </p:nvSpPr>
          <p:spPr>
            <a:xfrm>
              <a:off x="752188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0" name="Полилиния 419">
              <a:extLst>
                <a:ext uri="{FF2B5EF4-FFF2-40B4-BE49-F238E27FC236}">
                  <a16:creationId xmlns:a16="http://schemas.microsoft.com/office/drawing/2014/main" id="{E7BD7EF4-0E23-50C8-2D21-E07CD2D55E9A}"/>
                </a:ext>
              </a:extLst>
            </p:cNvPr>
            <p:cNvSpPr/>
            <p:nvPr/>
          </p:nvSpPr>
          <p:spPr>
            <a:xfrm>
              <a:off x="770044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1" name="Полилиния 420">
              <a:extLst>
                <a:ext uri="{FF2B5EF4-FFF2-40B4-BE49-F238E27FC236}">
                  <a16:creationId xmlns:a16="http://schemas.microsoft.com/office/drawing/2014/main" id="{D7AD064F-A458-0365-D15F-CC4CC180452A}"/>
                </a:ext>
              </a:extLst>
            </p:cNvPr>
            <p:cNvSpPr/>
            <p:nvPr/>
          </p:nvSpPr>
          <p:spPr>
            <a:xfrm>
              <a:off x="7745081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2" name="Полилиния 421">
              <a:extLst>
                <a:ext uri="{FF2B5EF4-FFF2-40B4-BE49-F238E27FC236}">
                  <a16:creationId xmlns:a16="http://schemas.microsoft.com/office/drawing/2014/main" id="{319893DA-BA1F-D802-E882-6316120C7A6C}"/>
                </a:ext>
              </a:extLst>
            </p:cNvPr>
            <p:cNvSpPr/>
            <p:nvPr/>
          </p:nvSpPr>
          <p:spPr>
            <a:xfrm>
              <a:off x="7834360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3" name="Полилиния 422">
              <a:extLst>
                <a:ext uri="{FF2B5EF4-FFF2-40B4-BE49-F238E27FC236}">
                  <a16:creationId xmlns:a16="http://schemas.microsoft.com/office/drawing/2014/main" id="{AE7905F5-E32C-A1DD-99DE-14ED7B8A0DE7}"/>
                </a:ext>
              </a:extLst>
            </p:cNvPr>
            <p:cNvSpPr/>
            <p:nvPr/>
          </p:nvSpPr>
          <p:spPr>
            <a:xfrm>
              <a:off x="7878999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4" name="Полилиния 423">
              <a:extLst>
                <a:ext uri="{FF2B5EF4-FFF2-40B4-BE49-F238E27FC236}">
                  <a16:creationId xmlns:a16="http://schemas.microsoft.com/office/drawing/2014/main" id="{776B6160-8DF7-87B2-D776-7AD5ACDA06A4}"/>
                </a:ext>
              </a:extLst>
            </p:cNvPr>
            <p:cNvSpPr/>
            <p:nvPr/>
          </p:nvSpPr>
          <p:spPr>
            <a:xfrm>
              <a:off x="680746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5" name="Полилиния 424">
              <a:extLst>
                <a:ext uri="{FF2B5EF4-FFF2-40B4-BE49-F238E27FC236}">
                  <a16:creationId xmlns:a16="http://schemas.microsoft.com/office/drawing/2014/main" id="{8A85AA49-31BF-4274-7D7F-F051958F371C}"/>
                </a:ext>
              </a:extLst>
            </p:cNvPr>
            <p:cNvSpPr/>
            <p:nvPr/>
          </p:nvSpPr>
          <p:spPr>
            <a:xfrm>
              <a:off x="685210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6" name="Полилиния 425">
              <a:extLst>
                <a:ext uri="{FF2B5EF4-FFF2-40B4-BE49-F238E27FC236}">
                  <a16:creationId xmlns:a16="http://schemas.microsoft.com/office/drawing/2014/main" id="{E52382B0-EE47-9972-D9EC-2D56CE86E3D3}"/>
                </a:ext>
              </a:extLst>
            </p:cNvPr>
            <p:cNvSpPr/>
            <p:nvPr/>
          </p:nvSpPr>
          <p:spPr>
            <a:xfrm>
              <a:off x="689684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7" name="Полилиния 426">
              <a:extLst>
                <a:ext uri="{FF2B5EF4-FFF2-40B4-BE49-F238E27FC236}">
                  <a16:creationId xmlns:a16="http://schemas.microsoft.com/office/drawing/2014/main" id="{439549FB-8CC5-9800-E7F9-523AD5D508E1}"/>
                </a:ext>
              </a:extLst>
            </p:cNvPr>
            <p:cNvSpPr/>
            <p:nvPr/>
          </p:nvSpPr>
          <p:spPr>
            <a:xfrm>
              <a:off x="703075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8" name="Полилиния 427">
              <a:extLst>
                <a:ext uri="{FF2B5EF4-FFF2-40B4-BE49-F238E27FC236}">
                  <a16:creationId xmlns:a16="http://schemas.microsoft.com/office/drawing/2014/main" id="{A6D7376B-FEF8-C3E8-E02E-87C0479B01F9}"/>
                </a:ext>
              </a:extLst>
            </p:cNvPr>
            <p:cNvSpPr/>
            <p:nvPr/>
          </p:nvSpPr>
          <p:spPr>
            <a:xfrm>
              <a:off x="707539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9" name="Полилиния 428">
              <a:extLst>
                <a:ext uri="{FF2B5EF4-FFF2-40B4-BE49-F238E27FC236}">
                  <a16:creationId xmlns:a16="http://schemas.microsoft.com/office/drawing/2014/main" id="{0A09FC0B-1E17-B9FB-6F45-13C4A06C9CAA}"/>
                </a:ext>
              </a:extLst>
            </p:cNvPr>
            <p:cNvSpPr/>
            <p:nvPr/>
          </p:nvSpPr>
          <p:spPr>
            <a:xfrm>
              <a:off x="712003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0" name="Полилиния 429">
              <a:extLst>
                <a:ext uri="{FF2B5EF4-FFF2-40B4-BE49-F238E27FC236}">
                  <a16:creationId xmlns:a16="http://schemas.microsoft.com/office/drawing/2014/main" id="{819602DD-2592-9D91-1821-F5489D2A1DD9}"/>
                </a:ext>
              </a:extLst>
            </p:cNvPr>
            <p:cNvSpPr/>
            <p:nvPr/>
          </p:nvSpPr>
          <p:spPr>
            <a:xfrm>
              <a:off x="716467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1" name="Полилиния 430">
              <a:extLst>
                <a:ext uri="{FF2B5EF4-FFF2-40B4-BE49-F238E27FC236}">
                  <a16:creationId xmlns:a16="http://schemas.microsoft.com/office/drawing/2014/main" id="{2CA12039-1DEC-83B3-705B-3C359F3CAD5C}"/>
                </a:ext>
              </a:extLst>
            </p:cNvPr>
            <p:cNvSpPr/>
            <p:nvPr/>
          </p:nvSpPr>
          <p:spPr>
            <a:xfrm>
              <a:off x="729859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2" name="Полилиния 431">
              <a:extLst>
                <a:ext uri="{FF2B5EF4-FFF2-40B4-BE49-F238E27FC236}">
                  <a16:creationId xmlns:a16="http://schemas.microsoft.com/office/drawing/2014/main" id="{9D083FDB-98E6-4207-E3CA-66DE3A5604C0}"/>
                </a:ext>
              </a:extLst>
            </p:cNvPr>
            <p:cNvSpPr/>
            <p:nvPr/>
          </p:nvSpPr>
          <p:spPr>
            <a:xfrm>
              <a:off x="7343233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3" name="Полилиния 432">
              <a:extLst>
                <a:ext uri="{FF2B5EF4-FFF2-40B4-BE49-F238E27FC236}">
                  <a16:creationId xmlns:a16="http://schemas.microsoft.com/office/drawing/2014/main" id="{D367BEE2-C170-6819-30AF-CA2EC40C5435}"/>
                </a:ext>
              </a:extLst>
            </p:cNvPr>
            <p:cNvSpPr/>
            <p:nvPr/>
          </p:nvSpPr>
          <p:spPr>
            <a:xfrm>
              <a:off x="7521885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4" name="Полилиния 433">
              <a:extLst>
                <a:ext uri="{FF2B5EF4-FFF2-40B4-BE49-F238E27FC236}">
                  <a16:creationId xmlns:a16="http://schemas.microsoft.com/office/drawing/2014/main" id="{DF025C0D-E822-6797-92DD-2FE8265860A4}"/>
                </a:ext>
              </a:extLst>
            </p:cNvPr>
            <p:cNvSpPr/>
            <p:nvPr/>
          </p:nvSpPr>
          <p:spPr>
            <a:xfrm>
              <a:off x="761116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5" name="Полилиния 434">
              <a:extLst>
                <a:ext uri="{FF2B5EF4-FFF2-40B4-BE49-F238E27FC236}">
                  <a16:creationId xmlns:a16="http://schemas.microsoft.com/office/drawing/2014/main" id="{6880CBCF-38D2-EEF1-2E66-CF7262395857}"/>
                </a:ext>
              </a:extLst>
            </p:cNvPr>
            <p:cNvSpPr/>
            <p:nvPr/>
          </p:nvSpPr>
          <p:spPr>
            <a:xfrm>
              <a:off x="7700442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6" name="Полилиния 435">
              <a:extLst>
                <a:ext uri="{FF2B5EF4-FFF2-40B4-BE49-F238E27FC236}">
                  <a16:creationId xmlns:a16="http://schemas.microsoft.com/office/drawing/2014/main" id="{0CBABA19-3DAE-B73B-3C02-E8A30DFA3271}"/>
                </a:ext>
              </a:extLst>
            </p:cNvPr>
            <p:cNvSpPr/>
            <p:nvPr/>
          </p:nvSpPr>
          <p:spPr>
            <a:xfrm>
              <a:off x="778972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7" name="Полилиния 436">
              <a:extLst>
                <a:ext uri="{FF2B5EF4-FFF2-40B4-BE49-F238E27FC236}">
                  <a16:creationId xmlns:a16="http://schemas.microsoft.com/office/drawing/2014/main" id="{A72EA11E-D626-34A6-FCB5-6B62F3D8E185}"/>
                </a:ext>
              </a:extLst>
            </p:cNvPr>
            <p:cNvSpPr/>
            <p:nvPr/>
          </p:nvSpPr>
          <p:spPr>
            <a:xfrm>
              <a:off x="7878999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8" name="Полилиния 437">
              <a:extLst>
                <a:ext uri="{FF2B5EF4-FFF2-40B4-BE49-F238E27FC236}">
                  <a16:creationId xmlns:a16="http://schemas.microsoft.com/office/drawing/2014/main" id="{050BD28F-B4EF-659B-1134-A1BEAD55963F}"/>
                </a:ext>
              </a:extLst>
            </p:cNvPr>
            <p:cNvSpPr/>
            <p:nvPr/>
          </p:nvSpPr>
          <p:spPr>
            <a:xfrm>
              <a:off x="680746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9" name="Полилиния 438">
              <a:extLst>
                <a:ext uri="{FF2B5EF4-FFF2-40B4-BE49-F238E27FC236}">
                  <a16:creationId xmlns:a16="http://schemas.microsoft.com/office/drawing/2014/main" id="{B06EAEA4-AC02-6870-6B63-D123DAEC90D2}"/>
                </a:ext>
              </a:extLst>
            </p:cNvPr>
            <p:cNvSpPr/>
            <p:nvPr/>
          </p:nvSpPr>
          <p:spPr>
            <a:xfrm>
              <a:off x="689684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0" name="Полилиния 439">
              <a:extLst>
                <a:ext uri="{FF2B5EF4-FFF2-40B4-BE49-F238E27FC236}">
                  <a16:creationId xmlns:a16="http://schemas.microsoft.com/office/drawing/2014/main" id="{4C2C5E3B-80F1-CE29-576B-5C59E8264112}"/>
                </a:ext>
              </a:extLst>
            </p:cNvPr>
            <p:cNvSpPr/>
            <p:nvPr/>
          </p:nvSpPr>
          <p:spPr>
            <a:xfrm>
              <a:off x="694148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1" name="Полилиния 440">
              <a:extLst>
                <a:ext uri="{FF2B5EF4-FFF2-40B4-BE49-F238E27FC236}">
                  <a16:creationId xmlns:a16="http://schemas.microsoft.com/office/drawing/2014/main" id="{33CDB23F-3DD8-CB06-2FDB-350613FD6CC5}"/>
                </a:ext>
              </a:extLst>
            </p:cNvPr>
            <p:cNvSpPr/>
            <p:nvPr/>
          </p:nvSpPr>
          <p:spPr>
            <a:xfrm>
              <a:off x="698611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2" name="Полилиния 441">
              <a:extLst>
                <a:ext uri="{FF2B5EF4-FFF2-40B4-BE49-F238E27FC236}">
                  <a16:creationId xmlns:a16="http://schemas.microsoft.com/office/drawing/2014/main" id="{66FB0C7F-719B-11F0-ABD1-12BE99A98393}"/>
                </a:ext>
              </a:extLst>
            </p:cNvPr>
            <p:cNvSpPr/>
            <p:nvPr/>
          </p:nvSpPr>
          <p:spPr>
            <a:xfrm>
              <a:off x="712003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3" name="Полилиния 442">
              <a:extLst>
                <a:ext uri="{FF2B5EF4-FFF2-40B4-BE49-F238E27FC236}">
                  <a16:creationId xmlns:a16="http://schemas.microsoft.com/office/drawing/2014/main" id="{6414F5EE-9E6D-1E8C-C7CE-2B78548395B8}"/>
                </a:ext>
              </a:extLst>
            </p:cNvPr>
            <p:cNvSpPr/>
            <p:nvPr/>
          </p:nvSpPr>
          <p:spPr>
            <a:xfrm>
              <a:off x="720931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4" name="Полилиния 443">
              <a:extLst>
                <a:ext uri="{FF2B5EF4-FFF2-40B4-BE49-F238E27FC236}">
                  <a16:creationId xmlns:a16="http://schemas.microsoft.com/office/drawing/2014/main" id="{D1BC2701-9103-C24C-0303-7D3BDC02AF1A}"/>
                </a:ext>
              </a:extLst>
            </p:cNvPr>
            <p:cNvSpPr/>
            <p:nvPr/>
          </p:nvSpPr>
          <p:spPr>
            <a:xfrm>
              <a:off x="725395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5" name="Полилиния 444">
              <a:extLst>
                <a:ext uri="{FF2B5EF4-FFF2-40B4-BE49-F238E27FC236}">
                  <a16:creationId xmlns:a16="http://schemas.microsoft.com/office/drawing/2014/main" id="{B199777C-B4AF-9257-F00A-78EF4405C7EE}"/>
                </a:ext>
              </a:extLst>
            </p:cNvPr>
            <p:cNvSpPr/>
            <p:nvPr/>
          </p:nvSpPr>
          <p:spPr>
            <a:xfrm>
              <a:off x="738787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6" name="Полилиния 445">
              <a:extLst>
                <a:ext uri="{FF2B5EF4-FFF2-40B4-BE49-F238E27FC236}">
                  <a16:creationId xmlns:a16="http://schemas.microsoft.com/office/drawing/2014/main" id="{ADEA112B-0313-0B94-AA60-9ED222EBBAFB}"/>
                </a:ext>
              </a:extLst>
            </p:cNvPr>
            <p:cNvSpPr/>
            <p:nvPr/>
          </p:nvSpPr>
          <p:spPr>
            <a:xfrm>
              <a:off x="747715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7" name="Полилиния 446">
              <a:extLst>
                <a:ext uri="{FF2B5EF4-FFF2-40B4-BE49-F238E27FC236}">
                  <a16:creationId xmlns:a16="http://schemas.microsoft.com/office/drawing/2014/main" id="{469D89EE-E058-E3A2-A71A-B14A3F0828CA}"/>
                </a:ext>
              </a:extLst>
            </p:cNvPr>
            <p:cNvSpPr/>
            <p:nvPr/>
          </p:nvSpPr>
          <p:spPr>
            <a:xfrm>
              <a:off x="752188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8" name="Полилиния 447">
              <a:extLst>
                <a:ext uri="{FF2B5EF4-FFF2-40B4-BE49-F238E27FC236}">
                  <a16:creationId xmlns:a16="http://schemas.microsoft.com/office/drawing/2014/main" id="{69CA9596-02C2-9503-F66F-BF9CF9D8C64F}"/>
                </a:ext>
              </a:extLst>
            </p:cNvPr>
            <p:cNvSpPr/>
            <p:nvPr/>
          </p:nvSpPr>
          <p:spPr>
            <a:xfrm>
              <a:off x="770044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9" name="Полилиния 448">
              <a:extLst>
                <a:ext uri="{FF2B5EF4-FFF2-40B4-BE49-F238E27FC236}">
                  <a16:creationId xmlns:a16="http://schemas.microsoft.com/office/drawing/2014/main" id="{70683373-0B8D-5DD9-4A9F-4B648A6001C1}"/>
                </a:ext>
              </a:extLst>
            </p:cNvPr>
            <p:cNvSpPr/>
            <p:nvPr/>
          </p:nvSpPr>
          <p:spPr>
            <a:xfrm>
              <a:off x="774508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0" name="Полилиния 449">
              <a:extLst>
                <a:ext uri="{FF2B5EF4-FFF2-40B4-BE49-F238E27FC236}">
                  <a16:creationId xmlns:a16="http://schemas.microsoft.com/office/drawing/2014/main" id="{168E2A53-7613-3129-C17A-9D8177DAD904}"/>
                </a:ext>
              </a:extLst>
            </p:cNvPr>
            <p:cNvSpPr/>
            <p:nvPr/>
          </p:nvSpPr>
          <p:spPr>
            <a:xfrm>
              <a:off x="783436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1" name="Полилиния 450">
              <a:extLst>
                <a:ext uri="{FF2B5EF4-FFF2-40B4-BE49-F238E27FC236}">
                  <a16:creationId xmlns:a16="http://schemas.microsoft.com/office/drawing/2014/main" id="{2E717ABD-302A-4805-9723-30AFD208FE34}"/>
                </a:ext>
              </a:extLst>
            </p:cNvPr>
            <p:cNvSpPr/>
            <p:nvPr/>
          </p:nvSpPr>
          <p:spPr>
            <a:xfrm>
              <a:off x="787899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2" name="Полилиния 451">
              <a:extLst>
                <a:ext uri="{FF2B5EF4-FFF2-40B4-BE49-F238E27FC236}">
                  <a16:creationId xmlns:a16="http://schemas.microsoft.com/office/drawing/2014/main" id="{BC65A916-371F-6276-EB4D-6625E6E8F982}"/>
                </a:ext>
              </a:extLst>
            </p:cNvPr>
            <p:cNvSpPr/>
            <p:nvPr/>
          </p:nvSpPr>
          <p:spPr>
            <a:xfrm>
              <a:off x="689684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3" name="Полилиния 452">
              <a:extLst>
                <a:ext uri="{FF2B5EF4-FFF2-40B4-BE49-F238E27FC236}">
                  <a16:creationId xmlns:a16="http://schemas.microsoft.com/office/drawing/2014/main" id="{EF824ED3-03B4-B149-3E76-82250A011DD0}"/>
                </a:ext>
              </a:extLst>
            </p:cNvPr>
            <p:cNvSpPr/>
            <p:nvPr/>
          </p:nvSpPr>
          <p:spPr>
            <a:xfrm>
              <a:off x="6941480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4" name="Полилиния 453">
              <a:extLst>
                <a:ext uri="{FF2B5EF4-FFF2-40B4-BE49-F238E27FC236}">
                  <a16:creationId xmlns:a16="http://schemas.microsoft.com/office/drawing/2014/main" id="{77085844-EBEB-9823-0864-BB2176DFBE49}"/>
                </a:ext>
              </a:extLst>
            </p:cNvPr>
            <p:cNvSpPr/>
            <p:nvPr/>
          </p:nvSpPr>
          <p:spPr>
            <a:xfrm>
              <a:off x="6986119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5" name="Полилиния 454">
              <a:extLst>
                <a:ext uri="{FF2B5EF4-FFF2-40B4-BE49-F238E27FC236}">
                  <a16:creationId xmlns:a16="http://schemas.microsoft.com/office/drawing/2014/main" id="{0A2EA0DA-AFC7-3F8C-CF2A-993C67DD0613}"/>
                </a:ext>
              </a:extLst>
            </p:cNvPr>
            <p:cNvSpPr/>
            <p:nvPr/>
          </p:nvSpPr>
          <p:spPr>
            <a:xfrm>
              <a:off x="703075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6" name="Полилиния 455">
              <a:extLst>
                <a:ext uri="{FF2B5EF4-FFF2-40B4-BE49-F238E27FC236}">
                  <a16:creationId xmlns:a16="http://schemas.microsoft.com/office/drawing/2014/main" id="{699DB216-AE0E-6E4A-D384-36E22F24831C}"/>
                </a:ext>
              </a:extLst>
            </p:cNvPr>
            <p:cNvSpPr/>
            <p:nvPr/>
          </p:nvSpPr>
          <p:spPr>
            <a:xfrm>
              <a:off x="707539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7" name="Полилиния 456">
              <a:extLst>
                <a:ext uri="{FF2B5EF4-FFF2-40B4-BE49-F238E27FC236}">
                  <a16:creationId xmlns:a16="http://schemas.microsoft.com/office/drawing/2014/main" id="{F24C5D52-FBDE-56A0-7023-21D07DAAE93A}"/>
                </a:ext>
              </a:extLst>
            </p:cNvPr>
            <p:cNvSpPr/>
            <p:nvPr/>
          </p:nvSpPr>
          <p:spPr>
            <a:xfrm>
              <a:off x="7120037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8" name="Полилиния 457">
              <a:extLst>
                <a:ext uri="{FF2B5EF4-FFF2-40B4-BE49-F238E27FC236}">
                  <a16:creationId xmlns:a16="http://schemas.microsoft.com/office/drawing/2014/main" id="{88515D9E-7323-1DF2-18C1-20994A3C2748}"/>
                </a:ext>
              </a:extLst>
            </p:cNvPr>
            <p:cNvSpPr/>
            <p:nvPr/>
          </p:nvSpPr>
          <p:spPr>
            <a:xfrm>
              <a:off x="729859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9" name="Полилиния 458">
              <a:extLst>
                <a:ext uri="{FF2B5EF4-FFF2-40B4-BE49-F238E27FC236}">
                  <a16:creationId xmlns:a16="http://schemas.microsoft.com/office/drawing/2014/main" id="{67CFB4A3-D021-6905-18C0-D70DC5F14C87}"/>
                </a:ext>
              </a:extLst>
            </p:cNvPr>
            <p:cNvSpPr/>
            <p:nvPr/>
          </p:nvSpPr>
          <p:spPr>
            <a:xfrm>
              <a:off x="734323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0" name="Полилиния 459">
              <a:extLst>
                <a:ext uri="{FF2B5EF4-FFF2-40B4-BE49-F238E27FC236}">
                  <a16:creationId xmlns:a16="http://schemas.microsoft.com/office/drawing/2014/main" id="{9520EC7F-BEBA-0E28-B34C-2AFDAB92E819}"/>
                </a:ext>
              </a:extLst>
            </p:cNvPr>
            <p:cNvSpPr/>
            <p:nvPr/>
          </p:nvSpPr>
          <p:spPr>
            <a:xfrm>
              <a:off x="738787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1" name="Полилиния 460">
              <a:extLst>
                <a:ext uri="{FF2B5EF4-FFF2-40B4-BE49-F238E27FC236}">
                  <a16:creationId xmlns:a16="http://schemas.microsoft.com/office/drawing/2014/main" id="{3287127D-0395-1C3C-C601-DDBA7C4E87FB}"/>
                </a:ext>
              </a:extLst>
            </p:cNvPr>
            <p:cNvSpPr/>
            <p:nvPr/>
          </p:nvSpPr>
          <p:spPr>
            <a:xfrm>
              <a:off x="747715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2" name="Полилиния 461">
              <a:extLst>
                <a:ext uri="{FF2B5EF4-FFF2-40B4-BE49-F238E27FC236}">
                  <a16:creationId xmlns:a16="http://schemas.microsoft.com/office/drawing/2014/main" id="{6F59F8CB-BEDD-625D-64B5-2A480062F52C}"/>
                </a:ext>
              </a:extLst>
            </p:cNvPr>
            <p:cNvSpPr/>
            <p:nvPr/>
          </p:nvSpPr>
          <p:spPr>
            <a:xfrm>
              <a:off x="7521885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3" name="Полилиния 462">
              <a:extLst>
                <a:ext uri="{FF2B5EF4-FFF2-40B4-BE49-F238E27FC236}">
                  <a16:creationId xmlns:a16="http://schemas.microsoft.com/office/drawing/2014/main" id="{86D4DBA6-ED01-92B7-5DFE-C444154F6BF1}"/>
                </a:ext>
              </a:extLst>
            </p:cNvPr>
            <p:cNvSpPr/>
            <p:nvPr/>
          </p:nvSpPr>
          <p:spPr>
            <a:xfrm>
              <a:off x="756652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4" name="Полилиния 463">
              <a:extLst>
                <a:ext uri="{FF2B5EF4-FFF2-40B4-BE49-F238E27FC236}">
                  <a16:creationId xmlns:a16="http://schemas.microsoft.com/office/drawing/2014/main" id="{AC6C5763-5942-A2BA-5EDF-B43916AC897B}"/>
                </a:ext>
              </a:extLst>
            </p:cNvPr>
            <p:cNvSpPr/>
            <p:nvPr/>
          </p:nvSpPr>
          <p:spPr>
            <a:xfrm>
              <a:off x="761116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5" name="Полилиния 464">
              <a:extLst>
                <a:ext uri="{FF2B5EF4-FFF2-40B4-BE49-F238E27FC236}">
                  <a16:creationId xmlns:a16="http://schemas.microsoft.com/office/drawing/2014/main" id="{9779FCB5-3680-4E70-D393-E7401F559F94}"/>
                </a:ext>
              </a:extLst>
            </p:cNvPr>
            <p:cNvSpPr/>
            <p:nvPr/>
          </p:nvSpPr>
          <p:spPr>
            <a:xfrm>
              <a:off x="765580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6" name="Полилиния 465">
              <a:extLst>
                <a:ext uri="{FF2B5EF4-FFF2-40B4-BE49-F238E27FC236}">
                  <a16:creationId xmlns:a16="http://schemas.microsoft.com/office/drawing/2014/main" id="{B33AC3EE-E3DB-121B-5D73-ED88592BE5D5}"/>
                </a:ext>
              </a:extLst>
            </p:cNvPr>
            <p:cNvSpPr/>
            <p:nvPr/>
          </p:nvSpPr>
          <p:spPr>
            <a:xfrm>
              <a:off x="770044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7" name="Полилиния 466">
              <a:extLst>
                <a:ext uri="{FF2B5EF4-FFF2-40B4-BE49-F238E27FC236}">
                  <a16:creationId xmlns:a16="http://schemas.microsoft.com/office/drawing/2014/main" id="{75A14463-8DA3-5E1B-C554-823759639842}"/>
                </a:ext>
              </a:extLst>
            </p:cNvPr>
            <p:cNvSpPr/>
            <p:nvPr/>
          </p:nvSpPr>
          <p:spPr>
            <a:xfrm>
              <a:off x="774508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8" name="Полилиния 467">
              <a:extLst>
                <a:ext uri="{FF2B5EF4-FFF2-40B4-BE49-F238E27FC236}">
                  <a16:creationId xmlns:a16="http://schemas.microsoft.com/office/drawing/2014/main" id="{020D1FC4-EA84-F925-9ED5-93E2C0E930A2}"/>
                </a:ext>
              </a:extLst>
            </p:cNvPr>
            <p:cNvSpPr/>
            <p:nvPr/>
          </p:nvSpPr>
          <p:spPr>
            <a:xfrm>
              <a:off x="685210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9" name="Полилиния 468">
              <a:extLst>
                <a:ext uri="{FF2B5EF4-FFF2-40B4-BE49-F238E27FC236}">
                  <a16:creationId xmlns:a16="http://schemas.microsoft.com/office/drawing/2014/main" id="{D7DDFEE9-0DBE-3F06-5CE7-BB150355DFE8}"/>
                </a:ext>
              </a:extLst>
            </p:cNvPr>
            <p:cNvSpPr/>
            <p:nvPr/>
          </p:nvSpPr>
          <p:spPr>
            <a:xfrm>
              <a:off x="6896841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0" name="Полилиния 469">
              <a:extLst>
                <a:ext uri="{FF2B5EF4-FFF2-40B4-BE49-F238E27FC236}">
                  <a16:creationId xmlns:a16="http://schemas.microsoft.com/office/drawing/2014/main" id="{7D80C5B0-DC3F-8DEB-2C62-AF5E9FDBAD10}"/>
                </a:ext>
              </a:extLst>
            </p:cNvPr>
            <p:cNvSpPr/>
            <p:nvPr/>
          </p:nvSpPr>
          <p:spPr>
            <a:xfrm>
              <a:off x="694148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1" name="Полилиния 470">
              <a:extLst>
                <a:ext uri="{FF2B5EF4-FFF2-40B4-BE49-F238E27FC236}">
                  <a16:creationId xmlns:a16="http://schemas.microsoft.com/office/drawing/2014/main" id="{147AEB4B-FA2C-F8B3-3E86-6E4538030E63}"/>
                </a:ext>
              </a:extLst>
            </p:cNvPr>
            <p:cNvSpPr/>
            <p:nvPr/>
          </p:nvSpPr>
          <p:spPr>
            <a:xfrm>
              <a:off x="7030758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2" name="Полилиния 471">
              <a:extLst>
                <a:ext uri="{FF2B5EF4-FFF2-40B4-BE49-F238E27FC236}">
                  <a16:creationId xmlns:a16="http://schemas.microsoft.com/office/drawing/2014/main" id="{93A2112E-77C9-BD11-808A-CB06A221B44C}"/>
                </a:ext>
              </a:extLst>
            </p:cNvPr>
            <p:cNvSpPr/>
            <p:nvPr/>
          </p:nvSpPr>
          <p:spPr>
            <a:xfrm>
              <a:off x="716467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3" name="Полилиния 472">
              <a:extLst>
                <a:ext uri="{FF2B5EF4-FFF2-40B4-BE49-F238E27FC236}">
                  <a16:creationId xmlns:a16="http://schemas.microsoft.com/office/drawing/2014/main" id="{783A3B1B-884B-2E91-4B88-535FE0FD6BA9}"/>
                </a:ext>
              </a:extLst>
            </p:cNvPr>
            <p:cNvSpPr/>
            <p:nvPr/>
          </p:nvSpPr>
          <p:spPr>
            <a:xfrm>
              <a:off x="7209315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4" name="Полилиния 473">
              <a:extLst>
                <a:ext uri="{FF2B5EF4-FFF2-40B4-BE49-F238E27FC236}">
                  <a16:creationId xmlns:a16="http://schemas.microsoft.com/office/drawing/2014/main" id="{B42CAD9F-B21B-4FB5-98C1-B2E2FB10DAEC}"/>
                </a:ext>
              </a:extLst>
            </p:cNvPr>
            <p:cNvSpPr/>
            <p:nvPr/>
          </p:nvSpPr>
          <p:spPr>
            <a:xfrm>
              <a:off x="734323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5" name="Полилиния 474">
              <a:extLst>
                <a:ext uri="{FF2B5EF4-FFF2-40B4-BE49-F238E27FC236}">
                  <a16:creationId xmlns:a16="http://schemas.microsoft.com/office/drawing/2014/main" id="{A8AF6FB0-C188-AC47-3BCA-DF19B458C7C6}"/>
                </a:ext>
              </a:extLst>
            </p:cNvPr>
            <p:cNvSpPr/>
            <p:nvPr/>
          </p:nvSpPr>
          <p:spPr>
            <a:xfrm>
              <a:off x="738787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6" name="Полилиния 475">
              <a:extLst>
                <a:ext uri="{FF2B5EF4-FFF2-40B4-BE49-F238E27FC236}">
                  <a16:creationId xmlns:a16="http://schemas.microsoft.com/office/drawing/2014/main" id="{643FBF9F-A4CE-E011-EC0C-4F2A14FD8D65}"/>
                </a:ext>
              </a:extLst>
            </p:cNvPr>
            <p:cNvSpPr/>
            <p:nvPr/>
          </p:nvSpPr>
          <p:spPr>
            <a:xfrm>
              <a:off x="7566524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7" name="Полилиния 476">
              <a:extLst>
                <a:ext uri="{FF2B5EF4-FFF2-40B4-BE49-F238E27FC236}">
                  <a16:creationId xmlns:a16="http://schemas.microsoft.com/office/drawing/2014/main" id="{3EEB1FF3-756C-CB9B-C899-7B991303293A}"/>
                </a:ext>
              </a:extLst>
            </p:cNvPr>
            <p:cNvSpPr/>
            <p:nvPr/>
          </p:nvSpPr>
          <p:spPr>
            <a:xfrm>
              <a:off x="765580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8" name="Полилиния 477">
              <a:extLst>
                <a:ext uri="{FF2B5EF4-FFF2-40B4-BE49-F238E27FC236}">
                  <a16:creationId xmlns:a16="http://schemas.microsoft.com/office/drawing/2014/main" id="{7CA3CEFA-FD1B-4221-5712-2E8A9B666A34}"/>
                </a:ext>
              </a:extLst>
            </p:cNvPr>
            <p:cNvSpPr/>
            <p:nvPr/>
          </p:nvSpPr>
          <p:spPr>
            <a:xfrm>
              <a:off x="770044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9" name="Полилиния 478">
              <a:extLst>
                <a:ext uri="{FF2B5EF4-FFF2-40B4-BE49-F238E27FC236}">
                  <a16:creationId xmlns:a16="http://schemas.microsoft.com/office/drawing/2014/main" id="{9C2A6B9B-DA1F-FBB5-ECFF-A6A95A5B6BC8}"/>
                </a:ext>
              </a:extLst>
            </p:cNvPr>
            <p:cNvSpPr/>
            <p:nvPr/>
          </p:nvSpPr>
          <p:spPr>
            <a:xfrm>
              <a:off x="783436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0" name="Полилиния 479">
              <a:extLst>
                <a:ext uri="{FF2B5EF4-FFF2-40B4-BE49-F238E27FC236}">
                  <a16:creationId xmlns:a16="http://schemas.microsoft.com/office/drawing/2014/main" id="{81E5E4F6-B7B7-26AD-EDD2-5370FC214778}"/>
                </a:ext>
              </a:extLst>
            </p:cNvPr>
            <p:cNvSpPr/>
            <p:nvPr/>
          </p:nvSpPr>
          <p:spPr>
            <a:xfrm>
              <a:off x="6807467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1" name="Полилиния 480">
              <a:extLst>
                <a:ext uri="{FF2B5EF4-FFF2-40B4-BE49-F238E27FC236}">
                  <a16:creationId xmlns:a16="http://schemas.microsoft.com/office/drawing/2014/main" id="{17CC793B-78D5-6115-B49A-4E994381256A}"/>
                </a:ext>
              </a:extLst>
            </p:cNvPr>
            <p:cNvSpPr/>
            <p:nvPr/>
          </p:nvSpPr>
          <p:spPr>
            <a:xfrm>
              <a:off x="685210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2" name="Полилиния 481">
              <a:extLst>
                <a:ext uri="{FF2B5EF4-FFF2-40B4-BE49-F238E27FC236}">
                  <a16:creationId xmlns:a16="http://schemas.microsoft.com/office/drawing/2014/main" id="{5BA747D0-0E59-CD2B-CFF1-99F11A45F84D}"/>
                </a:ext>
              </a:extLst>
            </p:cNvPr>
            <p:cNvSpPr/>
            <p:nvPr/>
          </p:nvSpPr>
          <p:spPr>
            <a:xfrm>
              <a:off x="694148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3" name="Полилиния 482">
              <a:extLst>
                <a:ext uri="{FF2B5EF4-FFF2-40B4-BE49-F238E27FC236}">
                  <a16:creationId xmlns:a16="http://schemas.microsoft.com/office/drawing/2014/main" id="{E6BB87AD-64F4-8A71-6187-5070EAC71BBC}"/>
                </a:ext>
              </a:extLst>
            </p:cNvPr>
            <p:cNvSpPr/>
            <p:nvPr/>
          </p:nvSpPr>
          <p:spPr>
            <a:xfrm>
              <a:off x="7075398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4" name="Полилиния 483">
              <a:extLst>
                <a:ext uri="{FF2B5EF4-FFF2-40B4-BE49-F238E27FC236}">
                  <a16:creationId xmlns:a16="http://schemas.microsoft.com/office/drawing/2014/main" id="{15A78737-8226-D178-6B45-21593A86A436}"/>
                </a:ext>
              </a:extLst>
            </p:cNvPr>
            <p:cNvSpPr/>
            <p:nvPr/>
          </p:nvSpPr>
          <p:spPr>
            <a:xfrm>
              <a:off x="716467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5" name="Полилиния 484">
              <a:extLst>
                <a:ext uri="{FF2B5EF4-FFF2-40B4-BE49-F238E27FC236}">
                  <a16:creationId xmlns:a16="http://schemas.microsoft.com/office/drawing/2014/main" id="{7355F47C-7F6D-6FE2-4B47-8BC4541E8C6F}"/>
                </a:ext>
              </a:extLst>
            </p:cNvPr>
            <p:cNvSpPr/>
            <p:nvPr/>
          </p:nvSpPr>
          <p:spPr>
            <a:xfrm>
              <a:off x="720931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6" name="Полилиния 485">
              <a:extLst>
                <a:ext uri="{FF2B5EF4-FFF2-40B4-BE49-F238E27FC236}">
                  <a16:creationId xmlns:a16="http://schemas.microsoft.com/office/drawing/2014/main" id="{8FABF401-7C6C-729E-EE8D-CAC8E4EE9FBF}"/>
                </a:ext>
              </a:extLst>
            </p:cNvPr>
            <p:cNvSpPr/>
            <p:nvPr/>
          </p:nvSpPr>
          <p:spPr>
            <a:xfrm>
              <a:off x="725395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7" name="Полилиния 486">
              <a:extLst>
                <a:ext uri="{FF2B5EF4-FFF2-40B4-BE49-F238E27FC236}">
                  <a16:creationId xmlns:a16="http://schemas.microsoft.com/office/drawing/2014/main" id="{FBEEA746-8928-C6A6-D340-10B98264B288}"/>
                </a:ext>
              </a:extLst>
            </p:cNvPr>
            <p:cNvSpPr/>
            <p:nvPr/>
          </p:nvSpPr>
          <p:spPr>
            <a:xfrm>
              <a:off x="7298594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8" name="Полилиния 487">
              <a:extLst>
                <a:ext uri="{FF2B5EF4-FFF2-40B4-BE49-F238E27FC236}">
                  <a16:creationId xmlns:a16="http://schemas.microsoft.com/office/drawing/2014/main" id="{841DE9F3-AE8A-93D1-42CB-910C4D8C3EB9}"/>
                </a:ext>
              </a:extLst>
            </p:cNvPr>
            <p:cNvSpPr/>
            <p:nvPr/>
          </p:nvSpPr>
          <p:spPr>
            <a:xfrm>
              <a:off x="7343233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9" name="Полилиния 488">
              <a:extLst>
                <a:ext uri="{FF2B5EF4-FFF2-40B4-BE49-F238E27FC236}">
                  <a16:creationId xmlns:a16="http://schemas.microsoft.com/office/drawing/2014/main" id="{CDDAA709-2264-F67B-26C6-F4794758066D}"/>
                </a:ext>
              </a:extLst>
            </p:cNvPr>
            <p:cNvSpPr/>
            <p:nvPr/>
          </p:nvSpPr>
          <p:spPr>
            <a:xfrm>
              <a:off x="743251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0" name="Полилиния 489">
              <a:extLst>
                <a:ext uri="{FF2B5EF4-FFF2-40B4-BE49-F238E27FC236}">
                  <a16:creationId xmlns:a16="http://schemas.microsoft.com/office/drawing/2014/main" id="{C636905F-065B-A932-CD2D-B432AC56340D}"/>
                </a:ext>
              </a:extLst>
            </p:cNvPr>
            <p:cNvSpPr/>
            <p:nvPr/>
          </p:nvSpPr>
          <p:spPr>
            <a:xfrm>
              <a:off x="747715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1" name="Полилиния 490">
              <a:extLst>
                <a:ext uri="{FF2B5EF4-FFF2-40B4-BE49-F238E27FC236}">
                  <a16:creationId xmlns:a16="http://schemas.microsoft.com/office/drawing/2014/main" id="{8591389E-4252-6E01-B112-ABE2106DB9D2}"/>
                </a:ext>
              </a:extLst>
            </p:cNvPr>
            <p:cNvSpPr/>
            <p:nvPr/>
          </p:nvSpPr>
          <p:spPr>
            <a:xfrm>
              <a:off x="752188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2" name="Полилиния 491">
              <a:extLst>
                <a:ext uri="{FF2B5EF4-FFF2-40B4-BE49-F238E27FC236}">
                  <a16:creationId xmlns:a16="http://schemas.microsoft.com/office/drawing/2014/main" id="{75BCF526-4C4F-C4F6-4FDB-C762B9D9FAC7}"/>
                </a:ext>
              </a:extLst>
            </p:cNvPr>
            <p:cNvSpPr/>
            <p:nvPr/>
          </p:nvSpPr>
          <p:spPr>
            <a:xfrm>
              <a:off x="770044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3" name="Полилиния 492">
              <a:extLst>
                <a:ext uri="{FF2B5EF4-FFF2-40B4-BE49-F238E27FC236}">
                  <a16:creationId xmlns:a16="http://schemas.microsoft.com/office/drawing/2014/main" id="{4D30555B-DD67-9838-B708-593CBD6EE873}"/>
                </a:ext>
              </a:extLst>
            </p:cNvPr>
            <p:cNvSpPr/>
            <p:nvPr/>
          </p:nvSpPr>
          <p:spPr>
            <a:xfrm>
              <a:off x="774508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4" name="Полилиния 493">
              <a:extLst>
                <a:ext uri="{FF2B5EF4-FFF2-40B4-BE49-F238E27FC236}">
                  <a16:creationId xmlns:a16="http://schemas.microsoft.com/office/drawing/2014/main" id="{2E56F155-91AA-A49A-7EC1-F17193F6D2BC}"/>
                </a:ext>
              </a:extLst>
            </p:cNvPr>
            <p:cNvSpPr/>
            <p:nvPr/>
          </p:nvSpPr>
          <p:spPr>
            <a:xfrm>
              <a:off x="783436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5" name="Полилиния 494">
              <a:extLst>
                <a:ext uri="{FF2B5EF4-FFF2-40B4-BE49-F238E27FC236}">
                  <a16:creationId xmlns:a16="http://schemas.microsoft.com/office/drawing/2014/main" id="{8DF1466C-57AD-18E0-20C0-AC11DE2DB88D}"/>
                </a:ext>
              </a:extLst>
            </p:cNvPr>
            <p:cNvSpPr/>
            <p:nvPr/>
          </p:nvSpPr>
          <p:spPr>
            <a:xfrm>
              <a:off x="7878999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6" name="Полилиния 495">
              <a:extLst>
                <a:ext uri="{FF2B5EF4-FFF2-40B4-BE49-F238E27FC236}">
                  <a16:creationId xmlns:a16="http://schemas.microsoft.com/office/drawing/2014/main" id="{2DEC2EC7-4385-2241-F109-97F43E5AF3DA}"/>
                </a:ext>
              </a:extLst>
            </p:cNvPr>
            <p:cNvSpPr/>
            <p:nvPr/>
          </p:nvSpPr>
          <p:spPr>
            <a:xfrm>
              <a:off x="6941480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7" name="Полилиния 496">
              <a:extLst>
                <a:ext uri="{FF2B5EF4-FFF2-40B4-BE49-F238E27FC236}">
                  <a16:creationId xmlns:a16="http://schemas.microsoft.com/office/drawing/2014/main" id="{CA00C964-BE88-A067-1987-931BE77B47C5}"/>
                </a:ext>
              </a:extLst>
            </p:cNvPr>
            <p:cNvSpPr/>
            <p:nvPr/>
          </p:nvSpPr>
          <p:spPr>
            <a:xfrm>
              <a:off x="6986119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8" name="Полилиния 497">
              <a:extLst>
                <a:ext uri="{FF2B5EF4-FFF2-40B4-BE49-F238E27FC236}">
                  <a16:creationId xmlns:a16="http://schemas.microsoft.com/office/drawing/2014/main" id="{DF9FE23C-A3B5-7D7C-1989-0F9008AEC848}"/>
                </a:ext>
              </a:extLst>
            </p:cNvPr>
            <p:cNvSpPr/>
            <p:nvPr/>
          </p:nvSpPr>
          <p:spPr>
            <a:xfrm>
              <a:off x="7120037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9" name="Полилиния 498">
              <a:extLst>
                <a:ext uri="{FF2B5EF4-FFF2-40B4-BE49-F238E27FC236}">
                  <a16:creationId xmlns:a16="http://schemas.microsoft.com/office/drawing/2014/main" id="{8C5BDB62-BC4A-26CB-E101-704C3766CF83}"/>
                </a:ext>
              </a:extLst>
            </p:cNvPr>
            <p:cNvSpPr/>
            <p:nvPr/>
          </p:nvSpPr>
          <p:spPr>
            <a:xfrm>
              <a:off x="7253955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0" name="Полилиния 499">
              <a:extLst>
                <a:ext uri="{FF2B5EF4-FFF2-40B4-BE49-F238E27FC236}">
                  <a16:creationId xmlns:a16="http://schemas.microsoft.com/office/drawing/2014/main" id="{64F1D737-1C5C-FEB4-7FBD-E732CD902DEE}"/>
                </a:ext>
              </a:extLst>
            </p:cNvPr>
            <p:cNvSpPr/>
            <p:nvPr/>
          </p:nvSpPr>
          <p:spPr>
            <a:xfrm>
              <a:off x="729859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1" name="Полилиния 500">
              <a:extLst>
                <a:ext uri="{FF2B5EF4-FFF2-40B4-BE49-F238E27FC236}">
                  <a16:creationId xmlns:a16="http://schemas.microsoft.com/office/drawing/2014/main" id="{13167AAA-3418-2BBE-DED7-C5D78A100C44}"/>
                </a:ext>
              </a:extLst>
            </p:cNvPr>
            <p:cNvSpPr/>
            <p:nvPr/>
          </p:nvSpPr>
          <p:spPr>
            <a:xfrm>
              <a:off x="7387872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2" name="Полилиния 501">
              <a:extLst>
                <a:ext uri="{FF2B5EF4-FFF2-40B4-BE49-F238E27FC236}">
                  <a16:creationId xmlns:a16="http://schemas.microsoft.com/office/drawing/2014/main" id="{285D064A-6B35-2F12-71C1-019A0B8FFA7B}"/>
                </a:ext>
              </a:extLst>
            </p:cNvPr>
            <p:cNvSpPr/>
            <p:nvPr/>
          </p:nvSpPr>
          <p:spPr>
            <a:xfrm>
              <a:off x="747715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3" name="Полилиния 502">
              <a:extLst>
                <a:ext uri="{FF2B5EF4-FFF2-40B4-BE49-F238E27FC236}">
                  <a16:creationId xmlns:a16="http://schemas.microsoft.com/office/drawing/2014/main" id="{3AAF8AFA-4104-25E9-F3CC-C82665C180DB}"/>
                </a:ext>
              </a:extLst>
            </p:cNvPr>
            <p:cNvSpPr/>
            <p:nvPr/>
          </p:nvSpPr>
          <p:spPr>
            <a:xfrm>
              <a:off x="756652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4" name="Полилиния 503">
              <a:extLst>
                <a:ext uri="{FF2B5EF4-FFF2-40B4-BE49-F238E27FC236}">
                  <a16:creationId xmlns:a16="http://schemas.microsoft.com/office/drawing/2014/main" id="{4FF0844A-671B-CE89-CF8E-9B8B53DCC60C}"/>
                </a:ext>
              </a:extLst>
            </p:cNvPr>
            <p:cNvSpPr/>
            <p:nvPr/>
          </p:nvSpPr>
          <p:spPr>
            <a:xfrm>
              <a:off x="761116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5" name="Полилиния 504">
              <a:extLst>
                <a:ext uri="{FF2B5EF4-FFF2-40B4-BE49-F238E27FC236}">
                  <a16:creationId xmlns:a16="http://schemas.microsoft.com/office/drawing/2014/main" id="{77122892-E075-32BC-D39E-553D417EFECE}"/>
                </a:ext>
              </a:extLst>
            </p:cNvPr>
            <p:cNvSpPr/>
            <p:nvPr/>
          </p:nvSpPr>
          <p:spPr>
            <a:xfrm>
              <a:off x="774508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6" name="Полилиния 505">
              <a:extLst>
                <a:ext uri="{FF2B5EF4-FFF2-40B4-BE49-F238E27FC236}">
                  <a16:creationId xmlns:a16="http://schemas.microsoft.com/office/drawing/2014/main" id="{575BC9A0-D979-2EF9-6F41-58DC6EB6CA8A}"/>
                </a:ext>
              </a:extLst>
            </p:cNvPr>
            <p:cNvSpPr/>
            <p:nvPr/>
          </p:nvSpPr>
          <p:spPr>
            <a:xfrm>
              <a:off x="6852106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7" name="Полилиния 506">
              <a:extLst>
                <a:ext uri="{FF2B5EF4-FFF2-40B4-BE49-F238E27FC236}">
                  <a16:creationId xmlns:a16="http://schemas.microsoft.com/office/drawing/2014/main" id="{97C3DCC2-822C-66B2-5613-48168EAAB2D6}"/>
                </a:ext>
              </a:extLst>
            </p:cNvPr>
            <p:cNvSpPr/>
            <p:nvPr/>
          </p:nvSpPr>
          <p:spPr>
            <a:xfrm>
              <a:off x="6896841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8" name="Полилиния 507">
              <a:extLst>
                <a:ext uri="{FF2B5EF4-FFF2-40B4-BE49-F238E27FC236}">
                  <a16:creationId xmlns:a16="http://schemas.microsoft.com/office/drawing/2014/main" id="{11AA8A76-7014-2C95-9542-722D2F4C0298}"/>
                </a:ext>
              </a:extLst>
            </p:cNvPr>
            <p:cNvSpPr/>
            <p:nvPr/>
          </p:nvSpPr>
          <p:spPr>
            <a:xfrm>
              <a:off x="698611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9" name="Полилиния 508">
              <a:extLst>
                <a:ext uri="{FF2B5EF4-FFF2-40B4-BE49-F238E27FC236}">
                  <a16:creationId xmlns:a16="http://schemas.microsoft.com/office/drawing/2014/main" id="{BA71871B-B108-99AF-8041-95E6BC728298}"/>
                </a:ext>
              </a:extLst>
            </p:cNvPr>
            <p:cNvSpPr/>
            <p:nvPr/>
          </p:nvSpPr>
          <p:spPr>
            <a:xfrm>
              <a:off x="703075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0" name="Полилиния 509">
              <a:extLst>
                <a:ext uri="{FF2B5EF4-FFF2-40B4-BE49-F238E27FC236}">
                  <a16:creationId xmlns:a16="http://schemas.microsoft.com/office/drawing/2014/main" id="{E2D82460-7BBD-7B17-F6A2-EF597BCA96DB}"/>
                </a:ext>
              </a:extLst>
            </p:cNvPr>
            <p:cNvSpPr/>
            <p:nvPr/>
          </p:nvSpPr>
          <p:spPr>
            <a:xfrm>
              <a:off x="707539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1" name="Полилиния 510">
              <a:extLst>
                <a:ext uri="{FF2B5EF4-FFF2-40B4-BE49-F238E27FC236}">
                  <a16:creationId xmlns:a16="http://schemas.microsoft.com/office/drawing/2014/main" id="{9B00D409-924C-49A4-75AA-87A08E2E5092}"/>
                </a:ext>
              </a:extLst>
            </p:cNvPr>
            <p:cNvSpPr/>
            <p:nvPr/>
          </p:nvSpPr>
          <p:spPr>
            <a:xfrm>
              <a:off x="720931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2" name="Полилиния 511">
              <a:extLst>
                <a:ext uri="{FF2B5EF4-FFF2-40B4-BE49-F238E27FC236}">
                  <a16:creationId xmlns:a16="http://schemas.microsoft.com/office/drawing/2014/main" id="{7E088035-55AF-F91A-14DC-104BAF880600}"/>
                </a:ext>
              </a:extLst>
            </p:cNvPr>
            <p:cNvSpPr/>
            <p:nvPr/>
          </p:nvSpPr>
          <p:spPr>
            <a:xfrm>
              <a:off x="725395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3" name="Полилиния 512">
              <a:extLst>
                <a:ext uri="{FF2B5EF4-FFF2-40B4-BE49-F238E27FC236}">
                  <a16:creationId xmlns:a16="http://schemas.microsoft.com/office/drawing/2014/main" id="{A0507027-0199-4104-7FA1-F232B225A01B}"/>
                </a:ext>
              </a:extLst>
            </p:cNvPr>
            <p:cNvSpPr/>
            <p:nvPr/>
          </p:nvSpPr>
          <p:spPr>
            <a:xfrm>
              <a:off x="738787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4" name="Полилиния 513">
              <a:extLst>
                <a:ext uri="{FF2B5EF4-FFF2-40B4-BE49-F238E27FC236}">
                  <a16:creationId xmlns:a16="http://schemas.microsoft.com/office/drawing/2014/main" id="{87A68F4B-04FF-047F-C8C5-FF157F19E543}"/>
                </a:ext>
              </a:extLst>
            </p:cNvPr>
            <p:cNvSpPr/>
            <p:nvPr/>
          </p:nvSpPr>
          <p:spPr>
            <a:xfrm>
              <a:off x="752188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5" name="Полилиния 514">
              <a:extLst>
                <a:ext uri="{FF2B5EF4-FFF2-40B4-BE49-F238E27FC236}">
                  <a16:creationId xmlns:a16="http://schemas.microsoft.com/office/drawing/2014/main" id="{3557CD1C-CB21-C5FA-DC8A-BFCDED1BCDD9}"/>
                </a:ext>
              </a:extLst>
            </p:cNvPr>
            <p:cNvSpPr/>
            <p:nvPr/>
          </p:nvSpPr>
          <p:spPr>
            <a:xfrm>
              <a:off x="770044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6" name="Полилиния 515">
              <a:extLst>
                <a:ext uri="{FF2B5EF4-FFF2-40B4-BE49-F238E27FC236}">
                  <a16:creationId xmlns:a16="http://schemas.microsoft.com/office/drawing/2014/main" id="{8A2D6F85-BCA9-075E-D1EC-4FC62C9AB006}"/>
                </a:ext>
              </a:extLst>
            </p:cNvPr>
            <p:cNvSpPr/>
            <p:nvPr/>
          </p:nvSpPr>
          <p:spPr>
            <a:xfrm>
              <a:off x="787899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7" name="Полилиния 516">
              <a:extLst>
                <a:ext uri="{FF2B5EF4-FFF2-40B4-BE49-F238E27FC236}">
                  <a16:creationId xmlns:a16="http://schemas.microsoft.com/office/drawing/2014/main" id="{6E79BB0A-5B6D-7C86-4391-A8E152EB2152}"/>
                </a:ext>
              </a:extLst>
            </p:cNvPr>
            <p:cNvSpPr/>
            <p:nvPr/>
          </p:nvSpPr>
          <p:spPr>
            <a:xfrm>
              <a:off x="645339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4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8" name="Полилиния 517">
              <a:extLst>
                <a:ext uri="{FF2B5EF4-FFF2-40B4-BE49-F238E27FC236}">
                  <a16:creationId xmlns:a16="http://schemas.microsoft.com/office/drawing/2014/main" id="{979D0133-9BF5-8A5C-58C0-F40EB6B663B7}"/>
                </a:ext>
              </a:extLst>
            </p:cNvPr>
            <p:cNvSpPr/>
            <p:nvPr/>
          </p:nvSpPr>
          <p:spPr>
            <a:xfrm>
              <a:off x="761420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4" y="0"/>
                    <a:pt x="0" y="68364"/>
                    <a:pt x="0" y="152659"/>
                  </a:cubicBezTo>
                  <a:cubicBezTo>
                    <a:pt x="0" y="236953"/>
                    <a:pt x="68624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2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9" name="Полилиния 518">
              <a:extLst>
                <a:ext uri="{FF2B5EF4-FFF2-40B4-BE49-F238E27FC236}">
                  <a16:creationId xmlns:a16="http://schemas.microsoft.com/office/drawing/2014/main" id="{A055C0CB-0CAB-F054-F33E-CE72D713A0E0}"/>
                </a:ext>
              </a:extLst>
            </p:cNvPr>
            <p:cNvSpPr/>
            <p:nvPr/>
          </p:nvSpPr>
          <p:spPr>
            <a:xfrm>
              <a:off x="6453399" y="3843927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5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5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0" name="Полилиния 519">
              <a:extLst>
                <a:ext uri="{FF2B5EF4-FFF2-40B4-BE49-F238E27FC236}">
                  <a16:creationId xmlns:a16="http://schemas.microsoft.com/office/drawing/2014/main" id="{C10E9D75-E8E0-EEEF-40E1-2DFEB1E1BF4F}"/>
                </a:ext>
              </a:extLst>
            </p:cNvPr>
            <p:cNvSpPr/>
            <p:nvPr/>
          </p:nvSpPr>
          <p:spPr>
            <a:xfrm>
              <a:off x="6539631" y="2773421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1" name="Полилиния 520">
              <a:extLst>
                <a:ext uri="{FF2B5EF4-FFF2-40B4-BE49-F238E27FC236}">
                  <a16:creationId xmlns:a16="http://schemas.microsoft.com/office/drawing/2014/main" id="{5437FE94-FFAB-980F-5E9D-90418BF04D8F}"/>
                </a:ext>
              </a:extLst>
            </p:cNvPr>
            <p:cNvSpPr/>
            <p:nvPr/>
          </p:nvSpPr>
          <p:spPr>
            <a:xfrm>
              <a:off x="7700442" y="2773421"/>
              <a:ext cx="131347" cy="130850"/>
            </a:xfrm>
            <a:custGeom>
              <a:avLst/>
              <a:gdLst>
                <a:gd name="connsiteX0" fmla="*/ 131348 w 131347"/>
                <a:gd name="connsiteY0" fmla="*/ 65425 h 130850"/>
                <a:gd name="connsiteX1" fmla="*/ 65674 w 131347"/>
                <a:gd name="connsiteY1" fmla="*/ 130850 h 130850"/>
                <a:gd name="connsiteX2" fmla="*/ 0 w 131347"/>
                <a:gd name="connsiteY2" fmla="*/ 65425 h 130850"/>
                <a:gd name="connsiteX3" fmla="*/ 65674 w 131347"/>
                <a:gd name="connsiteY3" fmla="*/ 0 h 130850"/>
                <a:gd name="connsiteX4" fmla="*/ 131348 w 131347"/>
                <a:gd name="connsiteY4" fmla="*/ 65425 h 130850"/>
                <a:gd name="connsiteX5" fmla="*/ 131348 w 131347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7" h="130850">
                  <a:moveTo>
                    <a:pt x="131348" y="65425"/>
                  </a:moveTo>
                  <a:cubicBezTo>
                    <a:pt x="131348" y="101551"/>
                    <a:pt x="101937" y="130850"/>
                    <a:pt x="65674" y="130850"/>
                  </a:cubicBezTo>
                  <a:cubicBezTo>
                    <a:pt x="29410" y="130850"/>
                    <a:pt x="0" y="101551"/>
                    <a:pt x="0" y="65425"/>
                  </a:cubicBezTo>
                  <a:cubicBezTo>
                    <a:pt x="0" y="29299"/>
                    <a:pt x="29410" y="0"/>
                    <a:pt x="65674" y="0"/>
                  </a:cubicBezTo>
                  <a:cubicBezTo>
                    <a:pt x="101937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2" name="Полилиния 521">
              <a:extLst>
                <a:ext uri="{FF2B5EF4-FFF2-40B4-BE49-F238E27FC236}">
                  <a16:creationId xmlns:a16="http://schemas.microsoft.com/office/drawing/2014/main" id="{59E83F1E-22EB-67B1-4EAF-FCC9F71C4A11}"/>
                </a:ext>
              </a:extLst>
            </p:cNvPr>
            <p:cNvSpPr/>
            <p:nvPr/>
          </p:nvSpPr>
          <p:spPr>
            <a:xfrm>
              <a:off x="6539631" y="3929834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3" name="Полилиния 522">
              <a:extLst>
                <a:ext uri="{FF2B5EF4-FFF2-40B4-BE49-F238E27FC236}">
                  <a16:creationId xmlns:a16="http://schemas.microsoft.com/office/drawing/2014/main" id="{289DBC7F-B6D3-3DD0-1EC7-EE1417318E56}"/>
                </a:ext>
              </a:extLst>
            </p:cNvPr>
            <p:cNvSpPr/>
            <p:nvPr/>
          </p:nvSpPr>
          <p:spPr>
            <a:xfrm>
              <a:off x="6941480" y="3173652"/>
              <a:ext cx="491126" cy="489266"/>
            </a:xfrm>
            <a:custGeom>
              <a:avLst/>
              <a:gdLst>
                <a:gd name="connsiteX0" fmla="*/ 0 w 491126"/>
                <a:gd name="connsiteY0" fmla="*/ 244633 h 489266"/>
                <a:gd name="connsiteX1" fmla="*/ 245564 w 491126"/>
                <a:gd name="connsiteY1" fmla="*/ 0 h 489266"/>
                <a:gd name="connsiteX2" fmla="*/ 491127 w 491126"/>
                <a:gd name="connsiteY2" fmla="*/ 244633 h 489266"/>
                <a:gd name="connsiteX3" fmla="*/ 245564 w 491126"/>
                <a:gd name="connsiteY3" fmla="*/ 489266 h 489266"/>
                <a:gd name="connsiteX4" fmla="*/ 0 w 491126"/>
                <a:gd name="connsiteY4" fmla="*/ 244633 h 489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126" h="489266">
                  <a:moveTo>
                    <a:pt x="0" y="244633"/>
                  </a:moveTo>
                  <a:cubicBezTo>
                    <a:pt x="0" y="109516"/>
                    <a:pt x="109933" y="0"/>
                    <a:pt x="245564" y="0"/>
                  </a:cubicBezTo>
                  <a:cubicBezTo>
                    <a:pt x="381194" y="0"/>
                    <a:pt x="491127" y="109516"/>
                    <a:pt x="491127" y="244633"/>
                  </a:cubicBezTo>
                  <a:cubicBezTo>
                    <a:pt x="491127" y="379750"/>
                    <a:pt x="381194" y="489266"/>
                    <a:pt x="245564" y="489266"/>
                  </a:cubicBezTo>
                  <a:cubicBezTo>
                    <a:pt x="109933" y="489266"/>
                    <a:pt x="0" y="379750"/>
                    <a:pt x="0" y="244633"/>
                  </a:cubicBezTo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4" name="Полилиния 523">
              <a:extLst>
                <a:ext uri="{FF2B5EF4-FFF2-40B4-BE49-F238E27FC236}">
                  <a16:creationId xmlns:a16="http://schemas.microsoft.com/office/drawing/2014/main" id="{E8411FAD-9461-81FE-1B02-F7E74C18B7BD}"/>
                </a:ext>
              </a:extLst>
            </p:cNvPr>
            <p:cNvSpPr/>
            <p:nvPr/>
          </p:nvSpPr>
          <p:spPr>
            <a:xfrm>
              <a:off x="7002815" y="3284324"/>
              <a:ext cx="323875" cy="267920"/>
            </a:xfrm>
            <a:custGeom>
              <a:avLst/>
              <a:gdLst>
                <a:gd name="connsiteX0" fmla="*/ 323762 w 323875"/>
                <a:gd name="connsiteY0" fmla="*/ 26057 h 267920"/>
                <a:gd name="connsiteX1" fmla="*/ 315671 w 323875"/>
                <a:gd name="connsiteY1" fmla="*/ 82284 h 267920"/>
                <a:gd name="connsiteX2" fmla="*/ 292257 w 323875"/>
                <a:gd name="connsiteY2" fmla="*/ 235227 h 267920"/>
                <a:gd name="connsiteX3" fmla="*/ 286165 w 323875"/>
                <a:gd name="connsiteY3" fmla="*/ 254665 h 267920"/>
                <a:gd name="connsiteX4" fmla="*/ 258944 w 323875"/>
                <a:gd name="connsiteY4" fmla="*/ 266518 h 267920"/>
                <a:gd name="connsiteX5" fmla="*/ 236101 w 323875"/>
                <a:gd name="connsiteY5" fmla="*/ 255329 h 267920"/>
                <a:gd name="connsiteX6" fmla="*/ 151106 w 323875"/>
                <a:gd name="connsiteY6" fmla="*/ 198438 h 267920"/>
                <a:gd name="connsiteX7" fmla="*/ 147965 w 323875"/>
                <a:gd name="connsiteY7" fmla="*/ 166578 h 267920"/>
                <a:gd name="connsiteX8" fmla="*/ 197934 w 323875"/>
                <a:gd name="connsiteY8" fmla="*/ 119927 h 267920"/>
                <a:gd name="connsiteX9" fmla="*/ 236196 w 323875"/>
                <a:gd name="connsiteY9" fmla="*/ 83517 h 267920"/>
                <a:gd name="connsiteX10" fmla="*/ 241050 w 323875"/>
                <a:gd name="connsiteY10" fmla="*/ 78207 h 267920"/>
                <a:gd name="connsiteX11" fmla="*/ 242668 w 323875"/>
                <a:gd name="connsiteY11" fmla="*/ 69389 h 267920"/>
                <a:gd name="connsiteX12" fmla="*/ 233626 w 323875"/>
                <a:gd name="connsiteY12" fmla="*/ 69484 h 267920"/>
                <a:gd name="connsiteX13" fmla="*/ 190129 w 323875"/>
                <a:gd name="connsiteY13" fmla="*/ 98403 h 267920"/>
                <a:gd name="connsiteX14" fmla="*/ 115794 w 323875"/>
                <a:gd name="connsiteY14" fmla="*/ 149226 h 267920"/>
                <a:gd name="connsiteX15" fmla="*/ 98757 w 323875"/>
                <a:gd name="connsiteY15" fmla="*/ 158614 h 267920"/>
                <a:gd name="connsiteX16" fmla="*/ 66777 w 323875"/>
                <a:gd name="connsiteY16" fmla="*/ 160889 h 267920"/>
                <a:gd name="connsiteX17" fmla="*/ 15284 w 323875"/>
                <a:gd name="connsiteY17" fmla="*/ 146666 h 267920"/>
                <a:gd name="connsiteX18" fmla="*/ 4719 w 323875"/>
                <a:gd name="connsiteY18" fmla="*/ 141831 h 267920"/>
                <a:gd name="connsiteX19" fmla="*/ 3101 w 323875"/>
                <a:gd name="connsiteY19" fmla="*/ 127608 h 267920"/>
                <a:gd name="connsiteX20" fmla="*/ 16331 w 323875"/>
                <a:gd name="connsiteY20" fmla="*/ 118790 h 267920"/>
                <a:gd name="connsiteX21" fmla="*/ 281216 w 323875"/>
                <a:gd name="connsiteY21" fmla="*/ 6808 h 267920"/>
                <a:gd name="connsiteX22" fmla="*/ 299110 w 323875"/>
                <a:gd name="connsiteY22" fmla="*/ 835 h 267920"/>
                <a:gd name="connsiteX23" fmla="*/ 323857 w 323875"/>
                <a:gd name="connsiteY23" fmla="*/ 25962 h 26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23875" h="267920">
                  <a:moveTo>
                    <a:pt x="323762" y="26057"/>
                  </a:moveTo>
                  <a:cubicBezTo>
                    <a:pt x="321477" y="41986"/>
                    <a:pt x="318717" y="62183"/>
                    <a:pt x="315671" y="82284"/>
                  </a:cubicBezTo>
                  <a:cubicBezTo>
                    <a:pt x="307962" y="133297"/>
                    <a:pt x="300252" y="184215"/>
                    <a:pt x="292257" y="235227"/>
                  </a:cubicBezTo>
                  <a:cubicBezTo>
                    <a:pt x="291210" y="241865"/>
                    <a:pt x="289116" y="248597"/>
                    <a:pt x="286165" y="254665"/>
                  </a:cubicBezTo>
                  <a:cubicBezTo>
                    <a:pt x="280645" y="266138"/>
                    <a:pt x="271032" y="270405"/>
                    <a:pt x="258944" y="266518"/>
                  </a:cubicBezTo>
                  <a:cubicBezTo>
                    <a:pt x="250949" y="263863"/>
                    <a:pt x="243144" y="259880"/>
                    <a:pt x="236101" y="255329"/>
                  </a:cubicBezTo>
                  <a:cubicBezTo>
                    <a:pt x="207547" y="236650"/>
                    <a:pt x="179374" y="217496"/>
                    <a:pt x="151106" y="198438"/>
                  </a:cubicBezTo>
                  <a:cubicBezTo>
                    <a:pt x="137781" y="189525"/>
                    <a:pt x="136353" y="177767"/>
                    <a:pt x="147965" y="166578"/>
                  </a:cubicBezTo>
                  <a:cubicBezTo>
                    <a:pt x="164336" y="150744"/>
                    <a:pt x="181278" y="135478"/>
                    <a:pt x="197934" y="119927"/>
                  </a:cubicBezTo>
                  <a:cubicBezTo>
                    <a:pt x="210783" y="107885"/>
                    <a:pt x="223442" y="95748"/>
                    <a:pt x="236196" y="83517"/>
                  </a:cubicBezTo>
                  <a:cubicBezTo>
                    <a:pt x="237909" y="81810"/>
                    <a:pt x="239432" y="80009"/>
                    <a:pt x="241050" y="78207"/>
                  </a:cubicBezTo>
                  <a:cubicBezTo>
                    <a:pt x="243335" y="75552"/>
                    <a:pt x="245524" y="72613"/>
                    <a:pt x="242668" y="69389"/>
                  </a:cubicBezTo>
                  <a:cubicBezTo>
                    <a:pt x="239908" y="66165"/>
                    <a:pt x="236482" y="67587"/>
                    <a:pt x="233626" y="69484"/>
                  </a:cubicBezTo>
                  <a:cubicBezTo>
                    <a:pt x="219064" y="79060"/>
                    <a:pt x="204501" y="88637"/>
                    <a:pt x="190129" y="98403"/>
                  </a:cubicBezTo>
                  <a:cubicBezTo>
                    <a:pt x="165288" y="115281"/>
                    <a:pt x="140636" y="132443"/>
                    <a:pt x="115794" y="149226"/>
                  </a:cubicBezTo>
                  <a:cubicBezTo>
                    <a:pt x="110464" y="152830"/>
                    <a:pt x="104658" y="155864"/>
                    <a:pt x="98757" y="158614"/>
                  </a:cubicBezTo>
                  <a:cubicBezTo>
                    <a:pt x="88478" y="163449"/>
                    <a:pt x="77912" y="164208"/>
                    <a:pt x="66777" y="160889"/>
                  </a:cubicBezTo>
                  <a:cubicBezTo>
                    <a:pt x="49739" y="155769"/>
                    <a:pt x="32417" y="151502"/>
                    <a:pt x="15284" y="146666"/>
                  </a:cubicBezTo>
                  <a:cubicBezTo>
                    <a:pt x="11572" y="145623"/>
                    <a:pt x="7955" y="143917"/>
                    <a:pt x="4719" y="141831"/>
                  </a:cubicBezTo>
                  <a:cubicBezTo>
                    <a:pt x="-801" y="138133"/>
                    <a:pt x="-1658" y="132254"/>
                    <a:pt x="3101" y="127608"/>
                  </a:cubicBezTo>
                  <a:cubicBezTo>
                    <a:pt x="6909" y="124005"/>
                    <a:pt x="11477" y="120781"/>
                    <a:pt x="16331" y="118790"/>
                  </a:cubicBezTo>
                  <a:cubicBezTo>
                    <a:pt x="104563" y="81336"/>
                    <a:pt x="192890" y="44072"/>
                    <a:pt x="281216" y="6808"/>
                  </a:cubicBezTo>
                  <a:cubicBezTo>
                    <a:pt x="287022" y="4343"/>
                    <a:pt x="293018" y="2162"/>
                    <a:pt x="299110" y="835"/>
                  </a:cubicBezTo>
                  <a:cubicBezTo>
                    <a:pt x="315766" y="-2674"/>
                    <a:pt x="324333" y="4722"/>
                    <a:pt x="323857" y="25962"/>
                  </a:cubicBezTo>
                  <a:close/>
                </a:path>
              </a:pathLst>
            </a:custGeom>
            <a:solidFill>
              <a:schemeClr val="tx2"/>
            </a:solidFill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25" name="Полилиния 524">
            <a:extLst>
              <a:ext uri="{FF2B5EF4-FFF2-40B4-BE49-F238E27FC236}">
                <a16:creationId xmlns:a16="http://schemas.microsoft.com/office/drawing/2014/main" id="{E89F4E4E-82BC-A8D1-8F97-50BDC7F86DEE}"/>
              </a:ext>
            </a:extLst>
          </p:cNvPr>
          <p:cNvSpPr/>
          <p:nvPr/>
        </p:nvSpPr>
        <p:spPr>
          <a:xfrm>
            <a:off x="505250" y="2841898"/>
            <a:ext cx="1248421" cy="1243612"/>
          </a:xfrm>
          <a:custGeom>
            <a:avLst/>
            <a:gdLst>
              <a:gd name="connsiteX0" fmla="*/ 564796 w 1485658"/>
              <a:gd name="connsiteY0" fmla="*/ 0 h 1479935"/>
              <a:gd name="connsiteX1" fmla="*/ 595348 w 1485658"/>
              <a:gd name="connsiteY1" fmla="*/ 30437 h 1479935"/>
              <a:gd name="connsiteX2" fmla="*/ 564796 w 1485658"/>
              <a:gd name="connsiteY2" fmla="*/ 60874 h 1479935"/>
              <a:gd name="connsiteX3" fmla="*/ 534243 w 1485658"/>
              <a:gd name="connsiteY3" fmla="*/ 30437 h 1479935"/>
              <a:gd name="connsiteX4" fmla="*/ 564796 w 1485658"/>
              <a:gd name="connsiteY4" fmla="*/ 0 h 1479935"/>
              <a:gd name="connsiteX5" fmla="*/ 593635 w 1485658"/>
              <a:gd name="connsiteY5" fmla="*/ 30437 h 1479935"/>
              <a:gd name="connsiteX6" fmla="*/ 624188 w 1485658"/>
              <a:gd name="connsiteY6" fmla="*/ 60874 h 1479935"/>
              <a:gd name="connsiteX7" fmla="*/ 654740 w 1485658"/>
              <a:gd name="connsiteY7" fmla="*/ 30437 h 1479935"/>
              <a:gd name="connsiteX8" fmla="*/ 624188 w 1485658"/>
              <a:gd name="connsiteY8" fmla="*/ 0 h 1479935"/>
              <a:gd name="connsiteX9" fmla="*/ 593635 w 1485658"/>
              <a:gd name="connsiteY9" fmla="*/ 30437 h 1479935"/>
              <a:gd name="connsiteX10" fmla="*/ 652932 w 1485658"/>
              <a:gd name="connsiteY10" fmla="*/ 30437 h 1479935"/>
              <a:gd name="connsiteX11" fmla="*/ 683485 w 1485658"/>
              <a:gd name="connsiteY11" fmla="*/ 60874 h 1479935"/>
              <a:gd name="connsiteX12" fmla="*/ 714037 w 1485658"/>
              <a:gd name="connsiteY12" fmla="*/ 30437 h 1479935"/>
              <a:gd name="connsiteX13" fmla="*/ 683485 w 1485658"/>
              <a:gd name="connsiteY13" fmla="*/ 0 h 1479935"/>
              <a:gd name="connsiteX14" fmla="*/ 652932 w 1485658"/>
              <a:gd name="connsiteY14" fmla="*/ 30437 h 1479935"/>
              <a:gd name="connsiteX15" fmla="*/ 831013 w 1485658"/>
              <a:gd name="connsiteY15" fmla="*/ 30437 h 1479935"/>
              <a:gd name="connsiteX16" fmla="*/ 861566 w 1485658"/>
              <a:gd name="connsiteY16" fmla="*/ 60874 h 1479935"/>
              <a:gd name="connsiteX17" fmla="*/ 892118 w 1485658"/>
              <a:gd name="connsiteY17" fmla="*/ 30437 h 1479935"/>
              <a:gd name="connsiteX18" fmla="*/ 861566 w 1485658"/>
              <a:gd name="connsiteY18" fmla="*/ 0 h 1479935"/>
              <a:gd name="connsiteX19" fmla="*/ 831013 w 1485658"/>
              <a:gd name="connsiteY19" fmla="*/ 30437 h 1479935"/>
              <a:gd name="connsiteX20" fmla="*/ 949702 w 1485658"/>
              <a:gd name="connsiteY20" fmla="*/ 30437 h 1479935"/>
              <a:gd name="connsiteX21" fmla="*/ 980255 w 1485658"/>
              <a:gd name="connsiteY21" fmla="*/ 60874 h 1479935"/>
              <a:gd name="connsiteX22" fmla="*/ 1010807 w 1485658"/>
              <a:gd name="connsiteY22" fmla="*/ 30437 h 1479935"/>
              <a:gd name="connsiteX23" fmla="*/ 980255 w 1485658"/>
              <a:gd name="connsiteY23" fmla="*/ 0 h 1479935"/>
              <a:gd name="connsiteX24" fmla="*/ 949702 w 1485658"/>
              <a:gd name="connsiteY24" fmla="*/ 30437 h 1479935"/>
              <a:gd name="connsiteX25" fmla="*/ 593635 w 1485658"/>
              <a:gd name="connsiteY25" fmla="*/ 89509 h 1479935"/>
              <a:gd name="connsiteX26" fmla="*/ 624188 w 1485658"/>
              <a:gd name="connsiteY26" fmla="*/ 119946 h 1479935"/>
              <a:gd name="connsiteX27" fmla="*/ 654740 w 1485658"/>
              <a:gd name="connsiteY27" fmla="*/ 89509 h 1479935"/>
              <a:gd name="connsiteX28" fmla="*/ 624188 w 1485658"/>
              <a:gd name="connsiteY28" fmla="*/ 59072 h 1479935"/>
              <a:gd name="connsiteX29" fmla="*/ 593635 w 1485658"/>
              <a:gd name="connsiteY29" fmla="*/ 89509 h 1479935"/>
              <a:gd name="connsiteX30" fmla="*/ 771621 w 1485658"/>
              <a:gd name="connsiteY30" fmla="*/ 89509 h 1479935"/>
              <a:gd name="connsiteX31" fmla="*/ 802174 w 1485658"/>
              <a:gd name="connsiteY31" fmla="*/ 119946 h 1479935"/>
              <a:gd name="connsiteX32" fmla="*/ 832726 w 1485658"/>
              <a:gd name="connsiteY32" fmla="*/ 89509 h 1479935"/>
              <a:gd name="connsiteX33" fmla="*/ 802174 w 1485658"/>
              <a:gd name="connsiteY33" fmla="*/ 59072 h 1479935"/>
              <a:gd name="connsiteX34" fmla="*/ 771621 w 1485658"/>
              <a:gd name="connsiteY34" fmla="*/ 89509 h 1479935"/>
              <a:gd name="connsiteX35" fmla="*/ 890310 w 1485658"/>
              <a:gd name="connsiteY35" fmla="*/ 89509 h 1479935"/>
              <a:gd name="connsiteX36" fmla="*/ 920863 w 1485658"/>
              <a:gd name="connsiteY36" fmla="*/ 119946 h 1479935"/>
              <a:gd name="connsiteX37" fmla="*/ 951415 w 1485658"/>
              <a:gd name="connsiteY37" fmla="*/ 89509 h 1479935"/>
              <a:gd name="connsiteX38" fmla="*/ 920863 w 1485658"/>
              <a:gd name="connsiteY38" fmla="*/ 59072 h 1479935"/>
              <a:gd name="connsiteX39" fmla="*/ 890310 w 1485658"/>
              <a:gd name="connsiteY39" fmla="*/ 89509 h 1479935"/>
              <a:gd name="connsiteX40" fmla="*/ 474851 w 1485658"/>
              <a:gd name="connsiteY40" fmla="*/ 148676 h 1479935"/>
              <a:gd name="connsiteX41" fmla="*/ 505404 w 1485658"/>
              <a:gd name="connsiteY41" fmla="*/ 179113 h 1479935"/>
              <a:gd name="connsiteX42" fmla="*/ 535956 w 1485658"/>
              <a:gd name="connsiteY42" fmla="*/ 148676 h 1479935"/>
              <a:gd name="connsiteX43" fmla="*/ 505404 w 1485658"/>
              <a:gd name="connsiteY43" fmla="*/ 118239 h 1479935"/>
              <a:gd name="connsiteX44" fmla="*/ 474851 w 1485658"/>
              <a:gd name="connsiteY44" fmla="*/ 148676 h 1479935"/>
              <a:gd name="connsiteX45" fmla="*/ 712324 w 1485658"/>
              <a:gd name="connsiteY45" fmla="*/ 148676 h 1479935"/>
              <a:gd name="connsiteX46" fmla="*/ 742877 w 1485658"/>
              <a:gd name="connsiteY46" fmla="*/ 179113 h 1479935"/>
              <a:gd name="connsiteX47" fmla="*/ 773429 w 1485658"/>
              <a:gd name="connsiteY47" fmla="*/ 148676 h 1479935"/>
              <a:gd name="connsiteX48" fmla="*/ 742877 w 1485658"/>
              <a:gd name="connsiteY48" fmla="*/ 118239 h 1479935"/>
              <a:gd name="connsiteX49" fmla="*/ 712324 w 1485658"/>
              <a:gd name="connsiteY49" fmla="*/ 148676 h 1479935"/>
              <a:gd name="connsiteX50" fmla="*/ 949702 w 1485658"/>
              <a:gd name="connsiteY50" fmla="*/ 148676 h 1479935"/>
              <a:gd name="connsiteX51" fmla="*/ 980255 w 1485658"/>
              <a:gd name="connsiteY51" fmla="*/ 179113 h 1479935"/>
              <a:gd name="connsiteX52" fmla="*/ 1010807 w 1485658"/>
              <a:gd name="connsiteY52" fmla="*/ 148676 h 1479935"/>
              <a:gd name="connsiteX53" fmla="*/ 980255 w 1485658"/>
              <a:gd name="connsiteY53" fmla="*/ 118239 h 1479935"/>
              <a:gd name="connsiteX54" fmla="*/ 949702 w 1485658"/>
              <a:gd name="connsiteY54" fmla="*/ 148676 h 1479935"/>
              <a:gd name="connsiteX55" fmla="*/ 474851 w 1485658"/>
              <a:gd name="connsiteY55" fmla="*/ 207843 h 1479935"/>
              <a:gd name="connsiteX56" fmla="*/ 505404 w 1485658"/>
              <a:gd name="connsiteY56" fmla="*/ 238280 h 1479935"/>
              <a:gd name="connsiteX57" fmla="*/ 535956 w 1485658"/>
              <a:gd name="connsiteY57" fmla="*/ 207843 h 1479935"/>
              <a:gd name="connsiteX58" fmla="*/ 505404 w 1485658"/>
              <a:gd name="connsiteY58" fmla="*/ 177406 h 1479935"/>
              <a:gd name="connsiteX59" fmla="*/ 474851 w 1485658"/>
              <a:gd name="connsiteY59" fmla="*/ 207843 h 1479935"/>
              <a:gd name="connsiteX60" fmla="*/ 534243 w 1485658"/>
              <a:gd name="connsiteY60" fmla="*/ 207843 h 1479935"/>
              <a:gd name="connsiteX61" fmla="*/ 564796 w 1485658"/>
              <a:gd name="connsiteY61" fmla="*/ 238280 h 1479935"/>
              <a:gd name="connsiteX62" fmla="*/ 595348 w 1485658"/>
              <a:gd name="connsiteY62" fmla="*/ 207843 h 1479935"/>
              <a:gd name="connsiteX63" fmla="*/ 564796 w 1485658"/>
              <a:gd name="connsiteY63" fmla="*/ 177406 h 1479935"/>
              <a:gd name="connsiteX64" fmla="*/ 534243 w 1485658"/>
              <a:gd name="connsiteY64" fmla="*/ 207843 h 1479935"/>
              <a:gd name="connsiteX65" fmla="*/ 593635 w 1485658"/>
              <a:gd name="connsiteY65" fmla="*/ 207843 h 1479935"/>
              <a:gd name="connsiteX66" fmla="*/ 624188 w 1485658"/>
              <a:gd name="connsiteY66" fmla="*/ 238280 h 1479935"/>
              <a:gd name="connsiteX67" fmla="*/ 654740 w 1485658"/>
              <a:gd name="connsiteY67" fmla="*/ 207843 h 1479935"/>
              <a:gd name="connsiteX68" fmla="*/ 624188 w 1485658"/>
              <a:gd name="connsiteY68" fmla="*/ 177406 h 1479935"/>
              <a:gd name="connsiteX69" fmla="*/ 593635 w 1485658"/>
              <a:gd name="connsiteY69" fmla="*/ 207843 h 1479935"/>
              <a:gd name="connsiteX70" fmla="*/ 652932 w 1485658"/>
              <a:gd name="connsiteY70" fmla="*/ 207843 h 1479935"/>
              <a:gd name="connsiteX71" fmla="*/ 683485 w 1485658"/>
              <a:gd name="connsiteY71" fmla="*/ 238280 h 1479935"/>
              <a:gd name="connsiteX72" fmla="*/ 714037 w 1485658"/>
              <a:gd name="connsiteY72" fmla="*/ 207843 h 1479935"/>
              <a:gd name="connsiteX73" fmla="*/ 683485 w 1485658"/>
              <a:gd name="connsiteY73" fmla="*/ 177406 h 1479935"/>
              <a:gd name="connsiteX74" fmla="*/ 652932 w 1485658"/>
              <a:gd name="connsiteY74" fmla="*/ 207843 h 1479935"/>
              <a:gd name="connsiteX75" fmla="*/ 771621 w 1485658"/>
              <a:gd name="connsiteY75" fmla="*/ 207843 h 1479935"/>
              <a:gd name="connsiteX76" fmla="*/ 802174 w 1485658"/>
              <a:gd name="connsiteY76" fmla="*/ 238280 h 1479935"/>
              <a:gd name="connsiteX77" fmla="*/ 832726 w 1485658"/>
              <a:gd name="connsiteY77" fmla="*/ 207843 h 1479935"/>
              <a:gd name="connsiteX78" fmla="*/ 802174 w 1485658"/>
              <a:gd name="connsiteY78" fmla="*/ 177406 h 1479935"/>
              <a:gd name="connsiteX79" fmla="*/ 771621 w 1485658"/>
              <a:gd name="connsiteY79" fmla="*/ 207843 h 1479935"/>
              <a:gd name="connsiteX80" fmla="*/ 831013 w 1485658"/>
              <a:gd name="connsiteY80" fmla="*/ 207843 h 1479935"/>
              <a:gd name="connsiteX81" fmla="*/ 861566 w 1485658"/>
              <a:gd name="connsiteY81" fmla="*/ 238280 h 1479935"/>
              <a:gd name="connsiteX82" fmla="*/ 892118 w 1485658"/>
              <a:gd name="connsiteY82" fmla="*/ 207843 h 1479935"/>
              <a:gd name="connsiteX83" fmla="*/ 861566 w 1485658"/>
              <a:gd name="connsiteY83" fmla="*/ 177406 h 1479935"/>
              <a:gd name="connsiteX84" fmla="*/ 831013 w 1485658"/>
              <a:gd name="connsiteY84" fmla="*/ 207843 h 1479935"/>
              <a:gd name="connsiteX85" fmla="*/ 474851 w 1485658"/>
              <a:gd name="connsiteY85" fmla="*/ 266915 h 1479935"/>
              <a:gd name="connsiteX86" fmla="*/ 505404 w 1485658"/>
              <a:gd name="connsiteY86" fmla="*/ 297352 h 1479935"/>
              <a:gd name="connsiteX87" fmla="*/ 535956 w 1485658"/>
              <a:gd name="connsiteY87" fmla="*/ 266915 h 1479935"/>
              <a:gd name="connsiteX88" fmla="*/ 505404 w 1485658"/>
              <a:gd name="connsiteY88" fmla="*/ 236479 h 1479935"/>
              <a:gd name="connsiteX89" fmla="*/ 474851 w 1485658"/>
              <a:gd name="connsiteY89" fmla="*/ 266915 h 1479935"/>
              <a:gd name="connsiteX90" fmla="*/ 652932 w 1485658"/>
              <a:gd name="connsiteY90" fmla="*/ 266915 h 1479935"/>
              <a:gd name="connsiteX91" fmla="*/ 683485 w 1485658"/>
              <a:gd name="connsiteY91" fmla="*/ 297352 h 1479935"/>
              <a:gd name="connsiteX92" fmla="*/ 714037 w 1485658"/>
              <a:gd name="connsiteY92" fmla="*/ 266915 h 1479935"/>
              <a:gd name="connsiteX93" fmla="*/ 683485 w 1485658"/>
              <a:gd name="connsiteY93" fmla="*/ 236479 h 1479935"/>
              <a:gd name="connsiteX94" fmla="*/ 652932 w 1485658"/>
              <a:gd name="connsiteY94" fmla="*/ 266915 h 1479935"/>
              <a:gd name="connsiteX95" fmla="*/ 712324 w 1485658"/>
              <a:gd name="connsiteY95" fmla="*/ 266915 h 1479935"/>
              <a:gd name="connsiteX96" fmla="*/ 742877 w 1485658"/>
              <a:gd name="connsiteY96" fmla="*/ 297352 h 1479935"/>
              <a:gd name="connsiteX97" fmla="*/ 773429 w 1485658"/>
              <a:gd name="connsiteY97" fmla="*/ 266915 h 1479935"/>
              <a:gd name="connsiteX98" fmla="*/ 742877 w 1485658"/>
              <a:gd name="connsiteY98" fmla="*/ 236479 h 1479935"/>
              <a:gd name="connsiteX99" fmla="*/ 712324 w 1485658"/>
              <a:gd name="connsiteY99" fmla="*/ 266915 h 1479935"/>
              <a:gd name="connsiteX100" fmla="*/ 831013 w 1485658"/>
              <a:gd name="connsiteY100" fmla="*/ 266915 h 1479935"/>
              <a:gd name="connsiteX101" fmla="*/ 861566 w 1485658"/>
              <a:gd name="connsiteY101" fmla="*/ 297352 h 1479935"/>
              <a:gd name="connsiteX102" fmla="*/ 892118 w 1485658"/>
              <a:gd name="connsiteY102" fmla="*/ 266915 h 1479935"/>
              <a:gd name="connsiteX103" fmla="*/ 861566 w 1485658"/>
              <a:gd name="connsiteY103" fmla="*/ 236479 h 1479935"/>
              <a:gd name="connsiteX104" fmla="*/ 831013 w 1485658"/>
              <a:gd name="connsiteY104" fmla="*/ 266915 h 1479935"/>
              <a:gd name="connsiteX105" fmla="*/ 474851 w 1485658"/>
              <a:gd name="connsiteY105" fmla="*/ 326083 h 1479935"/>
              <a:gd name="connsiteX106" fmla="*/ 505404 w 1485658"/>
              <a:gd name="connsiteY106" fmla="*/ 356519 h 1479935"/>
              <a:gd name="connsiteX107" fmla="*/ 535956 w 1485658"/>
              <a:gd name="connsiteY107" fmla="*/ 326083 h 1479935"/>
              <a:gd name="connsiteX108" fmla="*/ 505404 w 1485658"/>
              <a:gd name="connsiteY108" fmla="*/ 295646 h 1479935"/>
              <a:gd name="connsiteX109" fmla="*/ 474851 w 1485658"/>
              <a:gd name="connsiteY109" fmla="*/ 326083 h 1479935"/>
              <a:gd name="connsiteX110" fmla="*/ 593635 w 1485658"/>
              <a:gd name="connsiteY110" fmla="*/ 326083 h 1479935"/>
              <a:gd name="connsiteX111" fmla="*/ 624188 w 1485658"/>
              <a:gd name="connsiteY111" fmla="*/ 356519 h 1479935"/>
              <a:gd name="connsiteX112" fmla="*/ 654740 w 1485658"/>
              <a:gd name="connsiteY112" fmla="*/ 326083 h 1479935"/>
              <a:gd name="connsiteX113" fmla="*/ 624188 w 1485658"/>
              <a:gd name="connsiteY113" fmla="*/ 295646 h 1479935"/>
              <a:gd name="connsiteX114" fmla="*/ 593635 w 1485658"/>
              <a:gd name="connsiteY114" fmla="*/ 326083 h 1479935"/>
              <a:gd name="connsiteX115" fmla="*/ 831013 w 1485658"/>
              <a:gd name="connsiteY115" fmla="*/ 326083 h 1479935"/>
              <a:gd name="connsiteX116" fmla="*/ 861566 w 1485658"/>
              <a:gd name="connsiteY116" fmla="*/ 356519 h 1479935"/>
              <a:gd name="connsiteX117" fmla="*/ 892118 w 1485658"/>
              <a:gd name="connsiteY117" fmla="*/ 326083 h 1479935"/>
              <a:gd name="connsiteX118" fmla="*/ 861566 w 1485658"/>
              <a:gd name="connsiteY118" fmla="*/ 295646 h 1479935"/>
              <a:gd name="connsiteX119" fmla="*/ 831013 w 1485658"/>
              <a:gd name="connsiteY119" fmla="*/ 326083 h 1479935"/>
              <a:gd name="connsiteX120" fmla="*/ 890310 w 1485658"/>
              <a:gd name="connsiteY120" fmla="*/ 326083 h 1479935"/>
              <a:gd name="connsiteX121" fmla="*/ 920863 w 1485658"/>
              <a:gd name="connsiteY121" fmla="*/ 356519 h 1479935"/>
              <a:gd name="connsiteX122" fmla="*/ 951415 w 1485658"/>
              <a:gd name="connsiteY122" fmla="*/ 326083 h 1479935"/>
              <a:gd name="connsiteX123" fmla="*/ 920863 w 1485658"/>
              <a:gd name="connsiteY123" fmla="*/ 295646 h 1479935"/>
              <a:gd name="connsiteX124" fmla="*/ 890310 w 1485658"/>
              <a:gd name="connsiteY124" fmla="*/ 326083 h 1479935"/>
              <a:gd name="connsiteX125" fmla="*/ 949702 w 1485658"/>
              <a:gd name="connsiteY125" fmla="*/ 326083 h 1479935"/>
              <a:gd name="connsiteX126" fmla="*/ 980255 w 1485658"/>
              <a:gd name="connsiteY126" fmla="*/ 356519 h 1479935"/>
              <a:gd name="connsiteX127" fmla="*/ 1010807 w 1485658"/>
              <a:gd name="connsiteY127" fmla="*/ 326083 h 1479935"/>
              <a:gd name="connsiteX128" fmla="*/ 980255 w 1485658"/>
              <a:gd name="connsiteY128" fmla="*/ 295646 h 1479935"/>
              <a:gd name="connsiteX129" fmla="*/ 949702 w 1485658"/>
              <a:gd name="connsiteY129" fmla="*/ 326083 h 1479935"/>
              <a:gd name="connsiteX130" fmla="*/ 474851 w 1485658"/>
              <a:gd name="connsiteY130" fmla="*/ 385155 h 1479935"/>
              <a:gd name="connsiteX131" fmla="*/ 505404 w 1485658"/>
              <a:gd name="connsiteY131" fmla="*/ 415592 h 1479935"/>
              <a:gd name="connsiteX132" fmla="*/ 535956 w 1485658"/>
              <a:gd name="connsiteY132" fmla="*/ 385155 h 1479935"/>
              <a:gd name="connsiteX133" fmla="*/ 505404 w 1485658"/>
              <a:gd name="connsiteY133" fmla="*/ 354718 h 1479935"/>
              <a:gd name="connsiteX134" fmla="*/ 474851 w 1485658"/>
              <a:gd name="connsiteY134" fmla="*/ 385155 h 1479935"/>
              <a:gd name="connsiteX135" fmla="*/ 593635 w 1485658"/>
              <a:gd name="connsiteY135" fmla="*/ 385155 h 1479935"/>
              <a:gd name="connsiteX136" fmla="*/ 624188 w 1485658"/>
              <a:gd name="connsiteY136" fmla="*/ 415592 h 1479935"/>
              <a:gd name="connsiteX137" fmla="*/ 654740 w 1485658"/>
              <a:gd name="connsiteY137" fmla="*/ 385155 h 1479935"/>
              <a:gd name="connsiteX138" fmla="*/ 624188 w 1485658"/>
              <a:gd name="connsiteY138" fmla="*/ 354718 h 1479935"/>
              <a:gd name="connsiteX139" fmla="*/ 593635 w 1485658"/>
              <a:gd name="connsiteY139" fmla="*/ 385155 h 1479935"/>
              <a:gd name="connsiteX140" fmla="*/ 712324 w 1485658"/>
              <a:gd name="connsiteY140" fmla="*/ 385155 h 1479935"/>
              <a:gd name="connsiteX141" fmla="*/ 742877 w 1485658"/>
              <a:gd name="connsiteY141" fmla="*/ 415592 h 1479935"/>
              <a:gd name="connsiteX142" fmla="*/ 773429 w 1485658"/>
              <a:gd name="connsiteY142" fmla="*/ 385155 h 1479935"/>
              <a:gd name="connsiteX143" fmla="*/ 742877 w 1485658"/>
              <a:gd name="connsiteY143" fmla="*/ 354718 h 1479935"/>
              <a:gd name="connsiteX144" fmla="*/ 712324 w 1485658"/>
              <a:gd name="connsiteY144" fmla="*/ 385155 h 1479935"/>
              <a:gd name="connsiteX145" fmla="*/ 831013 w 1485658"/>
              <a:gd name="connsiteY145" fmla="*/ 385155 h 1479935"/>
              <a:gd name="connsiteX146" fmla="*/ 861566 w 1485658"/>
              <a:gd name="connsiteY146" fmla="*/ 415592 h 1479935"/>
              <a:gd name="connsiteX147" fmla="*/ 892118 w 1485658"/>
              <a:gd name="connsiteY147" fmla="*/ 385155 h 1479935"/>
              <a:gd name="connsiteX148" fmla="*/ 861566 w 1485658"/>
              <a:gd name="connsiteY148" fmla="*/ 354718 h 1479935"/>
              <a:gd name="connsiteX149" fmla="*/ 831013 w 1485658"/>
              <a:gd name="connsiteY149" fmla="*/ 385155 h 1479935"/>
              <a:gd name="connsiteX150" fmla="*/ 949702 w 1485658"/>
              <a:gd name="connsiteY150" fmla="*/ 385155 h 1479935"/>
              <a:gd name="connsiteX151" fmla="*/ 980255 w 1485658"/>
              <a:gd name="connsiteY151" fmla="*/ 415592 h 1479935"/>
              <a:gd name="connsiteX152" fmla="*/ 1010807 w 1485658"/>
              <a:gd name="connsiteY152" fmla="*/ 385155 h 1479935"/>
              <a:gd name="connsiteX153" fmla="*/ 980255 w 1485658"/>
              <a:gd name="connsiteY153" fmla="*/ 354718 h 1479935"/>
              <a:gd name="connsiteX154" fmla="*/ 949702 w 1485658"/>
              <a:gd name="connsiteY154" fmla="*/ 385155 h 1479935"/>
              <a:gd name="connsiteX155" fmla="*/ 474851 w 1485658"/>
              <a:gd name="connsiteY155" fmla="*/ 444322 h 1479935"/>
              <a:gd name="connsiteX156" fmla="*/ 505404 w 1485658"/>
              <a:gd name="connsiteY156" fmla="*/ 474759 h 1479935"/>
              <a:gd name="connsiteX157" fmla="*/ 535956 w 1485658"/>
              <a:gd name="connsiteY157" fmla="*/ 444322 h 1479935"/>
              <a:gd name="connsiteX158" fmla="*/ 505404 w 1485658"/>
              <a:gd name="connsiteY158" fmla="*/ 413885 h 1479935"/>
              <a:gd name="connsiteX159" fmla="*/ 474851 w 1485658"/>
              <a:gd name="connsiteY159" fmla="*/ 444322 h 1479935"/>
              <a:gd name="connsiteX160" fmla="*/ 831013 w 1485658"/>
              <a:gd name="connsiteY160" fmla="*/ 444322 h 1479935"/>
              <a:gd name="connsiteX161" fmla="*/ 861566 w 1485658"/>
              <a:gd name="connsiteY161" fmla="*/ 474759 h 1479935"/>
              <a:gd name="connsiteX162" fmla="*/ 892118 w 1485658"/>
              <a:gd name="connsiteY162" fmla="*/ 444322 h 1479935"/>
              <a:gd name="connsiteX163" fmla="*/ 861566 w 1485658"/>
              <a:gd name="connsiteY163" fmla="*/ 413885 h 1479935"/>
              <a:gd name="connsiteX164" fmla="*/ 831013 w 1485658"/>
              <a:gd name="connsiteY164" fmla="*/ 444322 h 1479935"/>
              <a:gd name="connsiteX165" fmla="*/ 890310 w 1485658"/>
              <a:gd name="connsiteY165" fmla="*/ 444322 h 1479935"/>
              <a:gd name="connsiteX166" fmla="*/ 920863 w 1485658"/>
              <a:gd name="connsiteY166" fmla="*/ 474759 h 1479935"/>
              <a:gd name="connsiteX167" fmla="*/ 951415 w 1485658"/>
              <a:gd name="connsiteY167" fmla="*/ 444322 h 1479935"/>
              <a:gd name="connsiteX168" fmla="*/ 920863 w 1485658"/>
              <a:gd name="connsiteY168" fmla="*/ 413885 h 1479935"/>
              <a:gd name="connsiteX169" fmla="*/ 890310 w 1485658"/>
              <a:gd name="connsiteY169" fmla="*/ 444322 h 1479935"/>
              <a:gd name="connsiteX170" fmla="*/ 95 w 1485658"/>
              <a:gd name="connsiteY170" fmla="*/ 503394 h 1479935"/>
              <a:gd name="connsiteX171" fmla="*/ 30648 w 1485658"/>
              <a:gd name="connsiteY171" fmla="*/ 533831 h 1479935"/>
              <a:gd name="connsiteX172" fmla="*/ 61200 w 1485658"/>
              <a:gd name="connsiteY172" fmla="*/ 503394 h 1479935"/>
              <a:gd name="connsiteX173" fmla="*/ 30648 w 1485658"/>
              <a:gd name="connsiteY173" fmla="*/ 472957 h 1479935"/>
              <a:gd name="connsiteX174" fmla="*/ 95 w 1485658"/>
              <a:gd name="connsiteY174" fmla="*/ 503394 h 1479935"/>
              <a:gd name="connsiteX175" fmla="*/ 118784 w 1485658"/>
              <a:gd name="connsiteY175" fmla="*/ 503394 h 1479935"/>
              <a:gd name="connsiteX176" fmla="*/ 149337 w 1485658"/>
              <a:gd name="connsiteY176" fmla="*/ 533831 h 1479935"/>
              <a:gd name="connsiteX177" fmla="*/ 179889 w 1485658"/>
              <a:gd name="connsiteY177" fmla="*/ 503394 h 1479935"/>
              <a:gd name="connsiteX178" fmla="*/ 149337 w 1485658"/>
              <a:gd name="connsiteY178" fmla="*/ 472957 h 1479935"/>
              <a:gd name="connsiteX179" fmla="*/ 118784 w 1485658"/>
              <a:gd name="connsiteY179" fmla="*/ 503394 h 1479935"/>
              <a:gd name="connsiteX180" fmla="*/ 178081 w 1485658"/>
              <a:gd name="connsiteY180" fmla="*/ 503394 h 1479935"/>
              <a:gd name="connsiteX181" fmla="*/ 208634 w 1485658"/>
              <a:gd name="connsiteY181" fmla="*/ 533831 h 1479935"/>
              <a:gd name="connsiteX182" fmla="*/ 239186 w 1485658"/>
              <a:gd name="connsiteY182" fmla="*/ 503394 h 1479935"/>
              <a:gd name="connsiteX183" fmla="*/ 208634 w 1485658"/>
              <a:gd name="connsiteY183" fmla="*/ 472957 h 1479935"/>
              <a:gd name="connsiteX184" fmla="*/ 178081 w 1485658"/>
              <a:gd name="connsiteY184" fmla="*/ 503394 h 1479935"/>
              <a:gd name="connsiteX185" fmla="*/ 237473 w 1485658"/>
              <a:gd name="connsiteY185" fmla="*/ 503394 h 1479935"/>
              <a:gd name="connsiteX186" fmla="*/ 268026 w 1485658"/>
              <a:gd name="connsiteY186" fmla="*/ 533831 h 1479935"/>
              <a:gd name="connsiteX187" fmla="*/ 298578 w 1485658"/>
              <a:gd name="connsiteY187" fmla="*/ 503394 h 1479935"/>
              <a:gd name="connsiteX188" fmla="*/ 268026 w 1485658"/>
              <a:gd name="connsiteY188" fmla="*/ 472957 h 1479935"/>
              <a:gd name="connsiteX189" fmla="*/ 237473 w 1485658"/>
              <a:gd name="connsiteY189" fmla="*/ 503394 h 1479935"/>
              <a:gd name="connsiteX190" fmla="*/ 296865 w 1485658"/>
              <a:gd name="connsiteY190" fmla="*/ 503394 h 1479935"/>
              <a:gd name="connsiteX191" fmla="*/ 327418 w 1485658"/>
              <a:gd name="connsiteY191" fmla="*/ 533831 h 1479935"/>
              <a:gd name="connsiteX192" fmla="*/ 357970 w 1485658"/>
              <a:gd name="connsiteY192" fmla="*/ 503394 h 1479935"/>
              <a:gd name="connsiteX193" fmla="*/ 327418 w 1485658"/>
              <a:gd name="connsiteY193" fmla="*/ 472957 h 1479935"/>
              <a:gd name="connsiteX194" fmla="*/ 296865 w 1485658"/>
              <a:gd name="connsiteY194" fmla="*/ 503394 h 1479935"/>
              <a:gd name="connsiteX195" fmla="*/ 356162 w 1485658"/>
              <a:gd name="connsiteY195" fmla="*/ 503394 h 1479935"/>
              <a:gd name="connsiteX196" fmla="*/ 386715 w 1485658"/>
              <a:gd name="connsiteY196" fmla="*/ 533831 h 1479935"/>
              <a:gd name="connsiteX197" fmla="*/ 417267 w 1485658"/>
              <a:gd name="connsiteY197" fmla="*/ 503394 h 1479935"/>
              <a:gd name="connsiteX198" fmla="*/ 386715 w 1485658"/>
              <a:gd name="connsiteY198" fmla="*/ 472957 h 1479935"/>
              <a:gd name="connsiteX199" fmla="*/ 356162 w 1485658"/>
              <a:gd name="connsiteY199" fmla="*/ 503394 h 1479935"/>
              <a:gd name="connsiteX200" fmla="*/ 534243 w 1485658"/>
              <a:gd name="connsiteY200" fmla="*/ 503394 h 1479935"/>
              <a:gd name="connsiteX201" fmla="*/ 564796 w 1485658"/>
              <a:gd name="connsiteY201" fmla="*/ 533831 h 1479935"/>
              <a:gd name="connsiteX202" fmla="*/ 595348 w 1485658"/>
              <a:gd name="connsiteY202" fmla="*/ 503394 h 1479935"/>
              <a:gd name="connsiteX203" fmla="*/ 564796 w 1485658"/>
              <a:gd name="connsiteY203" fmla="*/ 472957 h 1479935"/>
              <a:gd name="connsiteX204" fmla="*/ 534243 w 1485658"/>
              <a:gd name="connsiteY204" fmla="*/ 503394 h 1479935"/>
              <a:gd name="connsiteX205" fmla="*/ 712324 w 1485658"/>
              <a:gd name="connsiteY205" fmla="*/ 503394 h 1479935"/>
              <a:gd name="connsiteX206" fmla="*/ 742877 w 1485658"/>
              <a:gd name="connsiteY206" fmla="*/ 533831 h 1479935"/>
              <a:gd name="connsiteX207" fmla="*/ 773429 w 1485658"/>
              <a:gd name="connsiteY207" fmla="*/ 503394 h 1479935"/>
              <a:gd name="connsiteX208" fmla="*/ 742877 w 1485658"/>
              <a:gd name="connsiteY208" fmla="*/ 472957 h 1479935"/>
              <a:gd name="connsiteX209" fmla="*/ 712324 w 1485658"/>
              <a:gd name="connsiteY209" fmla="*/ 503394 h 1479935"/>
              <a:gd name="connsiteX210" fmla="*/ 771621 w 1485658"/>
              <a:gd name="connsiteY210" fmla="*/ 503394 h 1479935"/>
              <a:gd name="connsiteX211" fmla="*/ 802174 w 1485658"/>
              <a:gd name="connsiteY211" fmla="*/ 533831 h 1479935"/>
              <a:gd name="connsiteX212" fmla="*/ 832726 w 1485658"/>
              <a:gd name="connsiteY212" fmla="*/ 503394 h 1479935"/>
              <a:gd name="connsiteX213" fmla="*/ 802174 w 1485658"/>
              <a:gd name="connsiteY213" fmla="*/ 472957 h 1479935"/>
              <a:gd name="connsiteX214" fmla="*/ 771621 w 1485658"/>
              <a:gd name="connsiteY214" fmla="*/ 503394 h 1479935"/>
              <a:gd name="connsiteX215" fmla="*/ 949702 w 1485658"/>
              <a:gd name="connsiteY215" fmla="*/ 503394 h 1479935"/>
              <a:gd name="connsiteX216" fmla="*/ 980255 w 1485658"/>
              <a:gd name="connsiteY216" fmla="*/ 533831 h 1479935"/>
              <a:gd name="connsiteX217" fmla="*/ 1010807 w 1485658"/>
              <a:gd name="connsiteY217" fmla="*/ 503394 h 1479935"/>
              <a:gd name="connsiteX218" fmla="*/ 980255 w 1485658"/>
              <a:gd name="connsiteY218" fmla="*/ 472957 h 1479935"/>
              <a:gd name="connsiteX219" fmla="*/ 949702 w 1485658"/>
              <a:gd name="connsiteY219" fmla="*/ 503394 h 1479935"/>
              <a:gd name="connsiteX220" fmla="*/ 1068391 w 1485658"/>
              <a:gd name="connsiteY220" fmla="*/ 503394 h 1479935"/>
              <a:gd name="connsiteX221" fmla="*/ 1098944 w 1485658"/>
              <a:gd name="connsiteY221" fmla="*/ 533831 h 1479935"/>
              <a:gd name="connsiteX222" fmla="*/ 1129496 w 1485658"/>
              <a:gd name="connsiteY222" fmla="*/ 503394 h 1479935"/>
              <a:gd name="connsiteX223" fmla="*/ 1098944 w 1485658"/>
              <a:gd name="connsiteY223" fmla="*/ 472957 h 1479935"/>
              <a:gd name="connsiteX224" fmla="*/ 1068391 w 1485658"/>
              <a:gd name="connsiteY224" fmla="*/ 503394 h 1479935"/>
              <a:gd name="connsiteX225" fmla="*/ 1127783 w 1485658"/>
              <a:gd name="connsiteY225" fmla="*/ 503394 h 1479935"/>
              <a:gd name="connsiteX226" fmla="*/ 1158336 w 1485658"/>
              <a:gd name="connsiteY226" fmla="*/ 533831 h 1479935"/>
              <a:gd name="connsiteX227" fmla="*/ 1188888 w 1485658"/>
              <a:gd name="connsiteY227" fmla="*/ 503394 h 1479935"/>
              <a:gd name="connsiteX228" fmla="*/ 1158336 w 1485658"/>
              <a:gd name="connsiteY228" fmla="*/ 472957 h 1479935"/>
              <a:gd name="connsiteX229" fmla="*/ 1127783 w 1485658"/>
              <a:gd name="connsiteY229" fmla="*/ 503394 h 1479935"/>
              <a:gd name="connsiteX230" fmla="*/ 1187080 w 1485658"/>
              <a:gd name="connsiteY230" fmla="*/ 503394 h 1479935"/>
              <a:gd name="connsiteX231" fmla="*/ 1217633 w 1485658"/>
              <a:gd name="connsiteY231" fmla="*/ 533831 h 1479935"/>
              <a:gd name="connsiteX232" fmla="*/ 1248185 w 1485658"/>
              <a:gd name="connsiteY232" fmla="*/ 503394 h 1479935"/>
              <a:gd name="connsiteX233" fmla="*/ 1217633 w 1485658"/>
              <a:gd name="connsiteY233" fmla="*/ 472957 h 1479935"/>
              <a:gd name="connsiteX234" fmla="*/ 1187080 w 1485658"/>
              <a:gd name="connsiteY234" fmla="*/ 503394 h 1479935"/>
              <a:gd name="connsiteX235" fmla="*/ 1246472 w 1485658"/>
              <a:gd name="connsiteY235" fmla="*/ 503394 h 1479935"/>
              <a:gd name="connsiteX236" fmla="*/ 1277025 w 1485658"/>
              <a:gd name="connsiteY236" fmla="*/ 533831 h 1479935"/>
              <a:gd name="connsiteX237" fmla="*/ 1307577 w 1485658"/>
              <a:gd name="connsiteY237" fmla="*/ 503394 h 1479935"/>
              <a:gd name="connsiteX238" fmla="*/ 1277025 w 1485658"/>
              <a:gd name="connsiteY238" fmla="*/ 472957 h 1479935"/>
              <a:gd name="connsiteX239" fmla="*/ 1246472 w 1485658"/>
              <a:gd name="connsiteY239" fmla="*/ 503394 h 1479935"/>
              <a:gd name="connsiteX240" fmla="*/ 1305769 w 1485658"/>
              <a:gd name="connsiteY240" fmla="*/ 503394 h 1479935"/>
              <a:gd name="connsiteX241" fmla="*/ 1336322 w 1485658"/>
              <a:gd name="connsiteY241" fmla="*/ 533831 h 1479935"/>
              <a:gd name="connsiteX242" fmla="*/ 1366874 w 1485658"/>
              <a:gd name="connsiteY242" fmla="*/ 503394 h 1479935"/>
              <a:gd name="connsiteX243" fmla="*/ 1336322 w 1485658"/>
              <a:gd name="connsiteY243" fmla="*/ 472957 h 1479935"/>
              <a:gd name="connsiteX244" fmla="*/ 1305769 w 1485658"/>
              <a:gd name="connsiteY244" fmla="*/ 503394 h 1479935"/>
              <a:gd name="connsiteX245" fmla="*/ 95 w 1485658"/>
              <a:gd name="connsiteY245" fmla="*/ 562561 h 1479935"/>
              <a:gd name="connsiteX246" fmla="*/ 30648 w 1485658"/>
              <a:gd name="connsiteY246" fmla="*/ 592998 h 1479935"/>
              <a:gd name="connsiteX247" fmla="*/ 61200 w 1485658"/>
              <a:gd name="connsiteY247" fmla="*/ 562561 h 1479935"/>
              <a:gd name="connsiteX248" fmla="*/ 30648 w 1485658"/>
              <a:gd name="connsiteY248" fmla="*/ 532124 h 1479935"/>
              <a:gd name="connsiteX249" fmla="*/ 95 w 1485658"/>
              <a:gd name="connsiteY249" fmla="*/ 562561 h 1479935"/>
              <a:gd name="connsiteX250" fmla="*/ 118784 w 1485658"/>
              <a:gd name="connsiteY250" fmla="*/ 562561 h 1479935"/>
              <a:gd name="connsiteX251" fmla="*/ 149337 w 1485658"/>
              <a:gd name="connsiteY251" fmla="*/ 592998 h 1479935"/>
              <a:gd name="connsiteX252" fmla="*/ 179889 w 1485658"/>
              <a:gd name="connsiteY252" fmla="*/ 562561 h 1479935"/>
              <a:gd name="connsiteX253" fmla="*/ 149337 w 1485658"/>
              <a:gd name="connsiteY253" fmla="*/ 532124 h 1479935"/>
              <a:gd name="connsiteX254" fmla="*/ 118784 w 1485658"/>
              <a:gd name="connsiteY254" fmla="*/ 562561 h 1479935"/>
              <a:gd name="connsiteX255" fmla="*/ 237473 w 1485658"/>
              <a:gd name="connsiteY255" fmla="*/ 562561 h 1479935"/>
              <a:gd name="connsiteX256" fmla="*/ 268026 w 1485658"/>
              <a:gd name="connsiteY256" fmla="*/ 592998 h 1479935"/>
              <a:gd name="connsiteX257" fmla="*/ 298578 w 1485658"/>
              <a:gd name="connsiteY257" fmla="*/ 562561 h 1479935"/>
              <a:gd name="connsiteX258" fmla="*/ 268026 w 1485658"/>
              <a:gd name="connsiteY258" fmla="*/ 532124 h 1479935"/>
              <a:gd name="connsiteX259" fmla="*/ 237473 w 1485658"/>
              <a:gd name="connsiteY259" fmla="*/ 562561 h 1479935"/>
              <a:gd name="connsiteX260" fmla="*/ 534243 w 1485658"/>
              <a:gd name="connsiteY260" fmla="*/ 562561 h 1479935"/>
              <a:gd name="connsiteX261" fmla="*/ 564796 w 1485658"/>
              <a:gd name="connsiteY261" fmla="*/ 592998 h 1479935"/>
              <a:gd name="connsiteX262" fmla="*/ 595348 w 1485658"/>
              <a:gd name="connsiteY262" fmla="*/ 562561 h 1479935"/>
              <a:gd name="connsiteX263" fmla="*/ 564796 w 1485658"/>
              <a:gd name="connsiteY263" fmla="*/ 532124 h 1479935"/>
              <a:gd name="connsiteX264" fmla="*/ 534243 w 1485658"/>
              <a:gd name="connsiteY264" fmla="*/ 562561 h 1479935"/>
              <a:gd name="connsiteX265" fmla="*/ 712324 w 1485658"/>
              <a:gd name="connsiteY265" fmla="*/ 562561 h 1479935"/>
              <a:gd name="connsiteX266" fmla="*/ 742877 w 1485658"/>
              <a:gd name="connsiteY266" fmla="*/ 592998 h 1479935"/>
              <a:gd name="connsiteX267" fmla="*/ 773429 w 1485658"/>
              <a:gd name="connsiteY267" fmla="*/ 562561 h 1479935"/>
              <a:gd name="connsiteX268" fmla="*/ 742877 w 1485658"/>
              <a:gd name="connsiteY268" fmla="*/ 532124 h 1479935"/>
              <a:gd name="connsiteX269" fmla="*/ 712324 w 1485658"/>
              <a:gd name="connsiteY269" fmla="*/ 562561 h 1479935"/>
              <a:gd name="connsiteX270" fmla="*/ 771621 w 1485658"/>
              <a:gd name="connsiteY270" fmla="*/ 562561 h 1479935"/>
              <a:gd name="connsiteX271" fmla="*/ 802174 w 1485658"/>
              <a:gd name="connsiteY271" fmla="*/ 592998 h 1479935"/>
              <a:gd name="connsiteX272" fmla="*/ 832726 w 1485658"/>
              <a:gd name="connsiteY272" fmla="*/ 562561 h 1479935"/>
              <a:gd name="connsiteX273" fmla="*/ 802174 w 1485658"/>
              <a:gd name="connsiteY273" fmla="*/ 532124 h 1479935"/>
              <a:gd name="connsiteX274" fmla="*/ 771621 w 1485658"/>
              <a:gd name="connsiteY274" fmla="*/ 562561 h 1479935"/>
              <a:gd name="connsiteX275" fmla="*/ 949702 w 1485658"/>
              <a:gd name="connsiteY275" fmla="*/ 562561 h 1479935"/>
              <a:gd name="connsiteX276" fmla="*/ 980255 w 1485658"/>
              <a:gd name="connsiteY276" fmla="*/ 592998 h 1479935"/>
              <a:gd name="connsiteX277" fmla="*/ 1010807 w 1485658"/>
              <a:gd name="connsiteY277" fmla="*/ 562561 h 1479935"/>
              <a:gd name="connsiteX278" fmla="*/ 980255 w 1485658"/>
              <a:gd name="connsiteY278" fmla="*/ 532124 h 1479935"/>
              <a:gd name="connsiteX279" fmla="*/ 949702 w 1485658"/>
              <a:gd name="connsiteY279" fmla="*/ 562561 h 1479935"/>
              <a:gd name="connsiteX280" fmla="*/ 1009094 w 1485658"/>
              <a:gd name="connsiteY280" fmla="*/ 562561 h 1479935"/>
              <a:gd name="connsiteX281" fmla="*/ 1039647 w 1485658"/>
              <a:gd name="connsiteY281" fmla="*/ 592998 h 1479935"/>
              <a:gd name="connsiteX282" fmla="*/ 1070199 w 1485658"/>
              <a:gd name="connsiteY282" fmla="*/ 562561 h 1479935"/>
              <a:gd name="connsiteX283" fmla="*/ 1039647 w 1485658"/>
              <a:gd name="connsiteY283" fmla="*/ 532124 h 1479935"/>
              <a:gd name="connsiteX284" fmla="*/ 1009094 w 1485658"/>
              <a:gd name="connsiteY284" fmla="*/ 562561 h 1479935"/>
              <a:gd name="connsiteX285" fmla="*/ 1127783 w 1485658"/>
              <a:gd name="connsiteY285" fmla="*/ 562561 h 1479935"/>
              <a:gd name="connsiteX286" fmla="*/ 1158336 w 1485658"/>
              <a:gd name="connsiteY286" fmla="*/ 592998 h 1479935"/>
              <a:gd name="connsiteX287" fmla="*/ 1188888 w 1485658"/>
              <a:gd name="connsiteY287" fmla="*/ 562561 h 1479935"/>
              <a:gd name="connsiteX288" fmla="*/ 1158336 w 1485658"/>
              <a:gd name="connsiteY288" fmla="*/ 532124 h 1479935"/>
              <a:gd name="connsiteX289" fmla="*/ 1127783 w 1485658"/>
              <a:gd name="connsiteY289" fmla="*/ 562561 h 1479935"/>
              <a:gd name="connsiteX290" fmla="*/ 1365161 w 1485658"/>
              <a:gd name="connsiteY290" fmla="*/ 562561 h 1479935"/>
              <a:gd name="connsiteX291" fmla="*/ 1395714 w 1485658"/>
              <a:gd name="connsiteY291" fmla="*/ 592998 h 1479935"/>
              <a:gd name="connsiteX292" fmla="*/ 1426266 w 1485658"/>
              <a:gd name="connsiteY292" fmla="*/ 562561 h 1479935"/>
              <a:gd name="connsiteX293" fmla="*/ 1395714 w 1485658"/>
              <a:gd name="connsiteY293" fmla="*/ 532124 h 1479935"/>
              <a:gd name="connsiteX294" fmla="*/ 1365161 w 1485658"/>
              <a:gd name="connsiteY294" fmla="*/ 562561 h 1479935"/>
              <a:gd name="connsiteX295" fmla="*/ 95 w 1485658"/>
              <a:gd name="connsiteY295" fmla="*/ 621728 h 1479935"/>
              <a:gd name="connsiteX296" fmla="*/ 30648 w 1485658"/>
              <a:gd name="connsiteY296" fmla="*/ 652165 h 1479935"/>
              <a:gd name="connsiteX297" fmla="*/ 61200 w 1485658"/>
              <a:gd name="connsiteY297" fmla="*/ 621728 h 1479935"/>
              <a:gd name="connsiteX298" fmla="*/ 30648 w 1485658"/>
              <a:gd name="connsiteY298" fmla="*/ 591291 h 1479935"/>
              <a:gd name="connsiteX299" fmla="*/ 95 w 1485658"/>
              <a:gd name="connsiteY299" fmla="*/ 621728 h 1479935"/>
              <a:gd name="connsiteX300" fmla="*/ 118784 w 1485658"/>
              <a:gd name="connsiteY300" fmla="*/ 621728 h 1479935"/>
              <a:gd name="connsiteX301" fmla="*/ 149337 w 1485658"/>
              <a:gd name="connsiteY301" fmla="*/ 652165 h 1479935"/>
              <a:gd name="connsiteX302" fmla="*/ 179889 w 1485658"/>
              <a:gd name="connsiteY302" fmla="*/ 621728 h 1479935"/>
              <a:gd name="connsiteX303" fmla="*/ 149337 w 1485658"/>
              <a:gd name="connsiteY303" fmla="*/ 591291 h 1479935"/>
              <a:gd name="connsiteX304" fmla="*/ 118784 w 1485658"/>
              <a:gd name="connsiteY304" fmla="*/ 621728 h 1479935"/>
              <a:gd name="connsiteX305" fmla="*/ 237473 w 1485658"/>
              <a:gd name="connsiteY305" fmla="*/ 621728 h 1479935"/>
              <a:gd name="connsiteX306" fmla="*/ 268026 w 1485658"/>
              <a:gd name="connsiteY306" fmla="*/ 652165 h 1479935"/>
              <a:gd name="connsiteX307" fmla="*/ 298578 w 1485658"/>
              <a:gd name="connsiteY307" fmla="*/ 621728 h 1479935"/>
              <a:gd name="connsiteX308" fmla="*/ 268026 w 1485658"/>
              <a:gd name="connsiteY308" fmla="*/ 591291 h 1479935"/>
              <a:gd name="connsiteX309" fmla="*/ 237473 w 1485658"/>
              <a:gd name="connsiteY309" fmla="*/ 621728 h 1479935"/>
              <a:gd name="connsiteX310" fmla="*/ 296865 w 1485658"/>
              <a:gd name="connsiteY310" fmla="*/ 621728 h 1479935"/>
              <a:gd name="connsiteX311" fmla="*/ 327418 w 1485658"/>
              <a:gd name="connsiteY311" fmla="*/ 652165 h 1479935"/>
              <a:gd name="connsiteX312" fmla="*/ 357970 w 1485658"/>
              <a:gd name="connsiteY312" fmla="*/ 621728 h 1479935"/>
              <a:gd name="connsiteX313" fmla="*/ 327418 w 1485658"/>
              <a:gd name="connsiteY313" fmla="*/ 591291 h 1479935"/>
              <a:gd name="connsiteX314" fmla="*/ 296865 w 1485658"/>
              <a:gd name="connsiteY314" fmla="*/ 621728 h 1479935"/>
              <a:gd name="connsiteX315" fmla="*/ 356162 w 1485658"/>
              <a:gd name="connsiteY315" fmla="*/ 621728 h 1479935"/>
              <a:gd name="connsiteX316" fmla="*/ 386715 w 1485658"/>
              <a:gd name="connsiteY316" fmla="*/ 652165 h 1479935"/>
              <a:gd name="connsiteX317" fmla="*/ 417267 w 1485658"/>
              <a:gd name="connsiteY317" fmla="*/ 621728 h 1479935"/>
              <a:gd name="connsiteX318" fmla="*/ 386715 w 1485658"/>
              <a:gd name="connsiteY318" fmla="*/ 591291 h 1479935"/>
              <a:gd name="connsiteX319" fmla="*/ 356162 w 1485658"/>
              <a:gd name="connsiteY319" fmla="*/ 621728 h 1479935"/>
              <a:gd name="connsiteX320" fmla="*/ 474851 w 1485658"/>
              <a:gd name="connsiteY320" fmla="*/ 621728 h 1479935"/>
              <a:gd name="connsiteX321" fmla="*/ 505404 w 1485658"/>
              <a:gd name="connsiteY321" fmla="*/ 652165 h 1479935"/>
              <a:gd name="connsiteX322" fmla="*/ 535956 w 1485658"/>
              <a:gd name="connsiteY322" fmla="*/ 621728 h 1479935"/>
              <a:gd name="connsiteX323" fmla="*/ 505404 w 1485658"/>
              <a:gd name="connsiteY323" fmla="*/ 591291 h 1479935"/>
              <a:gd name="connsiteX324" fmla="*/ 474851 w 1485658"/>
              <a:gd name="connsiteY324" fmla="*/ 621728 h 1479935"/>
              <a:gd name="connsiteX325" fmla="*/ 593635 w 1485658"/>
              <a:gd name="connsiteY325" fmla="*/ 621728 h 1479935"/>
              <a:gd name="connsiteX326" fmla="*/ 624188 w 1485658"/>
              <a:gd name="connsiteY326" fmla="*/ 652165 h 1479935"/>
              <a:gd name="connsiteX327" fmla="*/ 654740 w 1485658"/>
              <a:gd name="connsiteY327" fmla="*/ 621728 h 1479935"/>
              <a:gd name="connsiteX328" fmla="*/ 624188 w 1485658"/>
              <a:gd name="connsiteY328" fmla="*/ 591291 h 1479935"/>
              <a:gd name="connsiteX329" fmla="*/ 593635 w 1485658"/>
              <a:gd name="connsiteY329" fmla="*/ 621728 h 1479935"/>
              <a:gd name="connsiteX330" fmla="*/ 652932 w 1485658"/>
              <a:gd name="connsiteY330" fmla="*/ 621728 h 1479935"/>
              <a:gd name="connsiteX331" fmla="*/ 683485 w 1485658"/>
              <a:gd name="connsiteY331" fmla="*/ 652165 h 1479935"/>
              <a:gd name="connsiteX332" fmla="*/ 714037 w 1485658"/>
              <a:gd name="connsiteY332" fmla="*/ 621728 h 1479935"/>
              <a:gd name="connsiteX333" fmla="*/ 683485 w 1485658"/>
              <a:gd name="connsiteY333" fmla="*/ 591291 h 1479935"/>
              <a:gd name="connsiteX334" fmla="*/ 652932 w 1485658"/>
              <a:gd name="connsiteY334" fmla="*/ 621728 h 1479935"/>
              <a:gd name="connsiteX335" fmla="*/ 712324 w 1485658"/>
              <a:gd name="connsiteY335" fmla="*/ 621728 h 1479935"/>
              <a:gd name="connsiteX336" fmla="*/ 742877 w 1485658"/>
              <a:gd name="connsiteY336" fmla="*/ 652165 h 1479935"/>
              <a:gd name="connsiteX337" fmla="*/ 773429 w 1485658"/>
              <a:gd name="connsiteY337" fmla="*/ 621728 h 1479935"/>
              <a:gd name="connsiteX338" fmla="*/ 742877 w 1485658"/>
              <a:gd name="connsiteY338" fmla="*/ 591291 h 1479935"/>
              <a:gd name="connsiteX339" fmla="*/ 712324 w 1485658"/>
              <a:gd name="connsiteY339" fmla="*/ 621728 h 1479935"/>
              <a:gd name="connsiteX340" fmla="*/ 771621 w 1485658"/>
              <a:gd name="connsiteY340" fmla="*/ 621728 h 1479935"/>
              <a:gd name="connsiteX341" fmla="*/ 802174 w 1485658"/>
              <a:gd name="connsiteY341" fmla="*/ 652165 h 1479935"/>
              <a:gd name="connsiteX342" fmla="*/ 832726 w 1485658"/>
              <a:gd name="connsiteY342" fmla="*/ 621728 h 1479935"/>
              <a:gd name="connsiteX343" fmla="*/ 802174 w 1485658"/>
              <a:gd name="connsiteY343" fmla="*/ 591291 h 1479935"/>
              <a:gd name="connsiteX344" fmla="*/ 771621 w 1485658"/>
              <a:gd name="connsiteY344" fmla="*/ 621728 h 1479935"/>
              <a:gd name="connsiteX345" fmla="*/ 831013 w 1485658"/>
              <a:gd name="connsiteY345" fmla="*/ 621728 h 1479935"/>
              <a:gd name="connsiteX346" fmla="*/ 861566 w 1485658"/>
              <a:gd name="connsiteY346" fmla="*/ 652165 h 1479935"/>
              <a:gd name="connsiteX347" fmla="*/ 892118 w 1485658"/>
              <a:gd name="connsiteY347" fmla="*/ 621728 h 1479935"/>
              <a:gd name="connsiteX348" fmla="*/ 861566 w 1485658"/>
              <a:gd name="connsiteY348" fmla="*/ 591291 h 1479935"/>
              <a:gd name="connsiteX349" fmla="*/ 831013 w 1485658"/>
              <a:gd name="connsiteY349" fmla="*/ 621728 h 1479935"/>
              <a:gd name="connsiteX350" fmla="*/ 890310 w 1485658"/>
              <a:gd name="connsiteY350" fmla="*/ 621728 h 1479935"/>
              <a:gd name="connsiteX351" fmla="*/ 920863 w 1485658"/>
              <a:gd name="connsiteY351" fmla="*/ 652165 h 1479935"/>
              <a:gd name="connsiteX352" fmla="*/ 951415 w 1485658"/>
              <a:gd name="connsiteY352" fmla="*/ 621728 h 1479935"/>
              <a:gd name="connsiteX353" fmla="*/ 920863 w 1485658"/>
              <a:gd name="connsiteY353" fmla="*/ 591291 h 1479935"/>
              <a:gd name="connsiteX354" fmla="*/ 890310 w 1485658"/>
              <a:gd name="connsiteY354" fmla="*/ 621728 h 1479935"/>
              <a:gd name="connsiteX355" fmla="*/ 949702 w 1485658"/>
              <a:gd name="connsiteY355" fmla="*/ 621728 h 1479935"/>
              <a:gd name="connsiteX356" fmla="*/ 980255 w 1485658"/>
              <a:gd name="connsiteY356" fmla="*/ 652165 h 1479935"/>
              <a:gd name="connsiteX357" fmla="*/ 1010807 w 1485658"/>
              <a:gd name="connsiteY357" fmla="*/ 621728 h 1479935"/>
              <a:gd name="connsiteX358" fmla="*/ 980255 w 1485658"/>
              <a:gd name="connsiteY358" fmla="*/ 591291 h 1479935"/>
              <a:gd name="connsiteX359" fmla="*/ 949702 w 1485658"/>
              <a:gd name="connsiteY359" fmla="*/ 621728 h 1479935"/>
              <a:gd name="connsiteX360" fmla="*/ 1009094 w 1485658"/>
              <a:gd name="connsiteY360" fmla="*/ 621728 h 1479935"/>
              <a:gd name="connsiteX361" fmla="*/ 1039647 w 1485658"/>
              <a:gd name="connsiteY361" fmla="*/ 652165 h 1479935"/>
              <a:gd name="connsiteX362" fmla="*/ 1070199 w 1485658"/>
              <a:gd name="connsiteY362" fmla="*/ 621728 h 1479935"/>
              <a:gd name="connsiteX363" fmla="*/ 1039647 w 1485658"/>
              <a:gd name="connsiteY363" fmla="*/ 591291 h 1479935"/>
              <a:gd name="connsiteX364" fmla="*/ 1009094 w 1485658"/>
              <a:gd name="connsiteY364" fmla="*/ 621728 h 1479935"/>
              <a:gd name="connsiteX365" fmla="*/ 1068391 w 1485658"/>
              <a:gd name="connsiteY365" fmla="*/ 621728 h 1479935"/>
              <a:gd name="connsiteX366" fmla="*/ 1098944 w 1485658"/>
              <a:gd name="connsiteY366" fmla="*/ 652165 h 1479935"/>
              <a:gd name="connsiteX367" fmla="*/ 1129496 w 1485658"/>
              <a:gd name="connsiteY367" fmla="*/ 621728 h 1479935"/>
              <a:gd name="connsiteX368" fmla="*/ 1098944 w 1485658"/>
              <a:gd name="connsiteY368" fmla="*/ 591291 h 1479935"/>
              <a:gd name="connsiteX369" fmla="*/ 1068391 w 1485658"/>
              <a:gd name="connsiteY369" fmla="*/ 621728 h 1479935"/>
              <a:gd name="connsiteX370" fmla="*/ 1127783 w 1485658"/>
              <a:gd name="connsiteY370" fmla="*/ 621728 h 1479935"/>
              <a:gd name="connsiteX371" fmla="*/ 1158336 w 1485658"/>
              <a:gd name="connsiteY371" fmla="*/ 652165 h 1479935"/>
              <a:gd name="connsiteX372" fmla="*/ 1188888 w 1485658"/>
              <a:gd name="connsiteY372" fmla="*/ 621728 h 1479935"/>
              <a:gd name="connsiteX373" fmla="*/ 1158336 w 1485658"/>
              <a:gd name="connsiteY373" fmla="*/ 591291 h 1479935"/>
              <a:gd name="connsiteX374" fmla="*/ 1127783 w 1485658"/>
              <a:gd name="connsiteY374" fmla="*/ 621728 h 1479935"/>
              <a:gd name="connsiteX375" fmla="*/ 1187080 w 1485658"/>
              <a:gd name="connsiteY375" fmla="*/ 621728 h 1479935"/>
              <a:gd name="connsiteX376" fmla="*/ 1217633 w 1485658"/>
              <a:gd name="connsiteY376" fmla="*/ 652165 h 1479935"/>
              <a:gd name="connsiteX377" fmla="*/ 1248185 w 1485658"/>
              <a:gd name="connsiteY377" fmla="*/ 621728 h 1479935"/>
              <a:gd name="connsiteX378" fmla="*/ 1217633 w 1485658"/>
              <a:gd name="connsiteY378" fmla="*/ 591291 h 1479935"/>
              <a:gd name="connsiteX379" fmla="*/ 1187080 w 1485658"/>
              <a:gd name="connsiteY379" fmla="*/ 621728 h 1479935"/>
              <a:gd name="connsiteX380" fmla="*/ 1246472 w 1485658"/>
              <a:gd name="connsiteY380" fmla="*/ 621728 h 1479935"/>
              <a:gd name="connsiteX381" fmla="*/ 1277025 w 1485658"/>
              <a:gd name="connsiteY381" fmla="*/ 652165 h 1479935"/>
              <a:gd name="connsiteX382" fmla="*/ 1307577 w 1485658"/>
              <a:gd name="connsiteY382" fmla="*/ 621728 h 1479935"/>
              <a:gd name="connsiteX383" fmla="*/ 1277025 w 1485658"/>
              <a:gd name="connsiteY383" fmla="*/ 591291 h 1479935"/>
              <a:gd name="connsiteX384" fmla="*/ 1246472 w 1485658"/>
              <a:gd name="connsiteY384" fmla="*/ 621728 h 1479935"/>
              <a:gd name="connsiteX385" fmla="*/ 1365161 w 1485658"/>
              <a:gd name="connsiteY385" fmla="*/ 621728 h 1479935"/>
              <a:gd name="connsiteX386" fmla="*/ 1395714 w 1485658"/>
              <a:gd name="connsiteY386" fmla="*/ 652165 h 1479935"/>
              <a:gd name="connsiteX387" fmla="*/ 1426266 w 1485658"/>
              <a:gd name="connsiteY387" fmla="*/ 621728 h 1479935"/>
              <a:gd name="connsiteX388" fmla="*/ 1395714 w 1485658"/>
              <a:gd name="connsiteY388" fmla="*/ 591291 h 1479935"/>
              <a:gd name="connsiteX389" fmla="*/ 1365161 w 1485658"/>
              <a:gd name="connsiteY389" fmla="*/ 621728 h 1479935"/>
              <a:gd name="connsiteX390" fmla="*/ 1424553 w 1485658"/>
              <a:gd name="connsiteY390" fmla="*/ 621728 h 1479935"/>
              <a:gd name="connsiteX391" fmla="*/ 1455106 w 1485658"/>
              <a:gd name="connsiteY391" fmla="*/ 652165 h 1479935"/>
              <a:gd name="connsiteX392" fmla="*/ 1485658 w 1485658"/>
              <a:gd name="connsiteY392" fmla="*/ 621728 h 1479935"/>
              <a:gd name="connsiteX393" fmla="*/ 1455106 w 1485658"/>
              <a:gd name="connsiteY393" fmla="*/ 591291 h 1479935"/>
              <a:gd name="connsiteX394" fmla="*/ 1424553 w 1485658"/>
              <a:gd name="connsiteY394" fmla="*/ 621728 h 1479935"/>
              <a:gd name="connsiteX395" fmla="*/ 118784 w 1485658"/>
              <a:gd name="connsiteY395" fmla="*/ 680800 h 1479935"/>
              <a:gd name="connsiteX396" fmla="*/ 149337 w 1485658"/>
              <a:gd name="connsiteY396" fmla="*/ 711237 h 1479935"/>
              <a:gd name="connsiteX397" fmla="*/ 179889 w 1485658"/>
              <a:gd name="connsiteY397" fmla="*/ 680800 h 1479935"/>
              <a:gd name="connsiteX398" fmla="*/ 149337 w 1485658"/>
              <a:gd name="connsiteY398" fmla="*/ 650364 h 1479935"/>
              <a:gd name="connsiteX399" fmla="*/ 118784 w 1485658"/>
              <a:gd name="connsiteY399" fmla="*/ 680800 h 1479935"/>
              <a:gd name="connsiteX400" fmla="*/ 178081 w 1485658"/>
              <a:gd name="connsiteY400" fmla="*/ 680800 h 1479935"/>
              <a:gd name="connsiteX401" fmla="*/ 208634 w 1485658"/>
              <a:gd name="connsiteY401" fmla="*/ 711237 h 1479935"/>
              <a:gd name="connsiteX402" fmla="*/ 239186 w 1485658"/>
              <a:gd name="connsiteY402" fmla="*/ 680800 h 1479935"/>
              <a:gd name="connsiteX403" fmla="*/ 208634 w 1485658"/>
              <a:gd name="connsiteY403" fmla="*/ 650364 h 1479935"/>
              <a:gd name="connsiteX404" fmla="*/ 178081 w 1485658"/>
              <a:gd name="connsiteY404" fmla="*/ 680800 h 1479935"/>
              <a:gd name="connsiteX405" fmla="*/ 237473 w 1485658"/>
              <a:gd name="connsiteY405" fmla="*/ 680800 h 1479935"/>
              <a:gd name="connsiteX406" fmla="*/ 268026 w 1485658"/>
              <a:gd name="connsiteY406" fmla="*/ 711237 h 1479935"/>
              <a:gd name="connsiteX407" fmla="*/ 298578 w 1485658"/>
              <a:gd name="connsiteY407" fmla="*/ 680800 h 1479935"/>
              <a:gd name="connsiteX408" fmla="*/ 268026 w 1485658"/>
              <a:gd name="connsiteY408" fmla="*/ 650364 h 1479935"/>
              <a:gd name="connsiteX409" fmla="*/ 237473 w 1485658"/>
              <a:gd name="connsiteY409" fmla="*/ 680800 h 1479935"/>
              <a:gd name="connsiteX410" fmla="*/ 296865 w 1485658"/>
              <a:gd name="connsiteY410" fmla="*/ 680800 h 1479935"/>
              <a:gd name="connsiteX411" fmla="*/ 327418 w 1485658"/>
              <a:gd name="connsiteY411" fmla="*/ 711237 h 1479935"/>
              <a:gd name="connsiteX412" fmla="*/ 357970 w 1485658"/>
              <a:gd name="connsiteY412" fmla="*/ 680800 h 1479935"/>
              <a:gd name="connsiteX413" fmla="*/ 327418 w 1485658"/>
              <a:gd name="connsiteY413" fmla="*/ 650364 h 1479935"/>
              <a:gd name="connsiteX414" fmla="*/ 296865 w 1485658"/>
              <a:gd name="connsiteY414" fmla="*/ 680800 h 1479935"/>
              <a:gd name="connsiteX415" fmla="*/ 474851 w 1485658"/>
              <a:gd name="connsiteY415" fmla="*/ 680800 h 1479935"/>
              <a:gd name="connsiteX416" fmla="*/ 505404 w 1485658"/>
              <a:gd name="connsiteY416" fmla="*/ 711237 h 1479935"/>
              <a:gd name="connsiteX417" fmla="*/ 535956 w 1485658"/>
              <a:gd name="connsiteY417" fmla="*/ 680800 h 1479935"/>
              <a:gd name="connsiteX418" fmla="*/ 505404 w 1485658"/>
              <a:gd name="connsiteY418" fmla="*/ 650364 h 1479935"/>
              <a:gd name="connsiteX419" fmla="*/ 474851 w 1485658"/>
              <a:gd name="connsiteY419" fmla="*/ 680800 h 1479935"/>
              <a:gd name="connsiteX420" fmla="*/ 593635 w 1485658"/>
              <a:gd name="connsiteY420" fmla="*/ 680800 h 1479935"/>
              <a:gd name="connsiteX421" fmla="*/ 624188 w 1485658"/>
              <a:gd name="connsiteY421" fmla="*/ 711237 h 1479935"/>
              <a:gd name="connsiteX422" fmla="*/ 654740 w 1485658"/>
              <a:gd name="connsiteY422" fmla="*/ 680800 h 1479935"/>
              <a:gd name="connsiteX423" fmla="*/ 624188 w 1485658"/>
              <a:gd name="connsiteY423" fmla="*/ 650364 h 1479935"/>
              <a:gd name="connsiteX424" fmla="*/ 593635 w 1485658"/>
              <a:gd name="connsiteY424" fmla="*/ 680800 h 1479935"/>
              <a:gd name="connsiteX425" fmla="*/ 652932 w 1485658"/>
              <a:gd name="connsiteY425" fmla="*/ 680800 h 1479935"/>
              <a:gd name="connsiteX426" fmla="*/ 683485 w 1485658"/>
              <a:gd name="connsiteY426" fmla="*/ 711237 h 1479935"/>
              <a:gd name="connsiteX427" fmla="*/ 714037 w 1485658"/>
              <a:gd name="connsiteY427" fmla="*/ 680800 h 1479935"/>
              <a:gd name="connsiteX428" fmla="*/ 683485 w 1485658"/>
              <a:gd name="connsiteY428" fmla="*/ 650364 h 1479935"/>
              <a:gd name="connsiteX429" fmla="*/ 652932 w 1485658"/>
              <a:gd name="connsiteY429" fmla="*/ 680800 h 1479935"/>
              <a:gd name="connsiteX430" fmla="*/ 712324 w 1485658"/>
              <a:gd name="connsiteY430" fmla="*/ 680800 h 1479935"/>
              <a:gd name="connsiteX431" fmla="*/ 742877 w 1485658"/>
              <a:gd name="connsiteY431" fmla="*/ 711237 h 1479935"/>
              <a:gd name="connsiteX432" fmla="*/ 773429 w 1485658"/>
              <a:gd name="connsiteY432" fmla="*/ 680800 h 1479935"/>
              <a:gd name="connsiteX433" fmla="*/ 742877 w 1485658"/>
              <a:gd name="connsiteY433" fmla="*/ 650364 h 1479935"/>
              <a:gd name="connsiteX434" fmla="*/ 712324 w 1485658"/>
              <a:gd name="connsiteY434" fmla="*/ 680800 h 1479935"/>
              <a:gd name="connsiteX435" fmla="*/ 831013 w 1485658"/>
              <a:gd name="connsiteY435" fmla="*/ 680800 h 1479935"/>
              <a:gd name="connsiteX436" fmla="*/ 861566 w 1485658"/>
              <a:gd name="connsiteY436" fmla="*/ 711237 h 1479935"/>
              <a:gd name="connsiteX437" fmla="*/ 892118 w 1485658"/>
              <a:gd name="connsiteY437" fmla="*/ 680800 h 1479935"/>
              <a:gd name="connsiteX438" fmla="*/ 861566 w 1485658"/>
              <a:gd name="connsiteY438" fmla="*/ 650364 h 1479935"/>
              <a:gd name="connsiteX439" fmla="*/ 831013 w 1485658"/>
              <a:gd name="connsiteY439" fmla="*/ 680800 h 1479935"/>
              <a:gd name="connsiteX440" fmla="*/ 949702 w 1485658"/>
              <a:gd name="connsiteY440" fmla="*/ 680800 h 1479935"/>
              <a:gd name="connsiteX441" fmla="*/ 980255 w 1485658"/>
              <a:gd name="connsiteY441" fmla="*/ 711237 h 1479935"/>
              <a:gd name="connsiteX442" fmla="*/ 1010807 w 1485658"/>
              <a:gd name="connsiteY442" fmla="*/ 680800 h 1479935"/>
              <a:gd name="connsiteX443" fmla="*/ 980255 w 1485658"/>
              <a:gd name="connsiteY443" fmla="*/ 650364 h 1479935"/>
              <a:gd name="connsiteX444" fmla="*/ 949702 w 1485658"/>
              <a:gd name="connsiteY444" fmla="*/ 680800 h 1479935"/>
              <a:gd name="connsiteX445" fmla="*/ 1068391 w 1485658"/>
              <a:gd name="connsiteY445" fmla="*/ 680800 h 1479935"/>
              <a:gd name="connsiteX446" fmla="*/ 1098944 w 1485658"/>
              <a:gd name="connsiteY446" fmla="*/ 711237 h 1479935"/>
              <a:gd name="connsiteX447" fmla="*/ 1129496 w 1485658"/>
              <a:gd name="connsiteY447" fmla="*/ 680800 h 1479935"/>
              <a:gd name="connsiteX448" fmla="*/ 1098944 w 1485658"/>
              <a:gd name="connsiteY448" fmla="*/ 650364 h 1479935"/>
              <a:gd name="connsiteX449" fmla="*/ 1068391 w 1485658"/>
              <a:gd name="connsiteY449" fmla="*/ 680800 h 1479935"/>
              <a:gd name="connsiteX450" fmla="*/ 1424553 w 1485658"/>
              <a:gd name="connsiteY450" fmla="*/ 680800 h 1479935"/>
              <a:gd name="connsiteX451" fmla="*/ 1455106 w 1485658"/>
              <a:gd name="connsiteY451" fmla="*/ 711237 h 1479935"/>
              <a:gd name="connsiteX452" fmla="*/ 1485658 w 1485658"/>
              <a:gd name="connsiteY452" fmla="*/ 680800 h 1479935"/>
              <a:gd name="connsiteX453" fmla="*/ 1455106 w 1485658"/>
              <a:gd name="connsiteY453" fmla="*/ 650364 h 1479935"/>
              <a:gd name="connsiteX454" fmla="*/ 1424553 w 1485658"/>
              <a:gd name="connsiteY454" fmla="*/ 680800 h 1479935"/>
              <a:gd name="connsiteX455" fmla="*/ 59392 w 1485658"/>
              <a:gd name="connsiteY455" fmla="*/ 739968 h 1479935"/>
              <a:gd name="connsiteX456" fmla="*/ 89945 w 1485658"/>
              <a:gd name="connsiteY456" fmla="*/ 770404 h 1479935"/>
              <a:gd name="connsiteX457" fmla="*/ 120497 w 1485658"/>
              <a:gd name="connsiteY457" fmla="*/ 739968 h 1479935"/>
              <a:gd name="connsiteX458" fmla="*/ 89945 w 1485658"/>
              <a:gd name="connsiteY458" fmla="*/ 709531 h 1479935"/>
              <a:gd name="connsiteX459" fmla="*/ 59392 w 1485658"/>
              <a:gd name="connsiteY459" fmla="*/ 739968 h 1479935"/>
              <a:gd name="connsiteX460" fmla="*/ 118784 w 1485658"/>
              <a:gd name="connsiteY460" fmla="*/ 739968 h 1479935"/>
              <a:gd name="connsiteX461" fmla="*/ 149337 w 1485658"/>
              <a:gd name="connsiteY461" fmla="*/ 770404 h 1479935"/>
              <a:gd name="connsiteX462" fmla="*/ 179889 w 1485658"/>
              <a:gd name="connsiteY462" fmla="*/ 739968 h 1479935"/>
              <a:gd name="connsiteX463" fmla="*/ 149337 w 1485658"/>
              <a:gd name="connsiteY463" fmla="*/ 709531 h 1479935"/>
              <a:gd name="connsiteX464" fmla="*/ 118784 w 1485658"/>
              <a:gd name="connsiteY464" fmla="*/ 739968 h 1479935"/>
              <a:gd name="connsiteX465" fmla="*/ 237473 w 1485658"/>
              <a:gd name="connsiteY465" fmla="*/ 739968 h 1479935"/>
              <a:gd name="connsiteX466" fmla="*/ 268026 w 1485658"/>
              <a:gd name="connsiteY466" fmla="*/ 770404 h 1479935"/>
              <a:gd name="connsiteX467" fmla="*/ 298578 w 1485658"/>
              <a:gd name="connsiteY467" fmla="*/ 739968 h 1479935"/>
              <a:gd name="connsiteX468" fmla="*/ 268026 w 1485658"/>
              <a:gd name="connsiteY468" fmla="*/ 709531 h 1479935"/>
              <a:gd name="connsiteX469" fmla="*/ 237473 w 1485658"/>
              <a:gd name="connsiteY469" fmla="*/ 739968 h 1479935"/>
              <a:gd name="connsiteX470" fmla="*/ 296865 w 1485658"/>
              <a:gd name="connsiteY470" fmla="*/ 739968 h 1479935"/>
              <a:gd name="connsiteX471" fmla="*/ 327418 w 1485658"/>
              <a:gd name="connsiteY471" fmla="*/ 770404 h 1479935"/>
              <a:gd name="connsiteX472" fmla="*/ 357970 w 1485658"/>
              <a:gd name="connsiteY472" fmla="*/ 739968 h 1479935"/>
              <a:gd name="connsiteX473" fmla="*/ 327418 w 1485658"/>
              <a:gd name="connsiteY473" fmla="*/ 709531 h 1479935"/>
              <a:gd name="connsiteX474" fmla="*/ 296865 w 1485658"/>
              <a:gd name="connsiteY474" fmla="*/ 739968 h 1479935"/>
              <a:gd name="connsiteX475" fmla="*/ 356162 w 1485658"/>
              <a:gd name="connsiteY475" fmla="*/ 739968 h 1479935"/>
              <a:gd name="connsiteX476" fmla="*/ 386715 w 1485658"/>
              <a:gd name="connsiteY476" fmla="*/ 770404 h 1479935"/>
              <a:gd name="connsiteX477" fmla="*/ 417267 w 1485658"/>
              <a:gd name="connsiteY477" fmla="*/ 739968 h 1479935"/>
              <a:gd name="connsiteX478" fmla="*/ 386715 w 1485658"/>
              <a:gd name="connsiteY478" fmla="*/ 709531 h 1479935"/>
              <a:gd name="connsiteX479" fmla="*/ 356162 w 1485658"/>
              <a:gd name="connsiteY479" fmla="*/ 739968 h 1479935"/>
              <a:gd name="connsiteX480" fmla="*/ 415554 w 1485658"/>
              <a:gd name="connsiteY480" fmla="*/ 739968 h 1479935"/>
              <a:gd name="connsiteX481" fmla="*/ 446107 w 1485658"/>
              <a:gd name="connsiteY481" fmla="*/ 770404 h 1479935"/>
              <a:gd name="connsiteX482" fmla="*/ 476659 w 1485658"/>
              <a:gd name="connsiteY482" fmla="*/ 739968 h 1479935"/>
              <a:gd name="connsiteX483" fmla="*/ 446107 w 1485658"/>
              <a:gd name="connsiteY483" fmla="*/ 709531 h 1479935"/>
              <a:gd name="connsiteX484" fmla="*/ 415554 w 1485658"/>
              <a:gd name="connsiteY484" fmla="*/ 739968 h 1479935"/>
              <a:gd name="connsiteX485" fmla="*/ 474851 w 1485658"/>
              <a:gd name="connsiteY485" fmla="*/ 739968 h 1479935"/>
              <a:gd name="connsiteX486" fmla="*/ 505404 w 1485658"/>
              <a:gd name="connsiteY486" fmla="*/ 770404 h 1479935"/>
              <a:gd name="connsiteX487" fmla="*/ 535956 w 1485658"/>
              <a:gd name="connsiteY487" fmla="*/ 739968 h 1479935"/>
              <a:gd name="connsiteX488" fmla="*/ 505404 w 1485658"/>
              <a:gd name="connsiteY488" fmla="*/ 709531 h 1479935"/>
              <a:gd name="connsiteX489" fmla="*/ 474851 w 1485658"/>
              <a:gd name="connsiteY489" fmla="*/ 739968 h 1479935"/>
              <a:gd name="connsiteX490" fmla="*/ 534243 w 1485658"/>
              <a:gd name="connsiteY490" fmla="*/ 739968 h 1479935"/>
              <a:gd name="connsiteX491" fmla="*/ 564796 w 1485658"/>
              <a:gd name="connsiteY491" fmla="*/ 770404 h 1479935"/>
              <a:gd name="connsiteX492" fmla="*/ 595348 w 1485658"/>
              <a:gd name="connsiteY492" fmla="*/ 739968 h 1479935"/>
              <a:gd name="connsiteX493" fmla="*/ 564796 w 1485658"/>
              <a:gd name="connsiteY493" fmla="*/ 709531 h 1479935"/>
              <a:gd name="connsiteX494" fmla="*/ 534243 w 1485658"/>
              <a:gd name="connsiteY494" fmla="*/ 739968 h 1479935"/>
              <a:gd name="connsiteX495" fmla="*/ 652932 w 1485658"/>
              <a:gd name="connsiteY495" fmla="*/ 739968 h 1479935"/>
              <a:gd name="connsiteX496" fmla="*/ 683485 w 1485658"/>
              <a:gd name="connsiteY496" fmla="*/ 770404 h 1479935"/>
              <a:gd name="connsiteX497" fmla="*/ 714037 w 1485658"/>
              <a:gd name="connsiteY497" fmla="*/ 739968 h 1479935"/>
              <a:gd name="connsiteX498" fmla="*/ 683485 w 1485658"/>
              <a:gd name="connsiteY498" fmla="*/ 709531 h 1479935"/>
              <a:gd name="connsiteX499" fmla="*/ 652932 w 1485658"/>
              <a:gd name="connsiteY499" fmla="*/ 739968 h 1479935"/>
              <a:gd name="connsiteX500" fmla="*/ 890310 w 1485658"/>
              <a:gd name="connsiteY500" fmla="*/ 739968 h 1479935"/>
              <a:gd name="connsiteX501" fmla="*/ 920863 w 1485658"/>
              <a:gd name="connsiteY501" fmla="*/ 770404 h 1479935"/>
              <a:gd name="connsiteX502" fmla="*/ 951415 w 1485658"/>
              <a:gd name="connsiteY502" fmla="*/ 739968 h 1479935"/>
              <a:gd name="connsiteX503" fmla="*/ 920863 w 1485658"/>
              <a:gd name="connsiteY503" fmla="*/ 709531 h 1479935"/>
              <a:gd name="connsiteX504" fmla="*/ 890310 w 1485658"/>
              <a:gd name="connsiteY504" fmla="*/ 739968 h 1479935"/>
              <a:gd name="connsiteX505" fmla="*/ 1009094 w 1485658"/>
              <a:gd name="connsiteY505" fmla="*/ 739968 h 1479935"/>
              <a:gd name="connsiteX506" fmla="*/ 1039647 w 1485658"/>
              <a:gd name="connsiteY506" fmla="*/ 770404 h 1479935"/>
              <a:gd name="connsiteX507" fmla="*/ 1070199 w 1485658"/>
              <a:gd name="connsiteY507" fmla="*/ 739968 h 1479935"/>
              <a:gd name="connsiteX508" fmla="*/ 1039647 w 1485658"/>
              <a:gd name="connsiteY508" fmla="*/ 709531 h 1479935"/>
              <a:gd name="connsiteX509" fmla="*/ 1009094 w 1485658"/>
              <a:gd name="connsiteY509" fmla="*/ 739968 h 1479935"/>
              <a:gd name="connsiteX510" fmla="*/ 1068391 w 1485658"/>
              <a:gd name="connsiteY510" fmla="*/ 739968 h 1479935"/>
              <a:gd name="connsiteX511" fmla="*/ 1098944 w 1485658"/>
              <a:gd name="connsiteY511" fmla="*/ 770404 h 1479935"/>
              <a:gd name="connsiteX512" fmla="*/ 1129496 w 1485658"/>
              <a:gd name="connsiteY512" fmla="*/ 739968 h 1479935"/>
              <a:gd name="connsiteX513" fmla="*/ 1098944 w 1485658"/>
              <a:gd name="connsiteY513" fmla="*/ 709531 h 1479935"/>
              <a:gd name="connsiteX514" fmla="*/ 1068391 w 1485658"/>
              <a:gd name="connsiteY514" fmla="*/ 739968 h 1479935"/>
              <a:gd name="connsiteX515" fmla="*/ 1127783 w 1485658"/>
              <a:gd name="connsiteY515" fmla="*/ 739968 h 1479935"/>
              <a:gd name="connsiteX516" fmla="*/ 1158336 w 1485658"/>
              <a:gd name="connsiteY516" fmla="*/ 770404 h 1479935"/>
              <a:gd name="connsiteX517" fmla="*/ 1188888 w 1485658"/>
              <a:gd name="connsiteY517" fmla="*/ 739968 h 1479935"/>
              <a:gd name="connsiteX518" fmla="*/ 1158336 w 1485658"/>
              <a:gd name="connsiteY518" fmla="*/ 709531 h 1479935"/>
              <a:gd name="connsiteX519" fmla="*/ 1127783 w 1485658"/>
              <a:gd name="connsiteY519" fmla="*/ 739968 h 1479935"/>
              <a:gd name="connsiteX520" fmla="*/ 1187080 w 1485658"/>
              <a:gd name="connsiteY520" fmla="*/ 739968 h 1479935"/>
              <a:gd name="connsiteX521" fmla="*/ 1217633 w 1485658"/>
              <a:gd name="connsiteY521" fmla="*/ 770404 h 1479935"/>
              <a:gd name="connsiteX522" fmla="*/ 1248185 w 1485658"/>
              <a:gd name="connsiteY522" fmla="*/ 739968 h 1479935"/>
              <a:gd name="connsiteX523" fmla="*/ 1217633 w 1485658"/>
              <a:gd name="connsiteY523" fmla="*/ 709531 h 1479935"/>
              <a:gd name="connsiteX524" fmla="*/ 1187080 w 1485658"/>
              <a:gd name="connsiteY524" fmla="*/ 739968 h 1479935"/>
              <a:gd name="connsiteX525" fmla="*/ 1305769 w 1485658"/>
              <a:gd name="connsiteY525" fmla="*/ 739968 h 1479935"/>
              <a:gd name="connsiteX526" fmla="*/ 1336322 w 1485658"/>
              <a:gd name="connsiteY526" fmla="*/ 770404 h 1479935"/>
              <a:gd name="connsiteX527" fmla="*/ 1366874 w 1485658"/>
              <a:gd name="connsiteY527" fmla="*/ 739968 h 1479935"/>
              <a:gd name="connsiteX528" fmla="*/ 1336322 w 1485658"/>
              <a:gd name="connsiteY528" fmla="*/ 709531 h 1479935"/>
              <a:gd name="connsiteX529" fmla="*/ 1305769 w 1485658"/>
              <a:gd name="connsiteY529" fmla="*/ 739968 h 1479935"/>
              <a:gd name="connsiteX530" fmla="*/ 1365161 w 1485658"/>
              <a:gd name="connsiteY530" fmla="*/ 739968 h 1479935"/>
              <a:gd name="connsiteX531" fmla="*/ 1395714 w 1485658"/>
              <a:gd name="connsiteY531" fmla="*/ 770404 h 1479935"/>
              <a:gd name="connsiteX532" fmla="*/ 1426266 w 1485658"/>
              <a:gd name="connsiteY532" fmla="*/ 739968 h 1479935"/>
              <a:gd name="connsiteX533" fmla="*/ 1395714 w 1485658"/>
              <a:gd name="connsiteY533" fmla="*/ 709531 h 1479935"/>
              <a:gd name="connsiteX534" fmla="*/ 1365161 w 1485658"/>
              <a:gd name="connsiteY534" fmla="*/ 739968 h 1479935"/>
              <a:gd name="connsiteX535" fmla="*/ 1424553 w 1485658"/>
              <a:gd name="connsiteY535" fmla="*/ 739968 h 1479935"/>
              <a:gd name="connsiteX536" fmla="*/ 1455106 w 1485658"/>
              <a:gd name="connsiteY536" fmla="*/ 770404 h 1479935"/>
              <a:gd name="connsiteX537" fmla="*/ 1485658 w 1485658"/>
              <a:gd name="connsiteY537" fmla="*/ 739968 h 1479935"/>
              <a:gd name="connsiteX538" fmla="*/ 1455106 w 1485658"/>
              <a:gd name="connsiteY538" fmla="*/ 709531 h 1479935"/>
              <a:gd name="connsiteX539" fmla="*/ 1424553 w 1485658"/>
              <a:gd name="connsiteY539" fmla="*/ 739968 h 1479935"/>
              <a:gd name="connsiteX540" fmla="*/ 95 w 1485658"/>
              <a:gd name="connsiteY540" fmla="*/ 799040 h 1479935"/>
              <a:gd name="connsiteX541" fmla="*/ 30648 w 1485658"/>
              <a:gd name="connsiteY541" fmla="*/ 829477 h 1479935"/>
              <a:gd name="connsiteX542" fmla="*/ 61200 w 1485658"/>
              <a:gd name="connsiteY542" fmla="*/ 799040 h 1479935"/>
              <a:gd name="connsiteX543" fmla="*/ 30648 w 1485658"/>
              <a:gd name="connsiteY543" fmla="*/ 768603 h 1479935"/>
              <a:gd name="connsiteX544" fmla="*/ 95 w 1485658"/>
              <a:gd name="connsiteY544" fmla="*/ 799040 h 1479935"/>
              <a:gd name="connsiteX545" fmla="*/ 118784 w 1485658"/>
              <a:gd name="connsiteY545" fmla="*/ 799040 h 1479935"/>
              <a:gd name="connsiteX546" fmla="*/ 149337 w 1485658"/>
              <a:gd name="connsiteY546" fmla="*/ 829477 h 1479935"/>
              <a:gd name="connsiteX547" fmla="*/ 179889 w 1485658"/>
              <a:gd name="connsiteY547" fmla="*/ 799040 h 1479935"/>
              <a:gd name="connsiteX548" fmla="*/ 149337 w 1485658"/>
              <a:gd name="connsiteY548" fmla="*/ 768603 h 1479935"/>
              <a:gd name="connsiteX549" fmla="*/ 118784 w 1485658"/>
              <a:gd name="connsiteY549" fmla="*/ 799040 h 1479935"/>
              <a:gd name="connsiteX550" fmla="*/ 178081 w 1485658"/>
              <a:gd name="connsiteY550" fmla="*/ 799040 h 1479935"/>
              <a:gd name="connsiteX551" fmla="*/ 208634 w 1485658"/>
              <a:gd name="connsiteY551" fmla="*/ 829477 h 1479935"/>
              <a:gd name="connsiteX552" fmla="*/ 239186 w 1485658"/>
              <a:gd name="connsiteY552" fmla="*/ 799040 h 1479935"/>
              <a:gd name="connsiteX553" fmla="*/ 208634 w 1485658"/>
              <a:gd name="connsiteY553" fmla="*/ 768603 h 1479935"/>
              <a:gd name="connsiteX554" fmla="*/ 178081 w 1485658"/>
              <a:gd name="connsiteY554" fmla="*/ 799040 h 1479935"/>
              <a:gd name="connsiteX555" fmla="*/ 237473 w 1485658"/>
              <a:gd name="connsiteY555" fmla="*/ 799040 h 1479935"/>
              <a:gd name="connsiteX556" fmla="*/ 268026 w 1485658"/>
              <a:gd name="connsiteY556" fmla="*/ 829477 h 1479935"/>
              <a:gd name="connsiteX557" fmla="*/ 298578 w 1485658"/>
              <a:gd name="connsiteY557" fmla="*/ 799040 h 1479935"/>
              <a:gd name="connsiteX558" fmla="*/ 268026 w 1485658"/>
              <a:gd name="connsiteY558" fmla="*/ 768603 h 1479935"/>
              <a:gd name="connsiteX559" fmla="*/ 237473 w 1485658"/>
              <a:gd name="connsiteY559" fmla="*/ 799040 h 1479935"/>
              <a:gd name="connsiteX560" fmla="*/ 415554 w 1485658"/>
              <a:gd name="connsiteY560" fmla="*/ 799040 h 1479935"/>
              <a:gd name="connsiteX561" fmla="*/ 446107 w 1485658"/>
              <a:gd name="connsiteY561" fmla="*/ 829477 h 1479935"/>
              <a:gd name="connsiteX562" fmla="*/ 476659 w 1485658"/>
              <a:gd name="connsiteY562" fmla="*/ 799040 h 1479935"/>
              <a:gd name="connsiteX563" fmla="*/ 446107 w 1485658"/>
              <a:gd name="connsiteY563" fmla="*/ 768603 h 1479935"/>
              <a:gd name="connsiteX564" fmla="*/ 415554 w 1485658"/>
              <a:gd name="connsiteY564" fmla="*/ 799040 h 1479935"/>
              <a:gd name="connsiteX565" fmla="*/ 474851 w 1485658"/>
              <a:gd name="connsiteY565" fmla="*/ 799040 h 1479935"/>
              <a:gd name="connsiteX566" fmla="*/ 505404 w 1485658"/>
              <a:gd name="connsiteY566" fmla="*/ 829477 h 1479935"/>
              <a:gd name="connsiteX567" fmla="*/ 535956 w 1485658"/>
              <a:gd name="connsiteY567" fmla="*/ 799040 h 1479935"/>
              <a:gd name="connsiteX568" fmla="*/ 505404 w 1485658"/>
              <a:gd name="connsiteY568" fmla="*/ 768603 h 1479935"/>
              <a:gd name="connsiteX569" fmla="*/ 474851 w 1485658"/>
              <a:gd name="connsiteY569" fmla="*/ 799040 h 1479935"/>
              <a:gd name="connsiteX570" fmla="*/ 534243 w 1485658"/>
              <a:gd name="connsiteY570" fmla="*/ 799040 h 1479935"/>
              <a:gd name="connsiteX571" fmla="*/ 564796 w 1485658"/>
              <a:gd name="connsiteY571" fmla="*/ 829477 h 1479935"/>
              <a:gd name="connsiteX572" fmla="*/ 595348 w 1485658"/>
              <a:gd name="connsiteY572" fmla="*/ 799040 h 1479935"/>
              <a:gd name="connsiteX573" fmla="*/ 564796 w 1485658"/>
              <a:gd name="connsiteY573" fmla="*/ 768603 h 1479935"/>
              <a:gd name="connsiteX574" fmla="*/ 534243 w 1485658"/>
              <a:gd name="connsiteY574" fmla="*/ 799040 h 1479935"/>
              <a:gd name="connsiteX575" fmla="*/ 593635 w 1485658"/>
              <a:gd name="connsiteY575" fmla="*/ 799040 h 1479935"/>
              <a:gd name="connsiteX576" fmla="*/ 624188 w 1485658"/>
              <a:gd name="connsiteY576" fmla="*/ 829477 h 1479935"/>
              <a:gd name="connsiteX577" fmla="*/ 654740 w 1485658"/>
              <a:gd name="connsiteY577" fmla="*/ 799040 h 1479935"/>
              <a:gd name="connsiteX578" fmla="*/ 624188 w 1485658"/>
              <a:gd name="connsiteY578" fmla="*/ 768603 h 1479935"/>
              <a:gd name="connsiteX579" fmla="*/ 593635 w 1485658"/>
              <a:gd name="connsiteY579" fmla="*/ 799040 h 1479935"/>
              <a:gd name="connsiteX580" fmla="*/ 712324 w 1485658"/>
              <a:gd name="connsiteY580" fmla="*/ 799040 h 1479935"/>
              <a:gd name="connsiteX581" fmla="*/ 742877 w 1485658"/>
              <a:gd name="connsiteY581" fmla="*/ 829477 h 1479935"/>
              <a:gd name="connsiteX582" fmla="*/ 773429 w 1485658"/>
              <a:gd name="connsiteY582" fmla="*/ 799040 h 1479935"/>
              <a:gd name="connsiteX583" fmla="*/ 742877 w 1485658"/>
              <a:gd name="connsiteY583" fmla="*/ 768603 h 1479935"/>
              <a:gd name="connsiteX584" fmla="*/ 712324 w 1485658"/>
              <a:gd name="connsiteY584" fmla="*/ 799040 h 1479935"/>
              <a:gd name="connsiteX585" fmla="*/ 771621 w 1485658"/>
              <a:gd name="connsiteY585" fmla="*/ 799040 h 1479935"/>
              <a:gd name="connsiteX586" fmla="*/ 802174 w 1485658"/>
              <a:gd name="connsiteY586" fmla="*/ 829477 h 1479935"/>
              <a:gd name="connsiteX587" fmla="*/ 832726 w 1485658"/>
              <a:gd name="connsiteY587" fmla="*/ 799040 h 1479935"/>
              <a:gd name="connsiteX588" fmla="*/ 802174 w 1485658"/>
              <a:gd name="connsiteY588" fmla="*/ 768603 h 1479935"/>
              <a:gd name="connsiteX589" fmla="*/ 771621 w 1485658"/>
              <a:gd name="connsiteY589" fmla="*/ 799040 h 1479935"/>
              <a:gd name="connsiteX590" fmla="*/ 949702 w 1485658"/>
              <a:gd name="connsiteY590" fmla="*/ 799040 h 1479935"/>
              <a:gd name="connsiteX591" fmla="*/ 980255 w 1485658"/>
              <a:gd name="connsiteY591" fmla="*/ 829477 h 1479935"/>
              <a:gd name="connsiteX592" fmla="*/ 1010807 w 1485658"/>
              <a:gd name="connsiteY592" fmla="*/ 799040 h 1479935"/>
              <a:gd name="connsiteX593" fmla="*/ 980255 w 1485658"/>
              <a:gd name="connsiteY593" fmla="*/ 768603 h 1479935"/>
              <a:gd name="connsiteX594" fmla="*/ 949702 w 1485658"/>
              <a:gd name="connsiteY594" fmla="*/ 799040 h 1479935"/>
              <a:gd name="connsiteX595" fmla="*/ 1009094 w 1485658"/>
              <a:gd name="connsiteY595" fmla="*/ 799040 h 1479935"/>
              <a:gd name="connsiteX596" fmla="*/ 1039647 w 1485658"/>
              <a:gd name="connsiteY596" fmla="*/ 829477 h 1479935"/>
              <a:gd name="connsiteX597" fmla="*/ 1070199 w 1485658"/>
              <a:gd name="connsiteY597" fmla="*/ 799040 h 1479935"/>
              <a:gd name="connsiteX598" fmla="*/ 1039647 w 1485658"/>
              <a:gd name="connsiteY598" fmla="*/ 768603 h 1479935"/>
              <a:gd name="connsiteX599" fmla="*/ 1009094 w 1485658"/>
              <a:gd name="connsiteY599" fmla="*/ 799040 h 1479935"/>
              <a:gd name="connsiteX600" fmla="*/ 1127783 w 1485658"/>
              <a:gd name="connsiteY600" fmla="*/ 799040 h 1479935"/>
              <a:gd name="connsiteX601" fmla="*/ 1158336 w 1485658"/>
              <a:gd name="connsiteY601" fmla="*/ 829477 h 1479935"/>
              <a:gd name="connsiteX602" fmla="*/ 1188888 w 1485658"/>
              <a:gd name="connsiteY602" fmla="*/ 799040 h 1479935"/>
              <a:gd name="connsiteX603" fmla="*/ 1158336 w 1485658"/>
              <a:gd name="connsiteY603" fmla="*/ 768603 h 1479935"/>
              <a:gd name="connsiteX604" fmla="*/ 1127783 w 1485658"/>
              <a:gd name="connsiteY604" fmla="*/ 799040 h 1479935"/>
              <a:gd name="connsiteX605" fmla="*/ 1246472 w 1485658"/>
              <a:gd name="connsiteY605" fmla="*/ 799040 h 1479935"/>
              <a:gd name="connsiteX606" fmla="*/ 1277025 w 1485658"/>
              <a:gd name="connsiteY606" fmla="*/ 829477 h 1479935"/>
              <a:gd name="connsiteX607" fmla="*/ 1307577 w 1485658"/>
              <a:gd name="connsiteY607" fmla="*/ 799040 h 1479935"/>
              <a:gd name="connsiteX608" fmla="*/ 1277025 w 1485658"/>
              <a:gd name="connsiteY608" fmla="*/ 768603 h 1479935"/>
              <a:gd name="connsiteX609" fmla="*/ 1246472 w 1485658"/>
              <a:gd name="connsiteY609" fmla="*/ 799040 h 1479935"/>
              <a:gd name="connsiteX610" fmla="*/ 1365161 w 1485658"/>
              <a:gd name="connsiteY610" fmla="*/ 799040 h 1479935"/>
              <a:gd name="connsiteX611" fmla="*/ 1395714 w 1485658"/>
              <a:gd name="connsiteY611" fmla="*/ 829477 h 1479935"/>
              <a:gd name="connsiteX612" fmla="*/ 1426266 w 1485658"/>
              <a:gd name="connsiteY612" fmla="*/ 799040 h 1479935"/>
              <a:gd name="connsiteX613" fmla="*/ 1395714 w 1485658"/>
              <a:gd name="connsiteY613" fmla="*/ 768603 h 1479935"/>
              <a:gd name="connsiteX614" fmla="*/ 1365161 w 1485658"/>
              <a:gd name="connsiteY614" fmla="*/ 799040 h 1479935"/>
              <a:gd name="connsiteX615" fmla="*/ 95 w 1485658"/>
              <a:gd name="connsiteY615" fmla="*/ 858207 h 1479935"/>
              <a:gd name="connsiteX616" fmla="*/ 30648 w 1485658"/>
              <a:gd name="connsiteY616" fmla="*/ 888644 h 1479935"/>
              <a:gd name="connsiteX617" fmla="*/ 61200 w 1485658"/>
              <a:gd name="connsiteY617" fmla="*/ 858207 h 1479935"/>
              <a:gd name="connsiteX618" fmla="*/ 30648 w 1485658"/>
              <a:gd name="connsiteY618" fmla="*/ 827770 h 1479935"/>
              <a:gd name="connsiteX619" fmla="*/ 95 w 1485658"/>
              <a:gd name="connsiteY619" fmla="*/ 858207 h 1479935"/>
              <a:gd name="connsiteX620" fmla="*/ 118784 w 1485658"/>
              <a:gd name="connsiteY620" fmla="*/ 858207 h 1479935"/>
              <a:gd name="connsiteX621" fmla="*/ 149337 w 1485658"/>
              <a:gd name="connsiteY621" fmla="*/ 888644 h 1479935"/>
              <a:gd name="connsiteX622" fmla="*/ 179889 w 1485658"/>
              <a:gd name="connsiteY622" fmla="*/ 858207 h 1479935"/>
              <a:gd name="connsiteX623" fmla="*/ 149337 w 1485658"/>
              <a:gd name="connsiteY623" fmla="*/ 827770 h 1479935"/>
              <a:gd name="connsiteX624" fmla="*/ 118784 w 1485658"/>
              <a:gd name="connsiteY624" fmla="*/ 858207 h 1479935"/>
              <a:gd name="connsiteX625" fmla="*/ 178081 w 1485658"/>
              <a:gd name="connsiteY625" fmla="*/ 858207 h 1479935"/>
              <a:gd name="connsiteX626" fmla="*/ 208634 w 1485658"/>
              <a:gd name="connsiteY626" fmla="*/ 888644 h 1479935"/>
              <a:gd name="connsiteX627" fmla="*/ 239186 w 1485658"/>
              <a:gd name="connsiteY627" fmla="*/ 858207 h 1479935"/>
              <a:gd name="connsiteX628" fmla="*/ 208634 w 1485658"/>
              <a:gd name="connsiteY628" fmla="*/ 827770 h 1479935"/>
              <a:gd name="connsiteX629" fmla="*/ 178081 w 1485658"/>
              <a:gd name="connsiteY629" fmla="*/ 858207 h 1479935"/>
              <a:gd name="connsiteX630" fmla="*/ 356162 w 1485658"/>
              <a:gd name="connsiteY630" fmla="*/ 858207 h 1479935"/>
              <a:gd name="connsiteX631" fmla="*/ 386715 w 1485658"/>
              <a:gd name="connsiteY631" fmla="*/ 888644 h 1479935"/>
              <a:gd name="connsiteX632" fmla="*/ 417267 w 1485658"/>
              <a:gd name="connsiteY632" fmla="*/ 858207 h 1479935"/>
              <a:gd name="connsiteX633" fmla="*/ 386715 w 1485658"/>
              <a:gd name="connsiteY633" fmla="*/ 827770 h 1479935"/>
              <a:gd name="connsiteX634" fmla="*/ 356162 w 1485658"/>
              <a:gd name="connsiteY634" fmla="*/ 858207 h 1479935"/>
              <a:gd name="connsiteX635" fmla="*/ 474851 w 1485658"/>
              <a:gd name="connsiteY635" fmla="*/ 858207 h 1479935"/>
              <a:gd name="connsiteX636" fmla="*/ 505404 w 1485658"/>
              <a:gd name="connsiteY636" fmla="*/ 888644 h 1479935"/>
              <a:gd name="connsiteX637" fmla="*/ 535956 w 1485658"/>
              <a:gd name="connsiteY637" fmla="*/ 858207 h 1479935"/>
              <a:gd name="connsiteX638" fmla="*/ 505404 w 1485658"/>
              <a:gd name="connsiteY638" fmla="*/ 827770 h 1479935"/>
              <a:gd name="connsiteX639" fmla="*/ 474851 w 1485658"/>
              <a:gd name="connsiteY639" fmla="*/ 858207 h 1479935"/>
              <a:gd name="connsiteX640" fmla="*/ 771621 w 1485658"/>
              <a:gd name="connsiteY640" fmla="*/ 858207 h 1479935"/>
              <a:gd name="connsiteX641" fmla="*/ 802174 w 1485658"/>
              <a:gd name="connsiteY641" fmla="*/ 888644 h 1479935"/>
              <a:gd name="connsiteX642" fmla="*/ 832726 w 1485658"/>
              <a:gd name="connsiteY642" fmla="*/ 858207 h 1479935"/>
              <a:gd name="connsiteX643" fmla="*/ 802174 w 1485658"/>
              <a:gd name="connsiteY643" fmla="*/ 827770 h 1479935"/>
              <a:gd name="connsiteX644" fmla="*/ 771621 w 1485658"/>
              <a:gd name="connsiteY644" fmla="*/ 858207 h 1479935"/>
              <a:gd name="connsiteX645" fmla="*/ 831013 w 1485658"/>
              <a:gd name="connsiteY645" fmla="*/ 858207 h 1479935"/>
              <a:gd name="connsiteX646" fmla="*/ 861566 w 1485658"/>
              <a:gd name="connsiteY646" fmla="*/ 888644 h 1479935"/>
              <a:gd name="connsiteX647" fmla="*/ 892118 w 1485658"/>
              <a:gd name="connsiteY647" fmla="*/ 858207 h 1479935"/>
              <a:gd name="connsiteX648" fmla="*/ 861566 w 1485658"/>
              <a:gd name="connsiteY648" fmla="*/ 827770 h 1479935"/>
              <a:gd name="connsiteX649" fmla="*/ 831013 w 1485658"/>
              <a:gd name="connsiteY649" fmla="*/ 858207 h 1479935"/>
              <a:gd name="connsiteX650" fmla="*/ 890310 w 1485658"/>
              <a:gd name="connsiteY650" fmla="*/ 858207 h 1479935"/>
              <a:gd name="connsiteX651" fmla="*/ 920863 w 1485658"/>
              <a:gd name="connsiteY651" fmla="*/ 888644 h 1479935"/>
              <a:gd name="connsiteX652" fmla="*/ 951415 w 1485658"/>
              <a:gd name="connsiteY652" fmla="*/ 858207 h 1479935"/>
              <a:gd name="connsiteX653" fmla="*/ 920863 w 1485658"/>
              <a:gd name="connsiteY653" fmla="*/ 827770 h 1479935"/>
              <a:gd name="connsiteX654" fmla="*/ 890310 w 1485658"/>
              <a:gd name="connsiteY654" fmla="*/ 858207 h 1479935"/>
              <a:gd name="connsiteX655" fmla="*/ 949702 w 1485658"/>
              <a:gd name="connsiteY655" fmla="*/ 858207 h 1479935"/>
              <a:gd name="connsiteX656" fmla="*/ 980255 w 1485658"/>
              <a:gd name="connsiteY656" fmla="*/ 888644 h 1479935"/>
              <a:gd name="connsiteX657" fmla="*/ 1010807 w 1485658"/>
              <a:gd name="connsiteY657" fmla="*/ 858207 h 1479935"/>
              <a:gd name="connsiteX658" fmla="*/ 980255 w 1485658"/>
              <a:gd name="connsiteY658" fmla="*/ 827770 h 1479935"/>
              <a:gd name="connsiteX659" fmla="*/ 949702 w 1485658"/>
              <a:gd name="connsiteY659" fmla="*/ 858207 h 1479935"/>
              <a:gd name="connsiteX660" fmla="*/ 1068391 w 1485658"/>
              <a:gd name="connsiteY660" fmla="*/ 858207 h 1479935"/>
              <a:gd name="connsiteX661" fmla="*/ 1098944 w 1485658"/>
              <a:gd name="connsiteY661" fmla="*/ 888644 h 1479935"/>
              <a:gd name="connsiteX662" fmla="*/ 1129496 w 1485658"/>
              <a:gd name="connsiteY662" fmla="*/ 858207 h 1479935"/>
              <a:gd name="connsiteX663" fmla="*/ 1098944 w 1485658"/>
              <a:gd name="connsiteY663" fmla="*/ 827770 h 1479935"/>
              <a:gd name="connsiteX664" fmla="*/ 1068391 w 1485658"/>
              <a:gd name="connsiteY664" fmla="*/ 858207 h 1479935"/>
              <a:gd name="connsiteX665" fmla="*/ 1127783 w 1485658"/>
              <a:gd name="connsiteY665" fmla="*/ 858207 h 1479935"/>
              <a:gd name="connsiteX666" fmla="*/ 1158336 w 1485658"/>
              <a:gd name="connsiteY666" fmla="*/ 888644 h 1479935"/>
              <a:gd name="connsiteX667" fmla="*/ 1188888 w 1485658"/>
              <a:gd name="connsiteY667" fmla="*/ 858207 h 1479935"/>
              <a:gd name="connsiteX668" fmla="*/ 1158336 w 1485658"/>
              <a:gd name="connsiteY668" fmla="*/ 827770 h 1479935"/>
              <a:gd name="connsiteX669" fmla="*/ 1127783 w 1485658"/>
              <a:gd name="connsiteY669" fmla="*/ 858207 h 1479935"/>
              <a:gd name="connsiteX670" fmla="*/ 1187080 w 1485658"/>
              <a:gd name="connsiteY670" fmla="*/ 858207 h 1479935"/>
              <a:gd name="connsiteX671" fmla="*/ 1217633 w 1485658"/>
              <a:gd name="connsiteY671" fmla="*/ 888644 h 1479935"/>
              <a:gd name="connsiteX672" fmla="*/ 1248185 w 1485658"/>
              <a:gd name="connsiteY672" fmla="*/ 858207 h 1479935"/>
              <a:gd name="connsiteX673" fmla="*/ 1217633 w 1485658"/>
              <a:gd name="connsiteY673" fmla="*/ 827770 h 1479935"/>
              <a:gd name="connsiteX674" fmla="*/ 1187080 w 1485658"/>
              <a:gd name="connsiteY674" fmla="*/ 858207 h 1479935"/>
              <a:gd name="connsiteX675" fmla="*/ 1246472 w 1485658"/>
              <a:gd name="connsiteY675" fmla="*/ 858207 h 1479935"/>
              <a:gd name="connsiteX676" fmla="*/ 1277025 w 1485658"/>
              <a:gd name="connsiteY676" fmla="*/ 888644 h 1479935"/>
              <a:gd name="connsiteX677" fmla="*/ 1307577 w 1485658"/>
              <a:gd name="connsiteY677" fmla="*/ 858207 h 1479935"/>
              <a:gd name="connsiteX678" fmla="*/ 1277025 w 1485658"/>
              <a:gd name="connsiteY678" fmla="*/ 827770 h 1479935"/>
              <a:gd name="connsiteX679" fmla="*/ 1246472 w 1485658"/>
              <a:gd name="connsiteY679" fmla="*/ 858207 h 1479935"/>
              <a:gd name="connsiteX680" fmla="*/ 1365161 w 1485658"/>
              <a:gd name="connsiteY680" fmla="*/ 858207 h 1479935"/>
              <a:gd name="connsiteX681" fmla="*/ 1395714 w 1485658"/>
              <a:gd name="connsiteY681" fmla="*/ 888644 h 1479935"/>
              <a:gd name="connsiteX682" fmla="*/ 1426266 w 1485658"/>
              <a:gd name="connsiteY682" fmla="*/ 858207 h 1479935"/>
              <a:gd name="connsiteX683" fmla="*/ 1395714 w 1485658"/>
              <a:gd name="connsiteY683" fmla="*/ 827770 h 1479935"/>
              <a:gd name="connsiteX684" fmla="*/ 1365161 w 1485658"/>
              <a:gd name="connsiteY684" fmla="*/ 858207 h 1479935"/>
              <a:gd name="connsiteX685" fmla="*/ 1424553 w 1485658"/>
              <a:gd name="connsiteY685" fmla="*/ 858207 h 1479935"/>
              <a:gd name="connsiteX686" fmla="*/ 1455106 w 1485658"/>
              <a:gd name="connsiteY686" fmla="*/ 888644 h 1479935"/>
              <a:gd name="connsiteX687" fmla="*/ 1485658 w 1485658"/>
              <a:gd name="connsiteY687" fmla="*/ 858207 h 1479935"/>
              <a:gd name="connsiteX688" fmla="*/ 1455106 w 1485658"/>
              <a:gd name="connsiteY688" fmla="*/ 827770 h 1479935"/>
              <a:gd name="connsiteX689" fmla="*/ 1424553 w 1485658"/>
              <a:gd name="connsiteY689" fmla="*/ 858207 h 1479935"/>
              <a:gd name="connsiteX690" fmla="*/ 95 w 1485658"/>
              <a:gd name="connsiteY690" fmla="*/ 917374 h 1479935"/>
              <a:gd name="connsiteX691" fmla="*/ 30648 w 1485658"/>
              <a:gd name="connsiteY691" fmla="*/ 947811 h 1479935"/>
              <a:gd name="connsiteX692" fmla="*/ 61200 w 1485658"/>
              <a:gd name="connsiteY692" fmla="*/ 917374 h 1479935"/>
              <a:gd name="connsiteX693" fmla="*/ 30648 w 1485658"/>
              <a:gd name="connsiteY693" fmla="*/ 886937 h 1479935"/>
              <a:gd name="connsiteX694" fmla="*/ 95 w 1485658"/>
              <a:gd name="connsiteY694" fmla="*/ 917374 h 1479935"/>
              <a:gd name="connsiteX695" fmla="*/ 593635 w 1485658"/>
              <a:gd name="connsiteY695" fmla="*/ 917374 h 1479935"/>
              <a:gd name="connsiteX696" fmla="*/ 624188 w 1485658"/>
              <a:gd name="connsiteY696" fmla="*/ 947811 h 1479935"/>
              <a:gd name="connsiteX697" fmla="*/ 654740 w 1485658"/>
              <a:gd name="connsiteY697" fmla="*/ 917374 h 1479935"/>
              <a:gd name="connsiteX698" fmla="*/ 624188 w 1485658"/>
              <a:gd name="connsiteY698" fmla="*/ 886937 h 1479935"/>
              <a:gd name="connsiteX699" fmla="*/ 593635 w 1485658"/>
              <a:gd name="connsiteY699" fmla="*/ 917374 h 1479935"/>
              <a:gd name="connsiteX700" fmla="*/ 712324 w 1485658"/>
              <a:gd name="connsiteY700" fmla="*/ 917374 h 1479935"/>
              <a:gd name="connsiteX701" fmla="*/ 742877 w 1485658"/>
              <a:gd name="connsiteY701" fmla="*/ 947811 h 1479935"/>
              <a:gd name="connsiteX702" fmla="*/ 773429 w 1485658"/>
              <a:gd name="connsiteY702" fmla="*/ 917374 h 1479935"/>
              <a:gd name="connsiteX703" fmla="*/ 742877 w 1485658"/>
              <a:gd name="connsiteY703" fmla="*/ 886937 h 1479935"/>
              <a:gd name="connsiteX704" fmla="*/ 712324 w 1485658"/>
              <a:gd name="connsiteY704" fmla="*/ 917374 h 1479935"/>
              <a:gd name="connsiteX705" fmla="*/ 771621 w 1485658"/>
              <a:gd name="connsiteY705" fmla="*/ 917374 h 1479935"/>
              <a:gd name="connsiteX706" fmla="*/ 802174 w 1485658"/>
              <a:gd name="connsiteY706" fmla="*/ 947811 h 1479935"/>
              <a:gd name="connsiteX707" fmla="*/ 832726 w 1485658"/>
              <a:gd name="connsiteY707" fmla="*/ 917374 h 1479935"/>
              <a:gd name="connsiteX708" fmla="*/ 802174 w 1485658"/>
              <a:gd name="connsiteY708" fmla="*/ 886937 h 1479935"/>
              <a:gd name="connsiteX709" fmla="*/ 771621 w 1485658"/>
              <a:gd name="connsiteY709" fmla="*/ 917374 h 1479935"/>
              <a:gd name="connsiteX710" fmla="*/ 890310 w 1485658"/>
              <a:gd name="connsiteY710" fmla="*/ 917374 h 1479935"/>
              <a:gd name="connsiteX711" fmla="*/ 920863 w 1485658"/>
              <a:gd name="connsiteY711" fmla="*/ 947811 h 1479935"/>
              <a:gd name="connsiteX712" fmla="*/ 951415 w 1485658"/>
              <a:gd name="connsiteY712" fmla="*/ 917374 h 1479935"/>
              <a:gd name="connsiteX713" fmla="*/ 920863 w 1485658"/>
              <a:gd name="connsiteY713" fmla="*/ 886937 h 1479935"/>
              <a:gd name="connsiteX714" fmla="*/ 890310 w 1485658"/>
              <a:gd name="connsiteY714" fmla="*/ 917374 h 1479935"/>
              <a:gd name="connsiteX715" fmla="*/ 949702 w 1485658"/>
              <a:gd name="connsiteY715" fmla="*/ 917374 h 1479935"/>
              <a:gd name="connsiteX716" fmla="*/ 980255 w 1485658"/>
              <a:gd name="connsiteY716" fmla="*/ 947811 h 1479935"/>
              <a:gd name="connsiteX717" fmla="*/ 1010807 w 1485658"/>
              <a:gd name="connsiteY717" fmla="*/ 917374 h 1479935"/>
              <a:gd name="connsiteX718" fmla="*/ 980255 w 1485658"/>
              <a:gd name="connsiteY718" fmla="*/ 886937 h 1479935"/>
              <a:gd name="connsiteX719" fmla="*/ 949702 w 1485658"/>
              <a:gd name="connsiteY719" fmla="*/ 917374 h 1479935"/>
              <a:gd name="connsiteX720" fmla="*/ 1127783 w 1485658"/>
              <a:gd name="connsiteY720" fmla="*/ 917374 h 1479935"/>
              <a:gd name="connsiteX721" fmla="*/ 1158336 w 1485658"/>
              <a:gd name="connsiteY721" fmla="*/ 947811 h 1479935"/>
              <a:gd name="connsiteX722" fmla="*/ 1188888 w 1485658"/>
              <a:gd name="connsiteY722" fmla="*/ 917374 h 1479935"/>
              <a:gd name="connsiteX723" fmla="*/ 1158336 w 1485658"/>
              <a:gd name="connsiteY723" fmla="*/ 886937 h 1479935"/>
              <a:gd name="connsiteX724" fmla="*/ 1127783 w 1485658"/>
              <a:gd name="connsiteY724" fmla="*/ 917374 h 1479935"/>
              <a:gd name="connsiteX725" fmla="*/ 1187080 w 1485658"/>
              <a:gd name="connsiteY725" fmla="*/ 917374 h 1479935"/>
              <a:gd name="connsiteX726" fmla="*/ 1217633 w 1485658"/>
              <a:gd name="connsiteY726" fmla="*/ 947811 h 1479935"/>
              <a:gd name="connsiteX727" fmla="*/ 1248185 w 1485658"/>
              <a:gd name="connsiteY727" fmla="*/ 917374 h 1479935"/>
              <a:gd name="connsiteX728" fmla="*/ 1217633 w 1485658"/>
              <a:gd name="connsiteY728" fmla="*/ 886937 h 1479935"/>
              <a:gd name="connsiteX729" fmla="*/ 1187080 w 1485658"/>
              <a:gd name="connsiteY729" fmla="*/ 917374 h 1479935"/>
              <a:gd name="connsiteX730" fmla="*/ 1424553 w 1485658"/>
              <a:gd name="connsiteY730" fmla="*/ 917374 h 1479935"/>
              <a:gd name="connsiteX731" fmla="*/ 1455106 w 1485658"/>
              <a:gd name="connsiteY731" fmla="*/ 947811 h 1479935"/>
              <a:gd name="connsiteX732" fmla="*/ 1485658 w 1485658"/>
              <a:gd name="connsiteY732" fmla="*/ 917374 h 1479935"/>
              <a:gd name="connsiteX733" fmla="*/ 1455106 w 1485658"/>
              <a:gd name="connsiteY733" fmla="*/ 886937 h 1479935"/>
              <a:gd name="connsiteX734" fmla="*/ 1424553 w 1485658"/>
              <a:gd name="connsiteY734" fmla="*/ 917374 h 1479935"/>
              <a:gd name="connsiteX735" fmla="*/ 95 w 1485658"/>
              <a:gd name="connsiteY735" fmla="*/ 976446 h 1479935"/>
              <a:gd name="connsiteX736" fmla="*/ 30648 w 1485658"/>
              <a:gd name="connsiteY736" fmla="*/ 1006883 h 1479935"/>
              <a:gd name="connsiteX737" fmla="*/ 61200 w 1485658"/>
              <a:gd name="connsiteY737" fmla="*/ 976446 h 1479935"/>
              <a:gd name="connsiteX738" fmla="*/ 30648 w 1485658"/>
              <a:gd name="connsiteY738" fmla="*/ 946009 h 1479935"/>
              <a:gd name="connsiteX739" fmla="*/ 95 w 1485658"/>
              <a:gd name="connsiteY739" fmla="*/ 976446 h 1479935"/>
              <a:gd name="connsiteX740" fmla="*/ 178081 w 1485658"/>
              <a:gd name="connsiteY740" fmla="*/ 976446 h 1479935"/>
              <a:gd name="connsiteX741" fmla="*/ 208634 w 1485658"/>
              <a:gd name="connsiteY741" fmla="*/ 1006883 h 1479935"/>
              <a:gd name="connsiteX742" fmla="*/ 239186 w 1485658"/>
              <a:gd name="connsiteY742" fmla="*/ 976446 h 1479935"/>
              <a:gd name="connsiteX743" fmla="*/ 208634 w 1485658"/>
              <a:gd name="connsiteY743" fmla="*/ 946009 h 1479935"/>
              <a:gd name="connsiteX744" fmla="*/ 178081 w 1485658"/>
              <a:gd name="connsiteY744" fmla="*/ 976446 h 1479935"/>
              <a:gd name="connsiteX745" fmla="*/ 356162 w 1485658"/>
              <a:gd name="connsiteY745" fmla="*/ 976446 h 1479935"/>
              <a:gd name="connsiteX746" fmla="*/ 386715 w 1485658"/>
              <a:gd name="connsiteY746" fmla="*/ 1006883 h 1479935"/>
              <a:gd name="connsiteX747" fmla="*/ 417267 w 1485658"/>
              <a:gd name="connsiteY747" fmla="*/ 976446 h 1479935"/>
              <a:gd name="connsiteX748" fmla="*/ 386715 w 1485658"/>
              <a:gd name="connsiteY748" fmla="*/ 946009 h 1479935"/>
              <a:gd name="connsiteX749" fmla="*/ 356162 w 1485658"/>
              <a:gd name="connsiteY749" fmla="*/ 976446 h 1479935"/>
              <a:gd name="connsiteX750" fmla="*/ 415554 w 1485658"/>
              <a:gd name="connsiteY750" fmla="*/ 976446 h 1479935"/>
              <a:gd name="connsiteX751" fmla="*/ 446107 w 1485658"/>
              <a:gd name="connsiteY751" fmla="*/ 1006883 h 1479935"/>
              <a:gd name="connsiteX752" fmla="*/ 476659 w 1485658"/>
              <a:gd name="connsiteY752" fmla="*/ 976446 h 1479935"/>
              <a:gd name="connsiteX753" fmla="*/ 446107 w 1485658"/>
              <a:gd name="connsiteY753" fmla="*/ 946009 h 1479935"/>
              <a:gd name="connsiteX754" fmla="*/ 415554 w 1485658"/>
              <a:gd name="connsiteY754" fmla="*/ 976446 h 1479935"/>
              <a:gd name="connsiteX755" fmla="*/ 534243 w 1485658"/>
              <a:gd name="connsiteY755" fmla="*/ 976446 h 1479935"/>
              <a:gd name="connsiteX756" fmla="*/ 564796 w 1485658"/>
              <a:gd name="connsiteY756" fmla="*/ 1006883 h 1479935"/>
              <a:gd name="connsiteX757" fmla="*/ 595348 w 1485658"/>
              <a:gd name="connsiteY757" fmla="*/ 976446 h 1479935"/>
              <a:gd name="connsiteX758" fmla="*/ 564796 w 1485658"/>
              <a:gd name="connsiteY758" fmla="*/ 946009 h 1479935"/>
              <a:gd name="connsiteX759" fmla="*/ 534243 w 1485658"/>
              <a:gd name="connsiteY759" fmla="*/ 976446 h 1479935"/>
              <a:gd name="connsiteX760" fmla="*/ 593635 w 1485658"/>
              <a:gd name="connsiteY760" fmla="*/ 976446 h 1479935"/>
              <a:gd name="connsiteX761" fmla="*/ 624188 w 1485658"/>
              <a:gd name="connsiteY761" fmla="*/ 1006883 h 1479935"/>
              <a:gd name="connsiteX762" fmla="*/ 654740 w 1485658"/>
              <a:gd name="connsiteY762" fmla="*/ 976446 h 1479935"/>
              <a:gd name="connsiteX763" fmla="*/ 624188 w 1485658"/>
              <a:gd name="connsiteY763" fmla="*/ 946009 h 1479935"/>
              <a:gd name="connsiteX764" fmla="*/ 593635 w 1485658"/>
              <a:gd name="connsiteY764" fmla="*/ 976446 h 1479935"/>
              <a:gd name="connsiteX765" fmla="*/ 712324 w 1485658"/>
              <a:gd name="connsiteY765" fmla="*/ 976446 h 1479935"/>
              <a:gd name="connsiteX766" fmla="*/ 742877 w 1485658"/>
              <a:gd name="connsiteY766" fmla="*/ 1006883 h 1479935"/>
              <a:gd name="connsiteX767" fmla="*/ 773429 w 1485658"/>
              <a:gd name="connsiteY767" fmla="*/ 976446 h 1479935"/>
              <a:gd name="connsiteX768" fmla="*/ 742877 w 1485658"/>
              <a:gd name="connsiteY768" fmla="*/ 946009 h 1479935"/>
              <a:gd name="connsiteX769" fmla="*/ 712324 w 1485658"/>
              <a:gd name="connsiteY769" fmla="*/ 976446 h 1479935"/>
              <a:gd name="connsiteX770" fmla="*/ 831013 w 1485658"/>
              <a:gd name="connsiteY770" fmla="*/ 976446 h 1479935"/>
              <a:gd name="connsiteX771" fmla="*/ 861566 w 1485658"/>
              <a:gd name="connsiteY771" fmla="*/ 1006883 h 1479935"/>
              <a:gd name="connsiteX772" fmla="*/ 892118 w 1485658"/>
              <a:gd name="connsiteY772" fmla="*/ 976446 h 1479935"/>
              <a:gd name="connsiteX773" fmla="*/ 861566 w 1485658"/>
              <a:gd name="connsiteY773" fmla="*/ 946009 h 1479935"/>
              <a:gd name="connsiteX774" fmla="*/ 831013 w 1485658"/>
              <a:gd name="connsiteY774" fmla="*/ 976446 h 1479935"/>
              <a:gd name="connsiteX775" fmla="*/ 890310 w 1485658"/>
              <a:gd name="connsiteY775" fmla="*/ 976446 h 1479935"/>
              <a:gd name="connsiteX776" fmla="*/ 920863 w 1485658"/>
              <a:gd name="connsiteY776" fmla="*/ 1006883 h 1479935"/>
              <a:gd name="connsiteX777" fmla="*/ 951415 w 1485658"/>
              <a:gd name="connsiteY777" fmla="*/ 976446 h 1479935"/>
              <a:gd name="connsiteX778" fmla="*/ 920863 w 1485658"/>
              <a:gd name="connsiteY778" fmla="*/ 946009 h 1479935"/>
              <a:gd name="connsiteX779" fmla="*/ 890310 w 1485658"/>
              <a:gd name="connsiteY779" fmla="*/ 976446 h 1479935"/>
              <a:gd name="connsiteX780" fmla="*/ 949702 w 1485658"/>
              <a:gd name="connsiteY780" fmla="*/ 976446 h 1479935"/>
              <a:gd name="connsiteX781" fmla="*/ 980255 w 1485658"/>
              <a:gd name="connsiteY781" fmla="*/ 1006883 h 1479935"/>
              <a:gd name="connsiteX782" fmla="*/ 1010807 w 1485658"/>
              <a:gd name="connsiteY782" fmla="*/ 976446 h 1479935"/>
              <a:gd name="connsiteX783" fmla="*/ 980255 w 1485658"/>
              <a:gd name="connsiteY783" fmla="*/ 946009 h 1479935"/>
              <a:gd name="connsiteX784" fmla="*/ 949702 w 1485658"/>
              <a:gd name="connsiteY784" fmla="*/ 976446 h 1479935"/>
              <a:gd name="connsiteX785" fmla="*/ 1009094 w 1485658"/>
              <a:gd name="connsiteY785" fmla="*/ 976446 h 1479935"/>
              <a:gd name="connsiteX786" fmla="*/ 1039647 w 1485658"/>
              <a:gd name="connsiteY786" fmla="*/ 1006883 h 1479935"/>
              <a:gd name="connsiteX787" fmla="*/ 1070199 w 1485658"/>
              <a:gd name="connsiteY787" fmla="*/ 976446 h 1479935"/>
              <a:gd name="connsiteX788" fmla="*/ 1039647 w 1485658"/>
              <a:gd name="connsiteY788" fmla="*/ 946009 h 1479935"/>
              <a:gd name="connsiteX789" fmla="*/ 1009094 w 1485658"/>
              <a:gd name="connsiteY789" fmla="*/ 976446 h 1479935"/>
              <a:gd name="connsiteX790" fmla="*/ 1068391 w 1485658"/>
              <a:gd name="connsiteY790" fmla="*/ 976446 h 1479935"/>
              <a:gd name="connsiteX791" fmla="*/ 1098944 w 1485658"/>
              <a:gd name="connsiteY791" fmla="*/ 1006883 h 1479935"/>
              <a:gd name="connsiteX792" fmla="*/ 1129496 w 1485658"/>
              <a:gd name="connsiteY792" fmla="*/ 976446 h 1479935"/>
              <a:gd name="connsiteX793" fmla="*/ 1098944 w 1485658"/>
              <a:gd name="connsiteY793" fmla="*/ 946009 h 1479935"/>
              <a:gd name="connsiteX794" fmla="*/ 1068391 w 1485658"/>
              <a:gd name="connsiteY794" fmla="*/ 976446 h 1479935"/>
              <a:gd name="connsiteX795" fmla="*/ 1127783 w 1485658"/>
              <a:gd name="connsiteY795" fmla="*/ 976446 h 1479935"/>
              <a:gd name="connsiteX796" fmla="*/ 1158336 w 1485658"/>
              <a:gd name="connsiteY796" fmla="*/ 1006883 h 1479935"/>
              <a:gd name="connsiteX797" fmla="*/ 1188888 w 1485658"/>
              <a:gd name="connsiteY797" fmla="*/ 976446 h 1479935"/>
              <a:gd name="connsiteX798" fmla="*/ 1158336 w 1485658"/>
              <a:gd name="connsiteY798" fmla="*/ 946009 h 1479935"/>
              <a:gd name="connsiteX799" fmla="*/ 1127783 w 1485658"/>
              <a:gd name="connsiteY799" fmla="*/ 976446 h 1479935"/>
              <a:gd name="connsiteX800" fmla="*/ 1187080 w 1485658"/>
              <a:gd name="connsiteY800" fmla="*/ 976446 h 1479935"/>
              <a:gd name="connsiteX801" fmla="*/ 1217633 w 1485658"/>
              <a:gd name="connsiteY801" fmla="*/ 1006883 h 1479935"/>
              <a:gd name="connsiteX802" fmla="*/ 1248185 w 1485658"/>
              <a:gd name="connsiteY802" fmla="*/ 976446 h 1479935"/>
              <a:gd name="connsiteX803" fmla="*/ 1217633 w 1485658"/>
              <a:gd name="connsiteY803" fmla="*/ 946009 h 1479935"/>
              <a:gd name="connsiteX804" fmla="*/ 1187080 w 1485658"/>
              <a:gd name="connsiteY804" fmla="*/ 976446 h 1479935"/>
              <a:gd name="connsiteX805" fmla="*/ 1305769 w 1485658"/>
              <a:gd name="connsiteY805" fmla="*/ 976446 h 1479935"/>
              <a:gd name="connsiteX806" fmla="*/ 1336322 w 1485658"/>
              <a:gd name="connsiteY806" fmla="*/ 1006883 h 1479935"/>
              <a:gd name="connsiteX807" fmla="*/ 1366874 w 1485658"/>
              <a:gd name="connsiteY807" fmla="*/ 976446 h 1479935"/>
              <a:gd name="connsiteX808" fmla="*/ 1336322 w 1485658"/>
              <a:gd name="connsiteY808" fmla="*/ 946009 h 1479935"/>
              <a:gd name="connsiteX809" fmla="*/ 1305769 w 1485658"/>
              <a:gd name="connsiteY809" fmla="*/ 976446 h 1479935"/>
              <a:gd name="connsiteX810" fmla="*/ 474851 w 1485658"/>
              <a:gd name="connsiteY810" fmla="*/ 1035613 h 1479935"/>
              <a:gd name="connsiteX811" fmla="*/ 505404 w 1485658"/>
              <a:gd name="connsiteY811" fmla="*/ 1066050 h 1479935"/>
              <a:gd name="connsiteX812" fmla="*/ 535956 w 1485658"/>
              <a:gd name="connsiteY812" fmla="*/ 1035613 h 1479935"/>
              <a:gd name="connsiteX813" fmla="*/ 505404 w 1485658"/>
              <a:gd name="connsiteY813" fmla="*/ 1005176 h 1479935"/>
              <a:gd name="connsiteX814" fmla="*/ 474851 w 1485658"/>
              <a:gd name="connsiteY814" fmla="*/ 1035613 h 1479935"/>
              <a:gd name="connsiteX815" fmla="*/ 534243 w 1485658"/>
              <a:gd name="connsiteY815" fmla="*/ 1035613 h 1479935"/>
              <a:gd name="connsiteX816" fmla="*/ 564796 w 1485658"/>
              <a:gd name="connsiteY816" fmla="*/ 1066050 h 1479935"/>
              <a:gd name="connsiteX817" fmla="*/ 595348 w 1485658"/>
              <a:gd name="connsiteY817" fmla="*/ 1035613 h 1479935"/>
              <a:gd name="connsiteX818" fmla="*/ 564796 w 1485658"/>
              <a:gd name="connsiteY818" fmla="*/ 1005176 h 1479935"/>
              <a:gd name="connsiteX819" fmla="*/ 534243 w 1485658"/>
              <a:gd name="connsiteY819" fmla="*/ 1035613 h 1479935"/>
              <a:gd name="connsiteX820" fmla="*/ 593635 w 1485658"/>
              <a:gd name="connsiteY820" fmla="*/ 1035613 h 1479935"/>
              <a:gd name="connsiteX821" fmla="*/ 624188 w 1485658"/>
              <a:gd name="connsiteY821" fmla="*/ 1066050 h 1479935"/>
              <a:gd name="connsiteX822" fmla="*/ 654740 w 1485658"/>
              <a:gd name="connsiteY822" fmla="*/ 1035613 h 1479935"/>
              <a:gd name="connsiteX823" fmla="*/ 624188 w 1485658"/>
              <a:gd name="connsiteY823" fmla="*/ 1005176 h 1479935"/>
              <a:gd name="connsiteX824" fmla="*/ 593635 w 1485658"/>
              <a:gd name="connsiteY824" fmla="*/ 1035613 h 1479935"/>
              <a:gd name="connsiteX825" fmla="*/ 890310 w 1485658"/>
              <a:gd name="connsiteY825" fmla="*/ 1035613 h 1479935"/>
              <a:gd name="connsiteX826" fmla="*/ 920863 w 1485658"/>
              <a:gd name="connsiteY826" fmla="*/ 1066050 h 1479935"/>
              <a:gd name="connsiteX827" fmla="*/ 951415 w 1485658"/>
              <a:gd name="connsiteY827" fmla="*/ 1035613 h 1479935"/>
              <a:gd name="connsiteX828" fmla="*/ 920863 w 1485658"/>
              <a:gd name="connsiteY828" fmla="*/ 1005176 h 1479935"/>
              <a:gd name="connsiteX829" fmla="*/ 890310 w 1485658"/>
              <a:gd name="connsiteY829" fmla="*/ 1035613 h 1479935"/>
              <a:gd name="connsiteX830" fmla="*/ 949702 w 1485658"/>
              <a:gd name="connsiteY830" fmla="*/ 1035613 h 1479935"/>
              <a:gd name="connsiteX831" fmla="*/ 980255 w 1485658"/>
              <a:gd name="connsiteY831" fmla="*/ 1066050 h 1479935"/>
              <a:gd name="connsiteX832" fmla="*/ 1010807 w 1485658"/>
              <a:gd name="connsiteY832" fmla="*/ 1035613 h 1479935"/>
              <a:gd name="connsiteX833" fmla="*/ 980255 w 1485658"/>
              <a:gd name="connsiteY833" fmla="*/ 1005176 h 1479935"/>
              <a:gd name="connsiteX834" fmla="*/ 949702 w 1485658"/>
              <a:gd name="connsiteY834" fmla="*/ 1035613 h 1479935"/>
              <a:gd name="connsiteX835" fmla="*/ 1187080 w 1485658"/>
              <a:gd name="connsiteY835" fmla="*/ 1035613 h 1479935"/>
              <a:gd name="connsiteX836" fmla="*/ 1217633 w 1485658"/>
              <a:gd name="connsiteY836" fmla="*/ 1066050 h 1479935"/>
              <a:gd name="connsiteX837" fmla="*/ 1248185 w 1485658"/>
              <a:gd name="connsiteY837" fmla="*/ 1035613 h 1479935"/>
              <a:gd name="connsiteX838" fmla="*/ 1217633 w 1485658"/>
              <a:gd name="connsiteY838" fmla="*/ 1005176 h 1479935"/>
              <a:gd name="connsiteX839" fmla="*/ 1187080 w 1485658"/>
              <a:gd name="connsiteY839" fmla="*/ 1035613 h 1479935"/>
              <a:gd name="connsiteX840" fmla="*/ 1246472 w 1485658"/>
              <a:gd name="connsiteY840" fmla="*/ 1035613 h 1479935"/>
              <a:gd name="connsiteX841" fmla="*/ 1277025 w 1485658"/>
              <a:gd name="connsiteY841" fmla="*/ 1066050 h 1479935"/>
              <a:gd name="connsiteX842" fmla="*/ 1307577 w 1485658"/>
              <a:gd name="connsiteY842" fmla="*/ 1035613 h 1479935"/>
              <a:gd name="connsiteX843" fmla="*/ 1277025 w 1485658"/>
              <a:gd name="connsiteY843" fmla="*/ 1005176 h 1479935"/>
              <a:gd name="connsiteX844" fmla="*/ 1246472 w 1485658"/>
              <a:gd name="connsiteY844" fmla="*/ 1035613 h 1479935"/>
              <a:gd name="connsiteX845" fmla="*/ 652932 w 1485658"/>
              <a:gd name="connsiteY845" fmla="*/ 1094685 h 1479935"/>
              <a:gd name="connsiteX846" fmla="*/ 683485 w 1485658"/>
              <a:gd name="connsiteY846" fmla="*/ 1125122 h 1479935"/>
              <a:gd name="connsiteX847" fmla="*/ 714037 w 1485658"/>
              <a:gd name="connsiteY847" fmla="*/ 1094685 h 1479935"/>
              <a:gd name="connsiteX848" fmla="*/ 683485 w 1485658"/>
              <a:gd name="connsiteY848" fmla="*/ 1064249 h 1479935"/>
              <a:gd name="connsiteX849" fmla="*/ 652932 w 1485658"/>
              <a:gd name="connsiteY849" fmla="*/ 1094685 h 1479935"/>
              <a:gd name="connsiteX850" fmla="*/ 712324 w 1485658"/>
              <a:gd name="connsiteY850" fmla="*/ 1094685 h 1479935"/>
              <a:gd name="connsiteX851" fmla="*/ 742877 w 1485658"/>
              <a:gd name="connsiteY851" fmla="*/ 1125122 h 1479935"/>
              <a:gd name="connsiteX852" fmla="*/ 773429 w 1485658"/>
              <a:gd name="connsiteY852" fmla="*/ 1094685 h 1479935"/>
              <a:gd name="connsiteX853" fmla="*/ 742877 w 1485658"/>
              <a:gd name="connsiteY853" fmla="*/ 1064249 h 1479935"/>
              <a:gd name="connsiteX854" fmla="*/ 712324 w 1485658"/>
              <a:gd name="connsiteY854" fmla="*/ 1094685 h 1479935"/>
              <a:gd name="connsiteX855" fmla="*/ 949702 w 1485658"/>
              <a:gd name="connsiteY855" fmla="*/ 1094685 h 1479935"/>
              <a:gd name="connsiteX856" fmla="*/ 980255 w 1485658"/>
              <a:gd name="connsiteY856" fmla="*/ 1125122 h 1479935"/>
              <a:gd name="connsiteX857" fmla="*/ 1010807 w 1485658"/>
              <a:gd name="connsiteY857" fmla="*/ 1094685 h 1479935"/>
              <a:gd name="connsiteX858" fmla="*/ 980255 w 1485658"/>
              <a:gd name="connsiteY858" fmla="*/ 1064249 h 1479935"/>
              <a:gd name="connsiteX859" fmla="*/ 949702 w 1485658"/>
              <a:gd name="connsiteY859" fmla="*/ 1094685 h 1479935"/>
              <a:gd name="connsiteX860" fmla="*/ 1068391 w 1485658"/>
              <a:gd name="connsiteY860" fmla="*/ 1094685 h 1479935"/>
              <a:gd name="connsiteX861" fmla="*/ 1098944 w 1485658"/>
              <a:gd name="connsiteY861" fmla="*/ 1125122 h 1479935"/>
              <a:gd name="connsiteX862" fmla="*/ 1129496 w 1485658"/>
              <a:gd name="connsiteY862" fmla="*/ 1094685 h 1479935"/>
              <a:gd name="connsiteX863" fmla="*/ 1098944 w 1485658"/>
              <a:gd name="connsiteY863" fmla="*/ 1064249 h 1479935"/>
              <a:gd name="connsiteX864" fmla="*/ 1068391 w 1485658"/>
              <a:gd name="connsiteY864" fmla="*/ 1094685 h 1479935"/>
              <a:gd name="connsiteX865" fmla="*/ 1187080 w 1485658"/>
              <a:gd name="connsiteY865" fmla="*/ 1094685 h 1479935"/>
              <a:gd name="connsiteX866" fmla="*/ 1217633 w 1485658"/>
              <a:gd name="connsiteY866" fmla="*/ 1125122 h 1479935"/>
              <a:gd name="connsiteX867" fmla="*/ 1248185 w 1485658"/>
              <a:gd name="connsiteY867" fmla="*/ 1094685 h 1479935"/>
              <a:gd name="connsiteX868" fmla="*/ 1217633 w 1485658"/>
              <a:gd name="connsiteY868" fmla="*/ 1064249 h 1479935"/>
              <a:gd name="connsiteX869" fmla="*/ 1187080 w 1485658"/>
              <a:gd name="connsiteY869" fmla="*/ 1094685 h 1479935"/>
              <a:gd name="connsiteX870" fmla="*/ 1305769 w 1485658"/>
              <a:gd name="connsiteY870" fmla="*/ 1094685 h 1479935"/>
              <a:gd name="connsiteX871" fmla="*/ 1336322 w 1485658"/>
              <a:gd name="connsiteY871" fmla="*/ 1125122 h 1479935"/>
              <a:gd name="connsiteX872" fmla="*/ 1366874 w 1485658"/>
              <a:gd name="connsiteY872" fmla="*/ 1094685 h 1479935"/>
              <a:gd name="connsiteX873" fmla="*/ 1336322 w 1485658"/>
              <a:gd name="connsiteY873" fmla="*/ 1064249 h 1479935"/>
              <a:gd name="connsiteX874" fmla="*/ 1305769 w 1485658"/>
              <a:gd name="connsiteY874" fmla="*/ 1094685 h 1479935"/>
              <a:gd name="connsiteX875" fmla="*/ 1365161 w 1485658"/>
              <a:gd name="connsiteY875" fmla="*/ 1094685 h 1479935"/>
              <a:gd name="connsiteX876" fmla="*/ 1395714 w 1485658"/>
              <a:gd name="connsiteY876" fmla="*/ 1125122 h 1479935"/>
              <a:gd name="connsiteX877" fmla="*/ 1426266 w 1485658"/>
              <a:gd name="connsiteY877" fmla="*/ 1094685 h 1479935"/>
              <a:gd name="connsiteX878" fmla="*/ 1395714 w 1485658"/>
              <a:gd name="connsiteY878" fmla="*/ 1064249 h 1479935"/>
              <a:gd name="connsiteX879" fmla="*/ 1365161 w 1485658"/>
              <a:gd name="connsiteY879" fmla="*/ 1094685 h 1479935"/>
              <a:gd name="connsiteX880" fmla="*/ 1424553 w 1485658"/>
              <a:gd name="connsiteY880" fmla="*/ 1094685 h 1479935"/>
              <a:gd name="connsiteX881" fmla="*/ 1455106 w 1485658"/>
              <a:gd name="connsiteY881" fmla="*/ 1125122 h 1479935"/>
              <a:gd name="connsiteX882" fmla="*/ 1485658 w 1485658"/>
              <a:gd name="connsiteY882" fmla="*/ 1094685 h 1479935"/>
              <a:gd name="connsiteX883" fmla="*/ 1455106 w 1485658"/>
              <a:gd name="connsiteY883" fmla="*/ 1064249 h 1479935"/>
              <a:gd name="connsiteX884" fmla="*/ 1424553 w 1485658"/>
              <a:gd name="connsiteY884" fmla="*/ 1094685 h 1479935"/>
              <a:gd name="connsiteX885" fmla="*/ 474851 w 1485658"/>
              <a:gd name="connsiteY885" fmla="*/ 1153853 h 1479935"/>
              <a:gd name="connsiteX886" fmla="*/ 505404 w 1485658"/>
              <a:gd name="connsiteY886" fmla="*/ 1184289 h 1479935"/>
              <a:gd name="connsiteX887" fmla="*/ 535956 w 1485658"/>
              <a:gd name="connsiteY887" fmla="*/ 1153853 h 1479935"/>
              <a:gd name="connsiteX888" fmla="*/ 505404 w 1485658"/>
              <a:gd name="connsiteY888" fmla="*/ 1123416 h 1479935"/>
              <a:gd name="connsiteX889" fmla="*/ 474851 w 1485658"/>
              <a:gd name="connsiteY889" fmla="*/ 1153853 h 1479935"/>
              <a:gd name="connsiteX890" fmla="*/ 593635 w 1485658"/>
              <a:gd name="connsiteY890" fmla="*/ 1153853 h 1479935"/>
              <a:gd name="connsiteX891" fmla="*/ 624188 w 1485658"/>
              <a:gd name="connsiteY891" fmla="*/ 1184289 h 1479935"/>
              <a:gd name="connsiteX892" fmla="*/ 654740 w 1485658"/>
              <a:gd name="connsiteY892" fmla="*/ 1153853 h 1479935"/>
              <a:gd name="connsiteX893" fmla="*/ 624188 w 1485658"/>
              <a:gd name="connsiteY893" fmla="*/ 1123416 h 1479935"/>
              <a:gd name="connsiteX894" fmla="*/ 593635 w 1485658"/>
              <a:gd name="connsiteY894" fmla="*/ 1153853 h 1479935"/>
              <a:gd name="connsiteX895" fmla="*/ 652932 w 1485658"/>
              <a:gd name="connsiteY895" fmla="*/ 1153853 h 1479935"/>
              <a:gd name="connsiteX896" fmla="*/ 683485 w 1485658"/>
              <a:gd name="connsiteY896" fmla="*/ 1184289 h 1479935"/>
              <a:gd name="connsiteX897" fmla="*/ 714037 w 1485658"/>
              <a:gd name="connsiteY897" fmla="*/ 1153853 h 1479935"/>
              <a:gd name="connsiteX898" fmla="*/ 683485 w 1485658"/>
              <a:gd name="connsiteY898" fmla="*/ 1123416 h 1479935"/>
              <a:gd name="connsiteX899" fmla="*/ 652932 w 1485658"/>
              <a:gd name="connsiteY899" fmla="*/ 1153853 h 1479935"/>
              <a:gd name="connsiteX900" fmla="*/ 831013 w 1485658"/>
              <a:gd name="connsiteY900" fmla="*/ 1153853 h 1479935"/>
              <a:gd name="connsiteX901" fmla="*/ 861566 w 1485658"/>
              <a:gd name="connsiteY901" fmla="*/ 1184289 h 1479935"/>
              <a:gd name="connsiteX902" fmla="*/ 892118 w 1485658"/>
              <a:gd name="connsiteY902" fmla="*/ 1153853 h 1479935"/>
              <a:gd name="connsiteX903" fmla="*/ 861566 w 1485658"/>
              <a:gd name="connsiteY903" fmla="*/ 1123416 h 1479935"/>
              <a:gd name="connsiteX904" fmla="*/ 831013 w 1485658"/>
              <a:gd name="connsiteY904" fmla="*/ 1153853 h 1479935"/>
              <a:gd name="connsiteX905" fmla="*/ 949702 w 1485658"/>
              <a:gd name="connsiteY905" fmla="*/ 1153853 h 1479935"/>
              <a:gd name="connsiteX906" fmla="*/ 980255 w 1485658"/>
              <a:gd name="connsiteY906" fmla="*/ 1184289 h 1479935"/>
              <a:gd name="connsiteX907" fmla="*/ 1010807 w 1485658"/>
              <a:gd name="connsiteY907" fmla="*/ 1153853 h 1479935"/>
              <a:gd name="connsiteX908" fmla="*/ 980255 w 1485658"/>
              <a:gd name="connsiteY908" fmla="*/ 1123416 h 1479935"/>
              <a:gd name="connsiteX909" fmla="*/ 949702 w 1485658"/>
              <a:gd name="connsiteY909" fmla="*/ 1153853 h 1479935"/>
              <a:gd name="connsiteX910" fmla="*/ 1187080 w 1485658"/>
              <a:gd name="connsiteY910" fmla="*/ 1153853 h 1479935"/>
              <a:gd name="connsiteX911" fmla="*/ 1217633 w 1485658"/>
              <a:gd name="connsiteY911" fmla="*/ 1184289 h 1479935"/>
              <a:gd name="connsiteX912" fmla="*/ 1248185 w 1485658"/>
              <a:gd name="connsiteY912" fmla="*/ 1153853 h 1479935"/>
              <a:gd name="connsiteX913" fmla="*/ 1217633 w 1485658"/>
              <a:gd name="connsiteY913" fmla="*/ 1123416 h 1479935"/>
              <a:gd name="connsiteX914" fmla="*/ 1187080 w 1485658"/>
              <a:gd name="connsiteY914" fmla="*/ 1153853 h 1479935"/>
              <a:gd name="connsiteX915" fmla="*/ 1246472 w 1485658"/>
              <a:gd name="connsiteY915" fmla="*/ 1153853 h 1479935"/>
              <a:gd name="connsiteX916" fmla="*/ 1277025 w 1485658"/>
              <a:gd name="connsiteY916" fmla="*/ 1184289 h 1479935"/>
              <a:gd name="connsiteX917" fmla="*/ 1307577 w 1485658"/>
              <a:gd name="connsiteY917" fmla="*/ 1153853 h 1479935"/>
              <a:gd name="connsiteX918" fmla="*/ 1277025 w 1485658"/>
              <a:gd name="connsiteY918" fmla="*/ 1123416 h 1479935"/>
              <a:gd name="connsiteX919" fmla="*/ 1246472 w 1485658"/>
              <a:gd name="connsiteY919" fmla="*/ 1153853 h 1479935"/>
              <a:gd name="connsiteX920" fmla="*/ 1424553 w 1485658"/>
              <a:gd name="connsiteY920" fmla="*/ 1153853 h 1479935"/>
              <a:gd name="connsiteX921" fmla="*/ 1455106 w 1485658"/>
              <a:gd name="connsiteY921" fmla="*/ 1184289 h 1479935"/>
              <a:gd name="connsiteX922" fmla="*/ 1485658 w 1485658"/>
              <a:gd name="connsiteY922" fmla="*/ 1153853 h 1479935"/>
              <a:gd name="connsiteX923" fmla="*/ 1455106 w 1485658"/>
              <a:gd name="connsiteY923" fmla="*/ 1123416 h 1479935"/>
              <a:gd name="connsiteX924" fmla="*/ 1424553 w 1485658"/>
              <a:gd name="connsiteY924" fmla="*/ 1153853 h 1479935"/>
              <a:gd name="connsiteX925" fmla="*/ 474851 w 1485658"/>
              <a:gd name="connsiteY925" fmla="*/ 1212925 h 1479935"/>
              <a:gd name="connsiteX926" fmla="*/ 505404 w 1485658"/>
              <a:gd name="connsiteY926" fmla="*/ 1243362 h 1479935"/>
              <a:gd name="connsiteX927" fmla="*/ 535956 w 1485658"/>
              <a:gd name="connsiteY927" fmla="*/ 1212925 h 1479935"/>
              <a:gd name="connsiteX928" fmla="*/ 505404 w 1485658"/>
              <a:gd name="connsiteY928" fmla="*/ 1182488 h 1479935"/>
              <a:gd name="connsiteX929" fmla="*/ 474851 w 1485658"/>
              <a:gd name="connsiteY929" fmla="*/ 1212925 h 1479935"/>
              <a:gd name="connsiteX930" fmla="*/ 534243 w 1485658"/>
              <a:gd name="connsiteY930" fmla="*/ 1212925 h 1479935"/>
              <a:gd name="connsiteX931" fmla="*/ 564796 w 1485658"/>
              <a:gd name="connsiteY931" fmla="*/ 1243362 h 1479935"/>
              <a:gd name="connsiteX932" fmla="*/ 595348 w 1485658"/>
              <a:gd name="connsiteY932" fmla="*/ 1212925 h 1479935"/>
              <a:gd name="connsiteX933" fmla="*/ 564796 w 1485658"/>
              <a:gd name="connsiteY933" fmla="*/ 1182488 h 1479935"/>
              <a:gd name="connsiteX934" fmla="*/ 534243 w 1485658"/>
              <a:gd name="connsiteY934" fmla="*/ 1212925 h 1479935"/>
              <a:gd name="connsiteX935" fmla="*/ 652932 w 1485658"/>
              <a:gd name="connsiteY935" fmla="*/ 1212925 h 1479935"/>
              <a:gd name="connsiteX936" fmla="*/ 683485 w 1485658"/>
              <a:gd name="connsiteY936" fmla="*/ 1243362 h 1479935"/>
              <a:gd name="connsiteX937" fmla="*/ 714037 w 1485658"/>
              <a:gd name="connsiteY937" fmla="*/ 1212925 h 1479935"/>
              <a:gd name="connsiteX938" fmla="*/ 683485 w 1485658"/>
              <a:gd name="connsiteY938" fmla="*/ 1182488 h 1479935"/>
              <a:gd name="connsiteX939" fmla="*/ 652932 w 1485658"/>
              <a:gd name="connsiteY939" fmla="*/ 1212925 h 1479935"/>
              <a:gd name="connsiteX940" fmla="*/ 890310 w 1485658"/>
              <a:gd name="connsiteY940" fmla="*/ 1212925 h 1479935"/>
              <a:gd name="connsiteX941" fmla="*/ 920863 w 1485658"/>
              <a:gd name="connsiteY941" fmla="*/ 1243362 h 1479935"/>
              <a:gd name="connsiteX942" fmla="*/ 951415 w 1485658"/>
              <a:gd name="connsiteY942" fmla="*/ 1212925 h 1479935"/>
              <a:gd name="connsiteX943" fmla="*/ 920863 w 1485658"/>
              <a:gd name="connsiteY943" fmla="*/ 1182488 h 1479935"/>
              <a:gd name="connsiteX944" fmla="*/ 890310 w 1485658"/>
              <a:gd name="connsiteY944" fmla="*/ 1212925 h 1479935"/>
              <a:gd name="connsiteX945" fmla="*/ 949702 w 1485658"/>
              <a:gd name="connsiteY945" fmla="*/ 1212925 h 1479935"/>
              <a:gd name="connsiteX946" fmla="*/ 980255 w 1485658"/>
              <a:gd name="connsiteY946" fmla="*/ 1243362 h 1479935"/>
              <a:gd name="connsiteX947" fmla="*/ 1010807 w 1485658"/>
              <a:gd name="connsiteY947" fmla="*/ 1212925 h 1479935"/>
              <a:gd name="connsiteX948" fmla="*/ 980255 w 1485658"/>
              <a:gd name="connsiteY948" fmla="*/ 1182488 h 1479935"/>
              <a:gd name="connsiteX949" fmla="*/ 949702 w 1485658"/>
              <a:gd name="connsiteY949" fmla="*/ 1212925 h 1479935"/>
              <a:gd name="connsiteX950" fmla="*/ 1009094 w 1485658"/>
              <a:gd name="connsiteY950" fmla="*/ 1212925 h 1479935"/>
              <a:gd name="connsiteX951" fmla="*/ 1039647 w 1485658"/>
              <a:gd name="connsiteY951" fmla="*/ 1243362 h 1479935"/>
              <a:gd name="connsiteX952" fmla="*/ 1070199 w 1485658"/>
              <a:gd name="connsiteY952" fmla="*/ 1212925 h 1479935"/>
              <a:gd name="connsiteX953" fmla="*/ 1039647 w 1485658"/>
              <a:gd name="connsiteY953" fmla="*/ 1182488 h 1479935"/>
              <a:gd name="connsiteX954" fmla="*/ 1009094 w 1485658"/>
              <a:gd name="connsiteY954" fmla="*/ 1212925 h 1479935"/>
              <a:gd name="connsiteX955" fmla="*/ 1068391 w 1485658"/>
              <a:gd name="connsiteY955" fmla="*/ 1212925 h 1479935"/>
              <a:gd name="connsiteX956" fmla="*/ 1098944 w 1485658"/>
              <a:gd name="connsiteY956" fmla="*/ 1243362 h 1479935"/>
              <a:gd name="connsiteX957" fmla="*/ 1129496 w 1485658"/>
              <a:gd name="connsiteY957" fmla="*/ 1212925 h 1479935"/>
              <a:gd name="connsiteX958" fmla="*/ 1098944 w 1485658"/>
              <a:gd name="connsiteY958" fmla="*/ 1182488 h 1479935"/>
              <a:gd name="connsiteX959" fmla="*/ 1068391 w 1485658"/>
              <a:gd name="connsiteY959" fmla="*/ 1212925 h 1479935"/>
              <a:gd name="connsiteX960" fmla="*/ 1127783 w 1485658"/>
              <a:gd name="connsiteY960" fmla="*/ 1212925 h 1479935"/>
              <a:gd name="connsiteX961" fmla="*/ 1158336 w 1485658"/>
              <a:gd name="connsiteY961" fmla="*/ 1243362 h 1479935"/>
              <a:gd name="connsiteX962" fmla="*/ 1188888 w 1485658"/>
              <a:gd name="connsiteY962" fmla="*/ 1212925 h 1479935"/>
              <a:gd name="connsiteX963" fmla="*/ 1158336 w 1485658"/>
              <a:gd name="connsiteY963" fmla="*/ 1182488 h 1479935"/>
              <a:gd name="connsiteX964" fmla="*/ 1127783 w 1485658"/>
              <a:gd name="connsiteY964" fmla="*/ 1212925 h 1479935"/>
              <a:gd name="connsiteX965" fmla="*/ 1187080 w 1485658"/>
              <a:gd name="connsiteY965" fmla="*/ 1212925 h 1479935"/>
              <a:gd name="connsiteX966" fmla="*/ 1217633 w 1485658"/>
              <a:gd name="connsiteY966" fmla="*/ 1243362 h 1479935"/>
              <a:gd name="connsiteX967" fmla="*/ 1248185 w 1485658"/>
              <a:gd name="connsiteY967" fmla="*/ 1212925 h 1479935"/>
              <a:gd name="connsiteX968" fmla="*/ 1217633 w 1485658"/>
              <a:gd name="connsiteY968" fmla="*/ 1182488 h 1479935"/>
              <a:gd name="connsiteX969" fmla="*/ 1187080 w 1485658"/>
              <a:gd name="connsiteY969" fmla="*/ 1212925 h 1479935"/>
              <a:gd name="connsiteX970" fmla="*/ 1305769 w 1485658"/>
              <a:gd name="connsiteY970" fmla="*/ 1212925 h 1479935"/>
              <a:gd name="connsiteX971" fmla="*/ 1336322 w 1485658"/>
              <a:gd name="connsiteY971" fmla="*/ 1243362 h 1479935"/>
              <a:gd name="connsiteX972" fmla="*/ 1366874 w 1485658"/>
              <a:gd name="connsiteY972" fmla="*/ 1212925 h 1479935"/>
              <a:gd name="connsiteX973" fmla="*/ 1336322 w 1485658"/>
              <a:gd name="connsiteY973" fmla="*/ 1182488 h 1479935"/>
              <a:gd name="connsiteX974" fmla="*/ 1305769 w 1485658"/>
              <a:gd name="connsiteY974" fmla="*/ 1212925 h 1479935"/>
              <a:gd name="connsiteX975" fmla="*/ 1365161 w 1485658"/>
              <a:gd name="connsiteY975" fmla="*/ 1212925 h 1479935"/>
              <a:gd name="connsiteX976" fmla="*/ 1395714 w 1485658"/>
              <a:gd name="connsiteY976" fmla="*/ 1243362 h 1479935"/>
              <a:gd name="connsiteX977" fmla="*/ 1426266 w 1485658"/>
              <a:gd name="connsiteY977" fmla="*/ 1212925 h 1479935"/>
              <a:gd name="connsiteX978" fmla="*/ 1395714 w 1485658"/>
              <a:gd name="connsiteY978" fmla="*/ 1182488 h 1479935"/>
              <a:gd name="connsiteX979" fmla="*/ 1365161 w 1485658"/>
              <a:gd name="connsiteY979" fmla="*/ 1212925 h 1479935"/>
              <a:gd name="connsiteX980" fmla="*/ 1424553 w 1485658"/>
              <a:gd name="connsiteY980" fmla="*/ 1212925 h 1479935"/>
              <a:gd name="connsiteX981" fmla="*/ 1455106 w 1485658"/>
              <a:gd name="connsiteY981" fmla="*/ 1243362 h 1479935"/>
              <a:gd name="connsiteX982" fmla="*/ 1485658 w 1485658"/>
              <a:gd name="connsiteY982" fmla="*/ 1212925 h 1479935"/>
              <a:gd name="connsiteX983" fmla="*/ 1455106 w 1485658"/>
              <a:gd name="connsiteY983" fmla="*/ 1182488 h 1479935"/>
              <a:gd name="connsiteX984" fmla="*/ 1424553 w 1485658"/>
              <a:gd name="connsiteY984" fmla="*/ 1212925 h 1479935"/>
              <a:gd name="connsiteX985" fmla="*/ 474851 w 1485658"/>
              <a:gd name="connsiteY985" fmla="*/ 1272092 h 1479935"/>
              <a:gd name="connsiteX986" fmla="*/ 505404 w 1485658"/>
              <a:gd name="connsiteY986" fmla="*/ 1302529 h 1479935"/>
              <a:gd name="connsiteX987" fmla="*/ 535956 w 1485658"/>
              <a:gd name="connsiteY987" fmla="*/ 1272092 h 1479935"/>
              <a:gd name="connsiteX988" fmla="*/ 505404 w 1485658"/>
              <a:gd name="connsiteY988" fmla="*/ 1241655 h 1479935"/>
              <a:gd name="connsiteX989" fmla="*/ 474851 w 1485658"/>
              <a:gd name="connsiteY989" fmla="*/ 1272092 h 1479935"/>
              <a:gd name="connsiteX990" fmla="*/ 534243 w 1485658"/>
              <a:gd name="connsiteY990" fmla="*/ 1272092 h 1479935"/>
              <a:gd name="connsiteX991" fmla="*/ 564796 w 1485658"/>
              <a:gd name="connsiteY991" fmla="*/ 1302529 h 1479935"/>
              <a:gd name="connsiteX992" fmla="*/ 595348 w 1485658"/>
              <a:gd name="connsiteY992" fmla="*/ 1272092 h 1479935"/>
              <a:gd name="connsiteX993" fmla="*/ 564796 w 1485658"/>
              <a:gd name="connsiteY993" fmla="*/ 1241655 h 1479935"/>
              <a:gd name="connsiteX994" fmla="*/ 534243 w 1485658"/>
              <a:gd name="connsiteY994" fmla="*/ 1272092 h 1479935"/>
              <a:gd name="connsiteX995" fmla="*/ 712324 w 1485658"/>
              <a:gd name="connsiteY995" fmla="*/ 1272092 h 1479935"/>
              <a:gd name="connsiteX996" fmla="*/ 742877 w 1485658"/>
              <a:gd name="connsiteY996" fmla="*/ 1302529 h 1479935"/>
              <a:gd name="connsiteX997" fmla="*/ 773429 w 1485658"/>
              <a:gd name="connsiteY997" fmla="*/ 1272092 h 1479935"/>
              <a:gd name="connsiteX998" fmla="*/ 742877 w 1485658"/>
              <a:gd name="connsiteY998" fmla="*/ 1241655 h 1479935"/>
              <a:gd name="connsiteX999" fmla="*/ 712324 w 1485658"/>
              <a:gd name="connsiteY999" fmla="*/ 1272092 h 1479935"/>
              <a:gd name="connsiteX1000" fmla="*/ 771621 w 1485658"/>
              <a:gd name="connsiteY1000" fmla="*/ 1272092 h 1479935"/>
              <a:gd name="connsiteX1001" fmla="*/ 802174 w 1485658"/>
              <a:gd name="connsiteY1001" fmla="*/ 1302529 h 1479935"/>
              <a:gd name="connsiteX1002" fmla="*/ 832726 w 1485658"/>
              <a:gd name="connsiteY1002" fmla="*/ 1272092 h 1479935"/>
              <a:gd name="connsiteX1003" fmla="*/ 802174 w 1485658"/>
              <a:gd name="connsiteY1003" fmla="*/ 1241655 h 1479935"/>
              <a:gd name="connsiteX1004" fmla="*/ 771621 w 1485658"/>
              <a:gd name="connsiteY1004" fmla="*/ 1272092 h 1479935"/>
              <a:gd name="connsiteX1005" fmla="*/ 831013 w 1485658"/>
              <a:gd name="connsiteY1005" fmla="*/ 1272092 h 1479935"/>
              <a:gd name="connsiteX1006" fmla="*/ 861566 w 1485658"/>
              <a:gd name="connsiteY1006" fmla="*/ 1302529 h 1479935"/>
              <a:gd name="connsiteX1007" fmla="*/ 892118 w 1485658"/>
              <a:gd name="connsiteY1007" fmla="*/ 1272092 h 1479935"/>
              <a:gd name="connsiteX1008" fmla="*/ 861566 w 1485658"/>
              <a:gd name="connsiteY1008" fmla="*/ 1241655 h 1479935"/>
              <a:gd name="connsiteX1009" fmla="*/ 831013 w 1485658"/>
              <a:gd name="connsiteY1009" fmla="*/ 1272092 h 1479935"/>
              <a:gd name="connsiteX1010" fmla="*/ 890310 w 1485658"/>
              <a:gd name="connsiteY1010" fmla="*/ 1272092 h 1479935"/>
              <a:gd name="connsiteX1011" fmla="*/ 920863 w 1485658"/>
              <a:gd name="connsiteY1011" fmla="*/ 1302529 h 1479935"/>
              <a:gd name="connsiteX1012" fmla="*/ 951415 w 1485658"/>
              <a:gd name="connsiteY1012" fmla="*/ 1272092 h 1479935"/>
              <a:gd name="connsiteX1013" fmla="*/ 920863 w 1485658"/>
              <a:gd name="connsiteY1013" fmla="*/ 1241655 h 1479935"/>
              <a:gd name="connsiteX1014" fmla="*/ 890310 w 1485658"/>
              <a:gd name="connsiteY1014" fmla="*/ 1272092 h 1479935"/>
              <a:gd name="connsiteX1015" fmla="*/ 1009094 w 1485658"/>
              <a:gd name="connsiteY1015" fmla="*/ 1272092 h 1479935"/>
              <a:gd name="connsiteX1016" fmla="*/ 1039647 w 1485658"/>
              <a:gd name="connsiteY1016" fmla="*/ 1302529 h 1479935"/>
              <a:gd name="connsiteX1017" fmla="*/ 1070199 w 1485658"/>
              <a:gd name="connsiteY1017" fmla="*/ 1272092 h 1479935"/>
              <a:gd name="connsiteX1018" fmla="*/ 1039647 w 1485658"/>
              <a:gd name="connsiteY1018" fmla="*/ 1241655 h 1479935"/>
              <a:gd name="connsiteX1019" fmla="*/ 1009094 w 1485658"/>
              <a:gd name="connsiteY1019" fmla="*/ 1272092 h 1479935"/>
              <a:gd name="connsiteX1020" fmla="*/ 1068391 w 1485658"/>
              <a:gd name="connsiteY1020" fmla="*/ 1272092 h 1479935"/>
              <a:gd name="connsiteX1021" fmla="*/ 1098944 w 1485658"/>
              <a:gd name="connsiteY1021" fmla="*/ 1302529 h 1479935"/>
              <a:gd name="connsiteX1022" fmla="*/ 1129496 w 1485658"/>
              <a:gd name="connsiteY1022" fmla="*/ 1272092 h 1479935"/>
              <a:gd name="connsiteX1023" fmla="*/ 1098944 w 1485658"/>
              <a:gd name="connsiteY1023" fmla="*/ 1241655 h 1479935"/>
              <a:gd name="connsiteX1024" fmla="*/ 1068391 w 1485658"/>
              <a:gd name="connsiteY1024" fmla="*/ 1272092 h 1479935"/>
              <a:gd name="connsiteX1025" fmla="*/ 1187080 w 1485658"/>
              <a:gd name="connsiteY1025" fmla="*/ 1272092 h 1479935"/>
              <a:gd name="connsiteX1026" fmla="*/ 1217633 w 1485658"/>
              <a:gd name="connsiteY1026" fmla="*/ 1302529 h 1479935"/>
              <a:gd name="connsiteX1027" fmla="*/ 1248185 w 1485658"/>
              <a:gd name="connsiteY1027" fmla="*/ 1272092 h 1479935"/>
              <a:gd name="connsiteX1028" fmla="*/ 1217633 w 1485658"/>
              <a:gd name="connsiteY1028" fmla="*/ 1241655 h 1479935"/>
              <a:gd name="connsiteX1029" fmla="*/ 1187080 w 1485658"/>
              <a:gd name="connsiteY1029" fmla="*/ 1272092 h 1479935"/>
              <a:gd name="connsiteX1030" fmla="*/ 1246472 w 1485658"/>
              <a:gd name="connsiteY1030" fmla="*/ 1272092 h 1479935"/>
              <a:gd name="connsiteX1031" fmla="*/ 1277025 w 1485658"/>
              <a:gd name="connsiteY1031" fmla="*/ 1302529 h 1479935"/>
              <a:gd name="connsiteX1032" fmla="*/ 1307577 w 1485658"/>
              <a:gd name="connsiteY1032" fmla="*/ 1272092 h 1479935"/>
              <a:gd name="connsiteX1033" fmla="*/ 1277025 w 1485658"/>
              <a:gd name="connsiteY1033" fmla="*/ 1241655 h 1479935"/>
              <a:gd name="connsiteX1034" fmla="*/ 1246472 w 1485658"/>
              <a:gd name="connsiteY1034" fmla="*/ 1272092 h 1479935"/>
              <a:gd name="connsiteX1035" fmla="*/ 1305769 w 1485658"/>
              <a:gd name="connsiteY1035" fmla="*/ 1272092 h 1479935"/>
              <a:gd name="connsiteX1036" fmla="*/ 1336322 w 1485658"/>
              <a:gd name="connsiteY1036" fmla="*/ 1302529 h 1479935"/>
              <a:gd name="connsiteX1037" fmla="*/ 1366874 w 1485658"/>
              <a:gd name="connsiteY1037" fmla="*/ 1272092 h 1479935"/>
              <a:gd name="connsiteX1038" fmla="*/ 1336322 w 1485658"/>
              <a:gd name="connsiteY1038" fmla="*/ 1241655 h 1479935"/>
              <a:gd name="connsiteX1039" fmla="*/ 1305769 w 1485658"/>
              <a:gd name="connsiteY1039" fmla="*/ 1272092 h 1479935"/>
              <a:gd name="connsiteX1040" fmla="*/ 1365161 w 1485658"/>
              <a:gd name="connsiteY1040" fmla="*/ 1272092 h 1479935"/>
              <a:gd name="connsiteX1041" fmla="*/ 1395714 w 1485658"/>
              <a:gd name="connsiteY1041" fmla="*/ 1302529 h 1479935"/>
              <a:gd name="connsiteX1042" fmla="*/ 1426266 w 1485658"/>
              <a:gd name="connsiteY1042" fmla="*/ 1272092 h 1479935"/>
              <a:gd name="connsiteX1043" fmla="*/ 1395714 w 1485658"/>
              <a:gd name="connsiteY1043" fmla="*/ 1241655 h 1479935"/>
              <a:gd name="connsiteX1044" fmla="*/ 1365161 w 1485658"/>
              <a:gd name="connsiteY1044" fmla="*/ 1272092 h 1479935"/>
              <a:gd name="connsiteX1045" fmla="*/ 1424553 w 1485658"/>
              <a:gd name="connsiteY1045" fmla="*/ 1272092 h 1479935"/>
              <a:gd name="connsiteX1046" fmla="*/ 1455106 w 1485658"/>
              <a:gd name="connsiteY1046" fmla="*/ 1302529 h 1479935"/>
              <a:gd name="connsiteX1047" fmla="*/ 1485658 w 1485658"/>
              <a:gd name="connsiteY1047" fmla="*/ 1272092 h 1479935"/>
              <a:gd name="connsiteX1048" fmla="*/ 1455106 w 1485658"/>
              <a:gd name="connsiteY1048" fmla="*/ 1241655 h 1479935"/>
              <a:gd name="connsiteX1049" fmla="*/ 1424553 w 1485658"/>
              <a:gd name="connsiteY1049" fmla="*/ 1272092 h 1479935"/>
              <a:gd name="connsiteX1050" fmla="*/ 474851 w 1485658"/>
              <a:gd name="connsiteY1050" fmla="*/ 1331259 h 1479935"/>
              <a:gd name="connsiteX1051" fmla="*/ 505404 w 1485658"/>
              <a:gd name="connsiteY1051" fmla="*/ 1361696 h 1479935"/>
              <a:gd name="connsiteX1052" fmla="*/ 535956 w 1485658"/>
              <a:gd name="connsiteY1052" fmla="*/ 1331259 h 1479935"/>
              <a:gd name="connsiteX1053" fmla="*/ 505404 w 1485658"/>
              <a:gd name="connsiteY1053" fmla="*/ 1300822 h 1479935"/>
              <a:gd name="connsiteX1054" fmla="*/ 474851 w 1485658"/>
              <a:gd name="connsiteY1054" fmla="*/ 1331259 h 1479935"/>
              <a:gd name="connsiteX1055" fmla="*/ 593635 w 1485658"/>
              <a:gd name="connsiteY1055" fmla="*/ 1331259 h 1479935"/>
              <a:gd name="connsiteX1056" fmla="*/ 624188 w 1485658"/>
              <a:gd name="connsiteY1056" fmla="*/ 1361696 h 1479935"/>
              <a:gd name="connsiteX1057" fmla="*/ 654740 w 1485658"/>
              <a:gd name="connsiteY1057" fmla="*/ 1331259 h 1479935"/>
              <a:gd name="connsiteX1058" fmla="*/ 624188 w 1485658"/>
              <a:gd name="connsiteY1058" fmla="*/ 1300822 h 1479935"/>
              <a:gd name="connsiteX1059" fmla="*/ 593635 w 1485658"/>
              <a:gd name="connsiteY1059" fmla="*/ 1331259 h 1479935"/>
              <a:gd name="connsiteX1060" fmla="*/ 771621 w 1485658"/>
              <a:gd name="connsiteY1060" fmla="*/ 1331259 h 1479935"/>
              <a:gd name="connsiteX1061" fmla="*/ 802174 w 1485658"/>
              <a:gd name="connsiteY1061" fmla="*/ 1361696 h 1479935"/>
              <a:gd name="connsiteX1062" fmla="*/ 832726 w 1485658"/>
              <a:gd name="connsiteY1062" fmla="*/ 1331259 h 1479935"/>
              <a:gd name="connsiteX1063" fmla="*/ 802174 w 1485658"/>
              <a:gd name="connsiteY1063" fmla="*/ 1300822 h 1479935"/>
              <a:gd name="connsiteX1064" fmla="*/ 771621 w 1485658"/>
              <a:gd name="connsiteY1064" fmla="*/ 1331259 h 1479935"/>
              <a:gd name="connsiteX1065" fmla="*/ 831013 w 1485658"/>
              <a:gd name="connsiteY1065" fmla="*/ 1331259 h 1479935"/>
              <a:gd name="connsiteX1066" fmla="*/ 861566 w 1485658"/>
              <a:gd name="connsiteY1066" fmla="*/ 1361696 h 1479935"/>
              <a:gd name="connsiteX1067" fmla="*/ 892118 w 1485658"/>
              <a:gd name="connsiteY1067" fmla="*/ 1331259 h 1479935"/>
              <a:gd name="connsiteX1068" fmla="*/ 861566 w 1485658"/>
              <a:gd name="connsiteY1068" fmla="*/ 1300822 h 1479935"/>
              <a:gd name="connsiteX1069" fmla="*/ 831013 w 1485658"/>
              <a:gd name="connsiteY1069" fmla="*/ 1331259 h 1479935"/>
              <a:gd name="connsiteX1070" fmla="*/ 1246472 w 1485658"/>
              <a:gd name="connsiteY1070" fmla="*/ 1331259 h 1479935"/>
              <a:gd name="connsiteX1071" fmla="*/ 1277025 w 1485658"/>
              <a:gd name="connsiteY1071" fmla="*/ 1361696 h 1479935"/>
              <a:gd name="connsiteX1072" fmla="*/ 1307577 w 1485658"/>
              <a:gd name="connsiteY1072" fmla="*/ 1331259 h 1479935"/>
              <a:gd name="connsiteX1073" fmla="*/ 1277025 w 1485658"/>
              <a:gd name="connsiteY1073" fmla="*/ 1300822 h 1479935"/>
              <a:gd name="connsiteX1074" fmla="*/ 1246472 w 1485658"/>
              <a:gd name="connsiteY1074" fmla="*/ 1331259 h 1479935"/>
              <a:gd name="connsiteX1075" fmla="*/ 1305769 w 1485658"/>
              <a:gd name="connsiteY1075" fmla="*/ 1331259 h 1479935"/>
              <a:gd name="connsiteX1076" fmla="*/ 1336322 w 1485658"/>
              <a:gd name="connsiteY1076" fmla="*/ 1361696 h 1479935"/>
              <a:gd name="connsiteX1077" fmla="*/ 1366874 w 1485658"/>
              <a:gd name="connsiteY1077" fmla="*/ 1331259 h 1479935"/>
              <a:gd name="connsiteX1078" fmla="*/ 1336322 w 1485658"/>
              <a:gd name="connsiteY1078" fmla="*/ 1300822 h 1479935"/>
              <a:gd name="connsiteX1079" fmla="*/ 1305769 w 1485658"/>
              <a:gd name="connsiteY1079" fmla="*/ 1331259 h 1479935"/>
              <a:gd name="connsiteX1080" fmla="*/ 1424553 w 1485658"/>
              <a:gd name="connsiteY1080" fmla="*/ 1331259 h 1479935"/>
              <a:gd name="connsiteX1081" fmla="*/ 1455106 w 1485658"/>
              <a:gd name="connsiteY1081" fmla="*/ 1361696 h 1479935"/>
              <a:gd name="connsiteX1082" fmla="*/ 1485658 w 1485658"/>
              <a:gd name="connsiteY1082" fmla="*/ 1331259 h 1479935"/>
              <a:gd name="connsiteX1083" fmla="*/ 1455106 w 1485658"/>
              <a:gd name="connsiteY1083" fmla="*/ 1300822 h 1479935"/>
              <a:gd name="connsiteX1084" fmla="*/ 1424553 w 1485658"/>
              <a:gd name="connsiteY1084" fmla="*/ 1331259 h 1479935"/>
              <a:gd name="connsiteX1085" fmla="*/ 712324 w 1485658"/>
              <a:gd name="connsiteY1085" fmla="*/ 1390331 h 1479935"/>
              <a:gd name="connsiteX1086" fmla="*/ 742877 w 1485658"/>
              <a:gd name="connsiteY1086" fmla="*/ 1420768 h 1479935"/>
              <a:gd name="connsiteX1087" fmla="*/ 773429 w 1485658"/>
              <a:gd name="connsiteY1087" fmla="*/ 1390331 h 1479935"/>
              <a:gd name="connsiteX1088" fmla="*/ 742877 w 1485658"/>
              <a:gd name="connsiteY1088" fmla="*/ 1359894 h 1479935"/>
              <a:gd name="connsiteX1089" fmla="*/ 712324 w 1485658"/>
              <a:gd name="connsiteY1089" fmla="*/ 1390331 h 1479935"/>
              <a:gd name="connsiteX1090" fmla="*/ 771621 w 1485658"/>
              <a:gd name="connsiteY1090" fmla="*/ 1390331 h 1479935"/>
              <a:gd name="connsiteX1091" fmla="*/ 802174 w 1485658"/>
              <a:gd name="connsiteY1091" fmla="*/ 1420768 h 1479935"/>
              <a:gd name="connsiteX1092" fmla="*/ 832726 w 1485658"/>
              <a:gd name="connsiteY1092" fmla="*/ 1390331 h 1479935"/>
              <a:gd name="connsiteX1093" fmla="*/ 802174 w 1485658"/>
              <a:gd name="connsiteY1093" fmla="*/ 1359894 h 1479935"/>
              <a:gd name="connsiteX1094" fmla="*/ 771621 w 1485658"/>
              <a:gd name="connsiteY1094" fmla="*/ 1390331 h 1479935"/>
              <a:gd name="connsiteX1095" fmla="*/ 949702 w 1485658"/>
              <a:gd name="connsiteY1095" fmla="*/ 1390331 h 1479935"/>
              <a:gd name="connsiteX1096" fmla="*/ 980255 w 1485658"/>
              <a:gd name="connsiteY1096" fmla="*/ 1420768 h 1479935"/>
              <a:gd name="connsiteX1097" fmla="*/ 1010807 w 1485658"/>
              <a:gd name="connsiteY1097" fmla="*/ 1390331 h 1479935"/>
              <a:gd name="connsiteX1098" fmla="*/ 980255 w 1485658"/>
              <a:gd name="connsiteY1098" fmla="*/ 1359894 h 1479935"/>
              <a:gd name="connsiteX1099" fmla="*/ 949702 w 1485658"/>
              <a:gd name="connsiteY1099" fmla="*/ 1390331 h 1479935"/>
              <a:gd name="connsiteX1100" fmla="*/ 1068391 w 1485658"/>
              <a:gd name="connsiteY1100" fmla="*/ 1390331 h 1479935"/>
              <a:gd name="connsiteX1101" fmla="*/ 1098944 w 1485658"/>
              <a:gd name="connsiteY1101" fmla="*/ 1420768 h 1479935"/>
              <a:gd name="connsiteX1102" fmla="*/ 1129496 w 1485658"/>
              <a:gd name="connsiteY1102" fmla="*/ 1390331 h 1479935"/>
              <a:gd name="connsiteX1103" fmla="*/ 1098944 w 1485658"/>
              <a:gd name="connsiteY1103" fmla="*/ 1359894 h 1479935"/>
              <a:gd name="connsiteX1104" fmla="*/ 1068391 w 1485658"/>
              <a:gd name="connsiteY1104" fmla="*/ 1390331 h 1479935"/>
              <a:gd name="connsiteX1105" fmla="*/ 1127783 w 1485658"/>
              <a:gd name="connsiteY1105" fmla="*/ 1390331 h 1479935"/>
              <a:gd name="connsiteX1106" fmla="*/ 1158336 w 1485658"/>
              <a:gd name="connsiteY1106" fmla="*/ 1420768 h 1479935"/>
              <a:gd name="connsiteX1107" fmla="*/ 1188888 w 1485658"/>
              <a:gd name="connsiteY1107" fmla="*/ 1390331 h 1479935"/>
              <a:gd name="connsiteX1108" fmla="*/ 1158336 w 1485658"/>
              <a:gd name="connsiteY1108" fmla="*/ 1359894 h 1479935"/>
              <a:gd name="connsiteX1109" fmla="*/ 1127783 w 1485658"/>
              <a:gd name="connsiteY1109" fmla="*/ 1390331 h 1479935"/>
              <a:gd name="connsiteX1110" fmla="*/ 1187080 w 1485658"/>
              <a:gd name="connsiteY1110" fmla="*/ 1390331 h 1479935"/>
              <a:gd name="connsiteX1111" fmla="*/ 1217633 w 1485658"/>
              <a:gd name="connsiteY1111" fmla="*/ 1420768 h 1479935"/>
              <a:gd name="connsiteX1112" fmla="*/ 1248185 w 1485658"/>
              <a:gd name="connsiteY1112" fmla="*/ 1390331 h 1479935"/>
              <a:gd name="connsiteX1113" fmla="*/ 1217633 w 1485658"/>
              <a:gd name="connsiteY1113" fmla="*/ 1359894 h 1479935"/>
              <a:gd name="connsiteX1114" fmla="*/ 1187080 w 1485658"/>
              <a:gd name="connsiteY1114" fmla="*/ 1390331 h 1479935"/>
              <a:gd name="connsiteX1115" fmla="*/ 1246472 w 1485658"/>
              <a:gd name="connsiteY1115" fmla="*/ 1390331 h 1479935"/>
              <a:gd name="connsiteX1116" fmla="*/ 1277025 w 1485658"/>
              <a:gd name="connsiteY1116" fmla="*/ 1420768 h 1479935"/>
              <a:gd name="connsiteX1117" fmla="*/ 1307577 w 1485658"/>
              <a:gd name="connsiteY1117" fmla="*/ 1390331 h 1479935"/>
              <a:gd name="connsiteX1118" fmla="*/ 1277025 w 1485658"/>
              <a:gd name="connsiteY1118" fmla="*/ 1359894 h 1479935"/>
              <a:gd name="connsiteX1119" fmla="*/ 1246472 w 1485658"/>
              <a:gd name="connsiteY1119" fmla="*/ 1390331 h 1479935"/>
              <a:gd name="connsiteX1120" fmla="*/ 1424553 w 1485658"/>
              <a:gd name="connsiteY1120" fmla="*/ 1390331 h 1479935"/>
              <a:gd name="connsiteX1121" fmla="*/ 1455106 w 1485658"/>
              <a:gd name="connsiteY1121" fmla="*/ 1420768 h 1479935"/>
              <a:gd name="connsiteX1122" fmla="*/ 1485658 w 1485658"/>
              <a:gd name="connsiteY1122" fmla="*/ 1390331 h 1479935"/>
              <a:gd name="connsiteX1123" fmla="*/ 1455106 w 1485658"/>
              <a:gd name="connsiteY1123" fmla="*/ 1359894 h 1479935"/>
              <a:gd name="connsiteX1124" fmla="*/ 1424553 w 1485658"/>
              <a:gd name="connsiteY1124" fmla="*/ 1390331 h 1479935"/>
              <a:gd name="connsiteX1125" fmla="*/ 474851 w 1485658"/>
              <a:gd name="connsiteY1125" fmla="*/ 1449498 h 1479935"/>
              <a:gd name="connsiteX1126" fmla="*/ 505404 w 1485658"/>
              <a:gd name="connsiteY1126" fmla="*/ 1479935 h 1479935"/>
              <a:gd name="connsiteX1127" fmla="*/ 535956 w 1485658"/>
              <a:gd name="connsiteY1127" fmla="*/ 1449498 h 1479935"/>
              <a:gd name="connsiteX1128" fmla="*/ 505404 w 1485658"/>
              <a:gd name="connsiteY1128" fmla="*/ 1419061 h 1479935"/>
              <a:gd name="connsiteX1129" fmla="*/ 474851 w 1485658"/>
              <a:gd name="connsiteY1129" fmla="*/ 1449498 h 1479935"/>
              <a:gd name="connsiteX1130" fmla="*/ 593635 w 1485658"/>
              <a:gd name="connsiteY1130" fmla="*/ 1449498 h 1479935"/>
              <a:gd name="connsiteX1131" fmla="*/ 624188 w 1485658"/>
              <a:gd name="connsiteY1131" fmla="*/ 1479935 h 1479935"/>
              <a:gd name="connsiteX1132" fmla="*/ 654740 w 1485658"/>
              <a:gd name="connsiteY1132" fmla="*/ 1449498 h 1479935"/>
              <a:gd name="connsiteX1133" fmla="*/ 624188 w 1485658"/>
              <a:gd name="connsiteY1133" fmla="*/ 1419061 h 1479935"/>
              <a:gd name="connsiteX1134" fmla="*/ 593635 w 1485658"/>
              <a:gd name="connsiteY1134" fmla="*/ 1449498 h 1479935"/>
              <a:gd name="connsiteX1135" fmla="*/ 712324 w 1485658"/>
              <a:gd name="connsiteY1135" fmla="*/ 1449498 h 1479935"/>
              <a:gd name="connsiteX1136" fmla="*/ 742877 w 1485658"/>
              <a:gd name="connsiteY1136" fmla="*/ 1479935 h 1479935"/>
              <a:gd name="connsiteX1137" fmla="*/ 773429 w 1485658"/>
              <a:gd name="connsiteY1137" fmla="*/ 1449498 h 1479935"/>
              <a:gd name="connsiteX1138" fmla="*/ 742877 w 1485658"/>
              <a:gd name="connsiteY1138" fmla="*/ 1419061 h 1479935"/>
              <a:gd name="connsiteX1139" fmla="*/ 712324 w 1485658"/>
              <a:gd name="connsiteY1139" fmla="*/ 1449498 h 1479935"/>
              <a:gd name="connsiteX1140" fmla="*/ 831013 w 1485658"/>
              <a:gd name="connsiteY1140" fmla="*/ 1449498 h 1479935"/>
              <a:gd name="connsiteX1141" fmla="*/ 861566 w 1485658"/>
              <a:gd name="connsiteY1141" fmla="*/ 1479935 h 1479935"/>
              <a:gd name="connsiteX1142" fmla="*/ 892118 w 1485658"/>
              <a:gd name="connsiteY1142" fmla="*/ 1449498 h 1479935"/>
              <a:gd name="connsiteX1143" fmla="*/ 861566 w 1485658"/>
              <a:gd name="connsiteY1143" fmla="*/ 1419061 h 1479935"/>
              <a:gd name="connsiteX1144" fmla="*/ 831013 w 1485658"/>
              <a:gd name="connsiteY1144" fmla="*/ 1449498 h 1479935"/>
              <a:gd name="connsiteX1145" fmla="*/ 1009094 w 1485658"/>
              <a:gd name="connsiteY1145" fmla="*/ 1449498 h 1479935"/>
              <a:gd name="connsiteX1146" fmla="*/ 1039647 w 1485658"/>
              <a:gd name="connsiteY1146" fmla="*/ 1479935 h 1479935"/>
              <a:gd name="connsiteX1147" fmla="*/ 1070199 w 1485658"/>
              <a:gd name="connsiteY1147" fmla="*/ 1449498 h 1479935"/>
              <a:gd name="connsiteX1148" fmla="*/ 1039647 w 1485658"/>
              <a:gd name="connsiteY1148" fmla="*/ 1419061 h 1479935"/>
              <a:gd name="connsiteX1149" fmla="*/ 1009094 w 1485658"/>
              <a:gd name="connsiteY1149" fmla="*/ 1449498 h 1479935"/>
              <a:gd name="connsiteX1150" fmla="*/ 1068391 w 1485658"/>
              <a:gd name="connsiteY1150" fmla="*/ 1449498 h 1479935"/>
              <a:gd name="connsiteX1151" fmla="*/ 1098944 w 1485658"/>
              <a:gd name="connsiteY1151" fmla="*/ 1479935 h 1479935"/>
              <a:gd name="connsiteX1152" fmla="*/ 1129496 w 1485658"/>
              <a:gd name="connsiteY1152" fmla="*/ 1449498 h 1479935"/>
              <a:gd name="connsiteX1153" fmla="*/ 1098944 w 1485658"/>
              <a:gd name="connsiteY1153" fmla="*/ 1419061 h 1479935"/>
              <a:gd name="connsiteX1154" fmla="*/ 1068391 w 1485658"/>
              <a:gd name="connsiteY1154" fmla="*/ 1449498 h 1479935"/>
              <a:gd name="connsiteX1155" fmla="*/ 1127783 w 1485658"/>
              <a:gd name="connsiteY1155" fmla="*/ 1449498 h 1479935"/>
              <a:gd name="connsiteX1156" fmla="*/ 1158336 w 1485658"/>
              <a:gd name="connsiteY1156" fmla="*/ 1479935 h 1479935"/>
              <a:gd name="connsiteX1157" fmla="*/ 1188888 w 1485658"/>
              <a:gd name="connsiteY1157" fmla="*/ 1449498 h 1479935"/>
              <a:gd name="connsiteX1158" fmla="*/ 1158336 w 1485658"/>
              <a:gd name="connsiteY1158" fmla="*/ 1419061 h 1479935"/>
              <a:gd name="connsiteX1159" fmla="*/ 1127783 w 1485658"/>
              <a:gd name="connsiteY1159" fmla="*/ 1449498 h 1479935"/>
              <a:gd name="connsiteX1160" fmla="*/ 1187080 w 1485658"/>
              <a:gd name="connsiteY1160" fmla="*/ 1449498 h 1479935"/>
              <a:gd name="connsiteX1161" fmla="*/ 1217633 w 1485658"/>
              <a:gd name="connsiteY1161" fmla="*/ 1479935 h 1479935"/>
              <a:gd name="connsiteX1162" fmla="*/ 1248185 w 1485658"/>
              <a:gd name="connsiteY1162" fmla="*/ 1449498 h 1479935"/>
              <a:gd name="connsiteX1163" fmla="*/ 1217633 w 1485658"/>
              <a:gd name="connsiteY1163" fmla="*/ 1419061 h 1479935"/>
              <a:gd name="connsiteX1164" fmla="*/ 1187080 w 1485658"/>
              <a:gd name="connsiteY1164" fmla="*/ 1449498 h 1479935"/>
              <a:gd name="connsiteX1165" fmla="*/ 1246472 w 1485658"/>
              <a:gd name="connsiteY1165" fmla="*/ 1449498 h 1479935"/>
              <a:gd name="connsiteX1166" fmla="*/ 1277025 w 1485658"/>
              <a:gd name="connsiteY1166" fmla="*/ 1479935 h 1479935"/>
              <a:gd name="connsiteX1167" fmla="*/ 1307577 w 1485658"/>
              <a:gd name="connsiteY1167" fmla="*/ 1449498 h 1479935"/>
              <a:gd name="connsiteX1168" fmla="*/ 1277025 w 1485658"/>
              <a:gd name="connsiteY1168" fmla="*/ 1419061 h 1479935"/>
              <a:gd name="connsiteX1169" fmla="*/ 1246472 w 1485658"/>
              <a:gd name="connsiteY1169" fmla="*/ 1449498 h 1479935"/>
              <a:gd name="connsiteX1170" fmla="*/ 1305769 w 1485658"/>
              <a:gd name="connsiteY1170" fmla="*/ 1449498 h 1479935"/>
              <a:gd name="connsiteX1171" fmla="*/ 1336322 w 1485658"/>
              <a:gd name="connsiteY1171" fmla="*/ 1479935 h 1479935"/>
              <a:gd name="connsiteX1172" fmla="*/ 1366874 w 1485658"/>
              <a:gd name="connsiteY1172" fmla="*/ 1449498 h 1479935"/>
              <a:gd name="connsiteX1173" fmla="*/ 1336322 w 1485658"/>
              <a:gd name="connsiteY1173" fmla="*/ 1419061 h 1479935"/>
              <a:gd name="connsiteX1174" fmla="*/ 1305769 w 1485658"/>
              <a:gd name="connsiteY1174" fmla="*/ 1449498 h 1479935"/>
              <a:gd name="connsiteX1175" fmla="*/ 1365161 w 1485658"/>
              <a:gd name="connsiteY1175" fmla="*/ 1449498 h 1479935"/>
              <a:gd name="connsiteX1176" fmla="*/ 1395714 w 1485658"/>
              <a:gd name="connsiteY1176" fmla="*/ 1479935 h 1479935"/>
              <a:gd name="connsiteX1177" fmla="*/ 1426266 w 1485658"/>
              <a:gd name="connsiteY1177" fmla="*/ 1449498 h 1479935"/>
              <a:gd name="connsiteX1178" fmla="*/ 1395714 w 1485658"/>
              <a:gd name="connsiteY1178" fmla="*/ 1419061 h 1479935"/>
              <a:gd name="connsiteX1179" fmla="*/ 1365161 w 1485658"/>
              <a:gd name="connsiteY1179" fmla="*/ 1449498 h 1479935"/>
              <a:gd name="connsiteX1180" fmla="*/ 1424553 w 1485658"/>
              <a:gd name="connsiteY1180" fmla="*/ 1449498 h 1479935"/>
              <a:gd name="connsiteX1181" fmla="*/ 1455106 w 1485658"/>
              <a:gd name="connsiteY1181" fmla="*/ 1479935 h 1479935"/>
              <a:gd name="connsiteX1182" fmla="*/ 1485658 w 1485658"/>
              <a:gd name="connsiteY1182" fmla="*/ 1449498 h 1479935"/>
              <a:gd name="connsiteX1183" fmla="*/ 1455106 w 1485658"/>
              <a:gd name="connsiteY1183" fmla="*/ 1419061 h 1479935"/>
              <a:gd name="connsiteX1184" fmla="*/ 1424553 w 1485658"/>
              <a:gd name="connsiteY1184" fmla="*/ 1449498 h 1479935"/>
              <a:gd name="connsiteX1185" fmla="*/ 207777 w 1485658"/>
              <a:gd name="connsiteY1185" fmla="*/ 0 h 1479935"/>
              <a:gd name="connsiteX1186" fmla="*/ 207777 w 1485658"/>
              <a:gd name="connsiteY1186" fmla="*/ 0 h 1479935"/>
              <a:gd name="connsiteX1187" fmla="*/ 415554 w 1485658"/>
              <a:gd name="connsiteY1187" fmla="*/ 206990 h 1479935"/>
              <a:gd name="connsiteX1188" fmla="*/ 415554 w 1485658"/>
              <a:gd name="connsiteY1188" fmla="*/ 206990 h 1479935"/>
              <a:gd name="connsiteX1189" fmla="*/ 207777 w 1485658"/>
              <a:gd name="connsiteY1189" fmla="*/ 413980 h 1479935"/>
              <a:gd name="connsiteX1190" fmla="*/ 207777 w 1485658"/>
              <a:gd name="connsiteY1190" fmla="*/ 413980 h 1479935"/>
              <a:gd name="connsiteX1191" fmla="*/ 0 w 1485658"/>
              <a:gd name="connsiteY1191" fmla="*/ 206990 h 1479935"/>
              <a:gd name="connsiteX1192" fmla="*/ 0 w 1485658"/>
              <a:gd name="connsiteY1192" fmla="*/ 206990 h 1479935"/>
              <a:gd name="connsiteX1193" fmla="*/ 207777 w 1485658"/>
              <a:gd name="connsiteY1193" fmla="*/ 0 h 1479935"/>
              <a:gd name="connsiteX1194" fmla="*/ 356162 w 1485658"/>
              <a:gd name="connsiteY1194" fmla="*/ 206895 h 1479935"/>
              <a:gd name="connsiteX1195" fmla="*/ 356162 w 1485658"/>
              <a:gd name="connsiteY1195" fmla="*/ 206895 h 1479935"/>
              <a:gd name="connsiteX1196" fmla="*/ 207777 w 1485658"/>
              <a:gd name="connsiteY1196" fmla="*/ 59072 h 1479935"/>
              <a:gd name="connsiteX1197" fmla="*/ 207777 w 1485658"/>
              <a:gd name="connsiteY1197" fmla="*/ 59072 h 1479935"/>
              <a:gd name="connsiteX1198" fmla="*/ 59392 w 1485658"/>
              <a:gd name="connsiteY1198" fmla="*/ 206895 h 1479935"/>
              <a:gd name="connsiteX1199" fmla="*/ 59392 w 1485658"/>
              <a:gd name="connsiteY1199" fmla="*/ 206895 h 1479935"/>
              <a:gd name="connsiteX1200" fmla="*/ 207777 w 1485658"/>
              <a:gd name="connsiteY1200" fmla="*/ 354718 h 1479935"/>
              <a:gd name="connsiteX1201" fmla="*/ 207777 w 1485658"/>
              <a:gd name="connsiteY1201" fmla="*/ 354718 h 1479935"/>
              <a:gd name="connsiteX1202" fmla="*/ 356162 w 1485658"/>
              <a:gd name="connsiteY1202" fmla="*/ 206895 h 1479935"/>
              <a:gd name="connsiteX1203" fmla="*/ 1276168 w 1485658"/>
              <a:gd name="connsiteY1203" fmla="*/ 0 h 1479935"/>
              <a:gd name="connsiteX1204" fmla="*/ 1276168 w 1485658"/>
              <a:gd name="connsiteY1204" fmla="*/ 0 h 1479935"/>
              <a:gd name="connsiteX1205" fmla="*/ 1483945 w 1485658"/>
              <a:gd name="connsiteY1205" fmla="*/ 206990 h 1479935"/>
              <a:gd name="connsiteX1206" fmla="*/ 1483945 w 1485658"/>
              <a:gd name="connsiteY1206" fmla="*/ 206990 h 1479935"/>
              <a:gd name="connsiteX1207" fmla="*/ 1276168 w 1485658"/>
              <a:gd name="connsiteY1207" fmla="*/ 413980 h 1479935"/>
              <a:gd name="connsiteX1208" fmla="*/ 1276168 w 1485658"/>
              <a:gd name="connsiteY1208" fmla="*/ 413980 h 1479935"/>
              <a:gd name="connsiteX1209" fmla="*/ 1068391 w 1485658"/>
              <a:gd name="connsiteY1209" fmla="*/ 206990 h 1479935"/>
              <a:gd name="connsiteX1210" fmla="*/ 1068391 w 1485658"/>
              <a:gd name="connsiteY1210" fmla="*/ 206990 h 1479935"/>
              <a:gd name="connsiteX1211" fmla="*/ 1276168 w 1485658"/>
              <a:gd name="connsiteY1211" fmla="*/ 0 h 1479935"/>
              <a:gd name="connsiteX1212" fmla="*/ 1424553 w 1485658"/>
              <a:gd name="connsiteY1212" fmla="*/ 206895 h 1479935"/>
              <a:gd name="connsiteX1213" fmla="*/ 1424553 w 1485658"/>
              <a:gd name="connsiteY1213" fmla="*/ 206895 h 1479935"/>
              <a:gd name="connsiteX1214" fmla="*/ 1276168 w 1485658"/>
              <a:gd name="connsiteY1214" fmla="*/ 59072 h 1479935"/>
              <a:gd name="connsiteX1215" fmla="*/ 1276168 w 1485658"/>
              <a:gd name="connsiteY1215" fmla="*/ 59072 h 1479935"/>
              <a:gd name="connsiteX1216" fmla="*/ 1127783 w 1485658"/>
              <a:gd name="connsiteY1216" fmla="*/ 206895 h 1479935"/>
              <a:gd name="connsiteX1217" fmla="*/ 1127783 w 1485658"/>
              <a:gd name="connsiteY1217" fmla="*/ 206895 h 1479935"/>
              <a:gd name="connsiteX1218" fmla="*/ 1276168 w 1485658"/>
              <a:gd name="connsiteY1218" fmla="*/ 354718 h 1479935"/>
              <a:gd name="connsiteX1219" fmla="*/ 1276168 w 1485658"/>
              <a:gd name="connsiteY1219" fmla="*/ 354718 h 1479935"/>
              <a:gd name="connsiteX1220" fmla="*/ 1424553 w 1485658"/>
              <a:gd name="connsiteY1220" fmla="*/ 206895 h 1479935"/>
              <a:gd name="connsiteX1221" fmla="*/ 207777 w 1485658"/>
              <a:gd name="connsiteY1221" fmla="*/ 1064249 h 1479935"/>
              <a:gd name="connsiteX1222" fmla="*/ 207777 w 1485658"/>
              <a:gd name="connsiteY1222" fmla="*/ 1064249 h 1479935"/>
              <a:gd name="connsiteX1223" fmla="*/ 415554 w 1485658"/>
              <a:gd name="connsiteY1223" fmla="*/ 1271238 h 1479935"/>
              <a:gd name="connsiteX1224" fmla="*/ 415554 w 1485658"/>
              <a:gd name="connsiteY1224" fmla="*/ 1271238 h 1479935"/>
              <a:gd name="connsiteX1225" fmla="*/ 207777 w 1485658"/>
              <a:gd name="connsiteY1225" fmla="*/ 1478228 h 1479935"/>
              <a:gd name="connsiteX1226" fmla="*/ 207777 w 1485658"/>
              <a:gd name="connsiteY1226" fmla="*/ 1478228 h 1479935"/>
              <a:gd name="connsiteX1227" fmla="*/ 0 w 1485658"/>
              <a:gd name="connsiteY1227" fmla="*/ 1271238 h 1479935"/>
              <a:gd name="connsiteX1228" fmla="*/ 0 w 1485658"/>
              <a:gd name="connsiteY1228" fmla="*/ 1271238 h 1479935"/>
              <a:gd name="connsiteX1229" fmla="*/ 207777 w 1485658"/>
              <a:gd name="connsiteY1229" fmla="*/ 1064249 h 1479935"/>
              <a:gd name="connsiteX1230" fmla="*/ 356162 w 1485658"/>
              <a:gd name="connsiteY1230" fmla="*/ 1271238 h 1479935"/>
              <a:gd name="connsiteX1231" fmla="*/ 356162 w 1485658"/>
              <a:gd name="connsiteY1231" fmla="*/ 1271238 h 1479935"/>
              <a:gd name="connsiteX1232" fmla="*/ 207777 w 1485658"/>
              <a:gd name="connsiteY1232" fmla="*/ 1123416 h 1479935"/>
              <a:gd name="connsiteX1233" fmla="*/ 207777 w 1485658"/>
              <a:gd name="connsiteY1233" fmla="*/ 1123416 h 1479935"/>
              <a:gd name="connsiteX1234" fmla="*/ 59392 w 1485658"/>
              <a:gd name="connsiteY1234" fmla="*/ 1271238 h 1479935"/>
              <a:gd name="connsiteX1235" fmla="*/ 59392 w 1485658"/>
              <a:gd name="connsiteY1235" fmla="*/ 1271238 h 1479935"/>
              <a:gd name="connsiteX1236" fmla="*/ 207777 w 1485658"/>
              <a:gd name="connsiteY1236" fmla="*/ 1419061 h 1479935"/>
              <a:gd name="connsiteX1237" fmla="*/ 207777 w 1485658"/>
              <a:gd name="connsiteY1237" fmla="*/ 1419061 h 1479935"/>
              <a:gd name="connsiteX1238" fmla="*/ 356162 w 1485658"/>
              <a:gd name="connsiteY1238" fmla="*/ 1271238 h 1479935"/>
              <a:gd name="connsiteX1239" fmla="*/ 118784 w 1485658"/>
              <a:gd name="connsiteY1239" fmla="*/ 206895 h 1479935"/>
              <a:gd name="connsiteX1240" fmla="*/ 207777 w 1485658"/>
              <a:gd name="connsiteY1240" fmla="*/ 295551 h 1479935"/>
              <a:gd name="connsiteX1241" fmla="*/ 296770 w 1485658"/>
              <a:gd name="connsiteY1241" fmla="*/ 206895 h 1479935"/>
              <a:gd name="connsiteX1242" fmla="*/ 207777 w 1485658"/>
              <a:gd name="connsiteY1242" fmla="*/ 118239 h 1479935"/>
              <a:gd name="connsiteX1243" fmla="*/ 118784 w 1485658"/>
              <a:gd name="connsiteY1243" fmla="*/ 206895 h 1479935"/>
              <a:gd name="connsiteX1244" fmla="*/ 1187080 w 1485658"/>
              <a:gd name="connsiteY1244" fmla="*/ 206895 h 1479935"/>
              <a:gd name="connsiteX1245" fmla="*/ 1276073 w 1485658"/>
              <a:gd name="connsiteY1245" fmla="*/ 295551 h 1479935"/>
              <a:gd name="connsiteX1246" fmla="*/ 1365066 w 1485658"/>
              <a:gd name="connsiteY1246" fmla="*/ 206895 h 1479935"/>
              <a:gd name="connsiteX1247" fmla="*/ 1276073 w 1485658"/>
              <a:gd name="connsiteY1247" fmla="*/ 118239 h 1479935"/>
              <a:gd name="connsiteX1248" fmla="*/ 1187080 w 1485658"/>
              <a:gd name="connsiteY1248" fmla="*/ 206895 h 1479935"/>
              <a:gd name="connsiteX1249" fmla="*/ 118784 w 1485658"/>
              <a:gd name="connsiteY1249" fmla="*/ 1271238 h 1479935"/>
              <a:gd name="connsiteX1250" fmla="*/ 207777 w 1485658"/>
              <a:gd name="connsiteY1250" fmla="*/ 1359894 h 1479935"/>
              <a:gd name="connsiteX1251" fmla="*/ 296770 w 1485658"/>
              <a:gd name="connsiteY1251" fmla="*/ 1271238 h 1479935"/>
              <a:gd name="connsiteX1252" fmla="*/ 207777 w 1485658"/>
              <a:gd name="connsiteY1252" fmla="*/ 1182583 h 1479935"/>
              <a:gd name="connsiteX1253" fmla="*/ 118784 w 1485658"/>
              <a:gd name="connsiteY1253" fmla="*/ 1271238 h 1479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</a:cxnLst>
            <a:rect l="l" t="t" r="r" b="b"/>
            <a:pathLst>
              <a:path w="1485658" h="1479935">
                <a:moveTo>
                  <a:pt x="564796" y="0"/>
                </a:moveTo>
                <a:cubicBezTo>
                  <a:pt x="581643" y="0"/>
                  <a:pt x="595348" y="13654"/>
                  <a:pt x="595348" y="30437"/>
                </a:cubicBezTo>
                <a:cubicBezTo>
                  <a:pt x="595348" y="47220"/>
                  <a:pt x="581643" y="60874"/>
                  <a:pt x="564796" y="60874"/>
                </a:cubicBezTo>
                <a:cubicBezTo>
                  <a:pt x="547949" y="60874"/>
                  <a:pt x="534243" y="47220"/>
                  <a:pt x="534243" y="30437"/>
                </a:cubicBezTo>
                <a:cubicBezTo>
                  <a:pt x="534243" y="13654"/>
                  <a:pt x="547949" y="0"/>
                  <a:pt x="564796" y="0"/>
                </a:cubicBezTo>
                <a:close/>
                <a:moveTo>
                  <a:pt x="593635" y="30437"/>
                </a:moveTo>
                <a:cubicBezTo>
                  <a:pt x="593635" y="47220"/>
                  <a:pt x="607341" y="60874"/>
                  <a:pt x="624188" y="60874"/>
                </a:cubicBezTo>
                <a:cubicBezTo>
                  <a:pt x="641035" y="60874"/>
                  <a:pt x="654740" y="47220"/>
                  <a:pt x="654740" y="30437"/>
                </a:cubicBezTo>
                <a:cubicBezTo>
                  <a:pt x="654740" y="13654"/>
                  <a:pt x="641035" y="0"/>
                  <a:pt x="624188" y="0"/>
                </a:cubicBezTo>
                <a:cubicBezTo>
                  <a:pt x="607341" y="0"/>
                  <a:pt x="593635" y="13654"/>
                  <a:pt x="593635" y="30437"/>
                </a:cubicBezTo>
                <a:close/>
                <a:moveTo>
                  <a:pt x="652932" y="30437"/>
                </a:moveTo>
                <a:cubicBezTo>
                  <a:pt x="652932" y="47220"/>
                  <a:pt x="666638" y="60874"/>
                  <a:pt x="683485" y="60874"/>
                </a:cubicBezTo>
                <a:cubicBezTo>
                  <a:pt x="700332" y="60874"/>
                  <a:pt x="714037" y="47220"/>
                  <a:pt x="714037" y="30437"/>
                </a:cubicBezTo>
                <a:cubicBezTo>
                  <a:pt x="714037" y="13654"/>
                  <a:pt x="700332" y="0"/>
                  <a:pt x="683485" y="0"/>
                </a:cubicBezTo>
                <a:cubicBezTo>
                  <a:pt x="666638" y="0"/>
                  <a:pt x="652932" y="13654"/>
                  <a:pt x="652932" y="30437"/>
                </a:cubicBezTo>
                <a:close/>
                <a:moveTo>
                  <a:pt x="831013" y="30437"/>
                </a:moveTo>
                <a:cubicBezTo>
                  <a:pt x="831013" y="47220"/>
                  <a:pt x="844719" y="60874"/>
                  <a:pt x="861566" y="60874"/>
                </a:cubicBezTo>
                <a:cubicBezTo>
                  <a:pt x="878413" y="60874"/>
                  <a:pt x="892118" y="47220"/>
                  <a:pt x="892118" y="30437"/>
                </a:cubicBezTo>
                <a:cubicBezTo>
                  <a:pt x="892118" y="13654"/>
                  <a:pt x="878413" y="0"/>
                  <a:pt x="861566" y="0"/>
                </a:cubicBezTo>
                <a:cubicBezTo>
                  <a:pt x="844719" y="0"/>
                  <a:pt x="831013" y="13654"/>
                  <a:pt x="831013" y="30437"/>
                </a:cubicBezTo>
                <a:close/>
                <a:moveTo>
                  <a:pt x="949702" y="30437"/>
                </a:moveTo>
                <a:cubicBezTo>
                  <a:pt x="949702" y="47220"/>
                  <a:pt x="963408" y="60874"/>
                  <a:pt x="980255" y="60874"/>
                </a:cubicBezTo>
                <a:cubicBezTo>
                  <a:pt x="997101" y="60874"/>
                  <a:pt x="1010807" y="47220"/>
                  <a:pt x="1010807" y="30437"/>
                </a:cubicBezTo>
                <a:cubicBezTo>
                  <a:pt x="1010807" y="13654"/>
                  <a:pt x="997101" y="0"/>
                  <a:pt x="980255" y="0"/>
                </a:cubicBezTo>
                <a:cubicBezTo>
                  <a:pt x="963408" y="0"/>
                  <a:pt x="949702" y="13654"/>
                  <a:pt x="949702" y="30437"/>
                </a:cubicBezTo>
                <a:close/>
                <a:moveTo>
                  <a:pt x="593635" y="89509"/>
                </a:moveTo>
                <a:cubicBezTo>
                  <a:pt x="593635" y="106292"/>
                  <a:pt x="607341" y="119946"/>
                  <a:pt x="624188" y="119946"/>
                </a:cubicBezTo>
                <a:cubicBezTo>
                  <a:pt x="641035" y="119946"/>
                  <a:pt x="654740" y="106292"/>
                  <a:pt x="654740" y="89509"/>
                </a:cubicBezTo>
                <a:cubicBezTo>
                  <a:pt x="654740" y="72726"/>
                  <a:pt x="641035" y="59072"/>
                  <a:pt x="624188" y="59072"/>
                </a:cubicBezTo>
                <a:cubicBezTo>
                  <a:pt x="607341" y="59072"/>
                  <a:pt x="593635" y="72726"/>
                  <a:pt x="593635" y="89509"/>
                </a:cubicBezTo>
                <a:close/>
                <a:moveTo>
                  <a:pt x="771621" y="89509"/>
                </a:moveTo>
                <a:cubicBezTo>
                  <a:pt x="771621" y="106292"/>
                  <a:pt x="785327" y="119946"/>
                  <a:pt x="802174" y="119946"/>
                </a:cubicBezTo>
                <a:cubicBezTo>
                  <a:pt x="819021" y="119946"/>
                  <a:pt x="832726" y="106292"/>
                  <a:pt x="832726" y="89509"/>
                </a:cubicBezTo>
                <a:cubicBezTo>
                  <a:pt x="832726" y="72726"/>
                  <a:pt x="819021" y="59072"/>
                  <a:pt x="802174" y="59072"/>
                </a:cubicBezTo>
                <a:cubicBezTo>
                  <a:pt x="785327" y="59072"/>
                  <a:pt x="771621" y="72726"/>
                  <a:pt x="771621" y="89509"/>
                </a:cubicBezTo>
                <a:close/>
                <a:moveTo>
                  <a:pt x="890310" y="89509"/>
                </a:moveTo>
                <a:cubicBezTo>
                  <a:pt x="890310" y="106292"/>
                  <a:pt x="904016" y="119946"/>
                  <a:pt x="920863" y="119946"/>
                </a:cubicBezTo>
                <a:cubicBezTo>
                  <a:pt x="937709" y="119946"/>
                  <a:pt x="951415" y="106292"/>
                  <a:pt x="951415" y="89509"/>
                </a:cubicBezTo>
                <a:cubicBezTo>
                  <a:pt x="951415" y="72726"/>
                  <a:pt x="937709" y="59072"/>
                  <a:pt x="920863" y="59072"/>
                </a:cubicBezTo>
                <a:cubicBezTo>
                  <a:pt x="904016" y="59072"/>
                  <a:pt x="890310" y="72726"/>
                  <a:pt x="890310" y="89509"/>
                </a:cubicBezTo>
                <a:close/>
                <a:moveTo>
                  <a:pt x="474851" y="148676"/>
                </a:moveTo>
                <a:cubicBezTo>
                  <a:pt x="474851" y="165459"/>
                  <a:pt x="488557" y="179113"/>
                  <a:pt x="505404" y="179113"/>
                </a:cubicBezTo>
                <a:cubicBezTo>
                  <a:pt x="522250" y="179113"/>
                  <a:pt x="535956" y="165459"/>
                  <a:pt x="535956" y="148676"/>
                </a:cubicBezTo>
                <a:cubicBezTo>
                  <a:pt x="535956" y="131893"/>
                  <a:pt x="522250" y="118239"/>
                  <a:pt x="505404" y="118239"/>
                </a:cubicBezTo>
                <a:cubicBezTo>
                  <a:pt x="488557" y="118239"/>
                  <a:pt x="474851" y="131893"/>
                  <a:pt x="474851" y="148676"/>
                </a:cubicBezTo>
                <a:close/>
                <a:moveTo>
                  <a:pt x="712324" y="148676"/>
                </a:moveTo>
                <a:cubicBezTo>
                  <a:pt x="712324" y="165459"/>
                  <a:pt x="726030" y="179113"/>
                  <a:pt x="742877" y="179113"/>
                </a:cubicBezTo>
                <a:cubicBezTo>
                  <a:pt x="759724" y="179113"/>
                  <a:pt x="773429" y="165459"/>
                  <a:pt x="773429" y="148676"/>
                </a:cubicBezTo>
                <a:cubicBezTo>
                  <a:pt x="773429" y="131893"/>
                  <a:pt x="759724" y="118239"/>
                  <a:pt x="742877" y="118239"/>
                </a:cubicBezTo>
                <a:cubicBezTo>
                  <a:pt x="726030" y="118239"/>
                  <a:pt x="712324" y="131893"/>
                  <a:pt x="712324" y="148676"/>
                </a:cubicBezTo>
                <a:close/>
                <a:moveTo>
                  <a:pt x="949702" y="148676"/>
                </a:moveTo>
                <a:cubicBezTo>
                  <a:pt x="949702" y="165459"/>
                  <a:pt x="963408" y="179113"/>
                  <a:pt x="980255" y="179113"/>
                </a:cubicBezTo>
                <a:cubicBezTo>
                  <a:pt x="997101" y="179113"/>
                  <a:pt x="1010807" y="165459"/>
                  <a:pt x="1010807" y="148676"/>
                </a:cubicBezTo>
                <a:cubicBezTo>
                  <a:pt x="1010807" y="131893"/>
                  <a:pt x="997101" y="118239"/>
                  <a:pt x="980255" y="118239"/>
                </a:cubicBezTo>
                <a:cubicBezTo>
                  <a:pt x="963408" y="118239"/>
                  <a:pt x="949702" y="131893"/>
                  <a:pt x="949702" y="148676"/>
                </a:cubicBezTo>
                <a:close/>
                <a:moveTo>
                  <a:pt x="474851" y="207843"/>
                </a:moveTo>
                <a:cubicBezTo>
                  <a:pt x="474851" y="224626"/>
                  <a:pt x="488557" y="238280"/>
                  <a:pt x="505404" y="238280"/>
                </a:cubicBezTo>
                <a:cubicBezTo>
                  <a:pt x="522250" y="238280"/>
                  <a:pt x="535956" y="224626"/>
                  <a:pt x="535956" y="207843"/>
                </a:cubicBezTo>
                <a:cubicBezTo>
                  <a:pt x="535956" y="191060"/>
                  <a:pt x="522250" y="177406"/>
                  <a:pt x="505404" y="177406"/>
                </a:cubicBezTo>
                <a:cubicBezTo>
                  <a:pt x="488557" y="177406"/>
                  <a:pt x="474851" y="191060"/>
                  <a:pt x="474851" y="207843"/>
                </a:cubicBezTo>
                <a:close/>
                <a:moveTo>
                  <a:pt x="534243" y="207843"/>
                </a:moveTo>
                <a:cubicBezTo>
                  <a:pt x="534243" y="224626"/>
                  <a:pt x="547949" y="238280"/>
                  <a:pt x="564796" y="238280"/>
                </a:cubicBezTo>
                <a:cubicBezTo>
                  <a:pt x="581643" y="238280"/>
                  <a:pt x="595348" y="224626"/>
                  <a:pt x="595348" y="207843"/>
                </a:cubicBezTo>
                <a:cubicBezTo>
                  <a:pt x="595348" y="191060"/>
                  <a:pt x="581643" y="177406"/>
                  <a:pt x="564796" y="177406"/>
                </a:cubicBezTo>
                <a:cubicBezTo>
                  <a:pt x="547949" y="177406"/>
                  <a:pt x="534243" y="191060"/>
                  <a:pt x="534243" y="207843"/>
                </a:cubicBezTo>
                <a:close/>
                <a:moveTo>
                  <a:pt x="593635" y="207843"/>
                </a:moveTo>
                <a:cubicBezTo>
                  <a:pt x="593635" y="224626"/>
                  <a:pt x="607341" y="238280"/>
                  <a:pt x="624188" y="238280"/>
                </a:cubicBezTo>
                <a:cubicBezTo>
                  <a:pt x="641035" y="238280"/>
                  <a:pt x="654740" y="224626"/>
                  <a:pt x="654740" y="207843"/>
                </a:cubicBezTo>
                <a:cubicBezTo>
                  <a:pt x="654740" y="191060"/>
                  <a:pt x="641035" y="177406"/>
                  <a:pt x="624188" y="177406"/>
                </a:cubicBezTo>
                <a:cubicBezTo>
                  <a:pt x="607341" y="177406"/>
                  <a:pt x="593635" y="191060"/>
                  <a:pt x="593635" y="207843"/>
                </a:cubicBezTo>
                <a:close/>
                <a:moveTo>
                  <a:pt x="652932" y="207843"/>
                </a:moveTo>
                <a:cubicBezTo>
                  <a:pt x="652932" y="224626"/>
                  <a:pt x="666638" y="238280"/>
                  <a:pt x="683485" y="238280"/>
                </a:cubicBezTo>
                <a:cubicBezTo>
                  <a:pt x="700332" y="238280"/>
                  <a:pt x="714037" y="224626"/>
                  <a:pt x="714037" y="207843"/>
                </a:cubicBezTo>
                <a:cubicBezTo>
                  <a:pt x="714037" y="191060"/>
                  <a:pt x="700332" y="177406"/>
                  <a:pt x="683485" y="177406"/>
                </a:cubicBezTo>
                <a:cubicBezTo>
                  <a:pt x="666638" y="177406"/>
                  <a:pt x="652932" y="191060"/>
                  <a:pt x="652932" y="207843"/>
                </a:cubicBezTo>
                <a:close/>
                <a:moveTo>
                  <a:pt x="771621" y="207843"/>
                </a:moveTo>
                <a:cubicBezTo>
                  <a:pt x="771621" y="224626"/>
                  <a:pt x="785327" y="238280"/>
                  <a:pt x="802174" y="238280"/>
                </a:cubicBezTo>
                <a:cubicBezTo>
                  <a:pt x="819021" y="238280"/>
                  <a:pt x="832726" y="224626"/>
                  <a:pt x="832726" y="207843"/>
                </a:cubicBezTo>
                <a:cubicBezTo>
                  <a:pt x="832726" y="191060"/>
                  <a:pt x="819021" y="177406"/>
                  <a:pt x="802174" y="177406"/>
                </a:cubicBezTo>
                <a:cubicBezTo>
                  <a:pt x="785327" y="177406"/>
                  <a:pt x="771621" y="191060"/>
                  <a:pt x="771621" y="207843"/>
                </a:cubicBezTo>
                <a:close/>
                <a:moveTo>
                  <a:pt x="831013" y="207843"/>
                </a:moveTo>
                <a:cubicBezTo>
                  <a:pt x="831013" y="224626"/>
                  <a:pt x="844719" y="238280"/>
                  <a:pt x="861566" y="238280"/>
                </a:cubicBezTo>
                <a:cubicBezTo>
                  <a:pt x="878413" y="238280"/>
                  <a:pt x="892118" y="224626"/>
                  <a:pt x="892118" y="207843"/>
                </a:cubicBezTo>
                <a:cubicBezTo>
                  <a:pt x="892118" y="191060"/>
                  <a:pt x="878413" y="177406"/>
                  <a:pt x="861566" y="177406"/>
                </a:cubicBezTo>
                <a:cubicBezTo>
                  <a:pt x="844719" y="177406"/>
                  <a:pt x="831013" y="191060"/>
                  <a:pt x="831013" y="207843"/>
                </a:cubicBezTo>
                <a:close/>
                <a:moveTo>
                  <a:pt x="474851" y="266915"/>
                </a:moveTo>
                <a:cubicBezTo>
                  <a:pt x="474851" y="283698"/>
                  <a:pt x="488557" y="297352"/>
                  <a:pt x="505404" y="297352"/>
                </a:cubicBezTo>
                <a:cubicBezTo>
                  <a:pt x="522250" y="297352"/>
                  <a:pt x="535956" y="283698"/>
                  <a:pt x="535956" y="266915"/>
                </a:cubicBezTo>
                <a:cubicBezTo>
                  <a:pt x="535956" y="250133"/>
                  <a:pt x="522250" y="236479"/>
                  <a:pt x="505404" y="236479"/>
                </a:cubicBezTo>
                <a:cubicBezTo>
                  <a:pt x="488557" y="236479"/>
                  <a:pt x="474851" y="250133"/>
                  <a:pt x="474851" y="266915"/>
                </a:cubicBezTo>
                <a:close/>
                <a:moveTo>
                  <a:pt x="652932" y="266915"/>
                </a:moveTo>
                <a:cubicBezTo>
                  <a:pt x="652932" y="283698"/>
                  <a:pt x="666638" y="297352"/>
                  <a:pt x="683485" y="297352"/>
                </a:cubicBezTo>
                <a:cubicBezTo>
                  <a:pt x="700332" y="297352"/>
                  <a:pt x="714037" y="283698"/>
                  <a:pt x="714037" y="266915"/>
                </a:cubicBezTo>
                <a:cubicBezTo>
                  <a:pt x="714037" y="250133"/>
                  <a:pt x="700332" y="236479"/>
                  <a:pt x="683485" y="236479"/>
                </a:cubicBezTo>
                <a:cubicBezTo>
                  <a:pt x="666638" y="236479"/>
                  <a:pt x="652932" y="250133"/>
                  <a:pt x="652932" y="266915"/>
                </a:cubicBezTo>
                <a:close/>
                <a:moveTo>
                  <a:pt x="712324" y="266915"/>
                </a:moveTo>
                <a:cubicBezTo>
                  <a:pt x="712324" y="283698"/>
                  <a:pt x="726030" y="297352"/>
                  <a:pt x="742877" y="297352"/>
                </a:cubicBezTo>
                <a:cubicBezTo>
                  <a:pt x="759724" y="297352"/>
                  <a:pt x="773429" y="283698"/>
                  <a:pt x="773429" y="266915"/>
                </a:cubicBezTo>
                <a:cubicBezTo>
                  <a:pt x="773429" y="250133"/>
                  <a:pt x="759724" y="236479"/>
                  <a:pt x="742877" y="236479"/>
                </a:cubicBezTo>
                <a:cubicBezTo>
                  <a:pt x="726030" y="236479"/>
                  <a:pt x="712324" y="250133"/>
                  <a:pt x="712324" y="266915"/>
                </a:cubicBezTo>
                <a:close/>
                <a:moveTo>
                  <a:pt x="831013" y="266915"/>
                </a:moveTo>
                <a:cubicBezTo>
                  <a:pt x="831013" y="283698"/>
                  <a:pt x="844719" y="297352"/>
                  <a:pt x="861566" y="297352"/>
                </a:cubicBezTo>
                <a:cubicBezTo>
                  <a:pt x="878413" y="297352"/>
                  <a:pt x="892118" y="283698"/>
                  <a:pt x="892118" y="266915"/>
                </a:cubicBezTo>
                <a:cubicBezTo>
                  <a:pt x="892118" y="250133"/>
                  <a:pt x="878413" y="236479"/>
                  <a:pt x="861566" y="236479"/>
                </a:cubicBezTo>
                <a:cubicBezTo>
                  <a:pt x="844719" y="236479"/>
                  <a:pt x="831013" y="250133"/>
                  <a:pt x="831013" y="266915"/>
                </a:cubicBezTo>
                <a:close/>
                <a:moveTo>
                  <a:pt x="474851" y="326083"/>
                </a:moveTo>
                <a:cubicBezTo>
                  <a:pt x="474851" y="342866"/>
                  <a:pt x="488557" y="356519"/>
                  <a:pt x="505404" y="356519"/>
                </a:cubicBezTo>
                <a:cubicBezTo>
                  <a:pt x="522250" y="356519"/>
                  <a:pt x="535956" y="342866"/>
                  <a:pt x="535956" y="326083"/>
                </a:cubicBezTo>
                <a:cubicBezTo>
                  <a:pt x="535956" y="309300"/>
                  <a:pt x="522250" y="295646"/>
                  <a:pt x="505404" y="295646"/>
                </a:cubicBezTo>
                <a:cubicBezTo>
                  <a:pt x="488557" y="295646"/>
                  <a:pt x="474851" y="309300"/>
                  <a:pt x="474851" y="326083"/>
                </a:cubicBezTo>
                <a:close/>
                <a:moveTo>
                  <a:pt x="593635" y="326083"/>
                </a:moveTo>
                <a:cubicBezTo>
                  <a:pt x="593635" y="342866"/>
                  <a:pt x="607341" y="356519"/>
                  <a:pt x="624188" y="356519"/>
                </a:cubicBezTo>
                <a:cubicBezTo>
                  <a:pt x="641035" y="356519"/>
                  <a:pt x="654740" y="342866"/>
                  <a:pt x="654740" y="326083"/>
                </a:cubicBezTo>
                <a:cubicBezTo>
                  <a:pt x="654740" y="309300"/>
                  <a:pt x="641035" y="295646"/>
                  <a:pt x="624188" y="295646"/>
                </a:cubicBezTo>
                <a:cubicBezTo>
                  <a:pt x="607341" y="295646"/>
                  <a:pt x="593635" y="309300"/>
                  <a:pt x="593635" y="326083"/>
                </a:cubicBezTo>
                <a:close/>
                <a:moveTo>
                  <a:pt x="831013" y="326083"/>
                </a:moveTo>
                <a:cubicBezTo>
                  <a:pt x="831013" y="342866"/>
                  <a:pt x="844719" y="356519"/>
                  <a:pt x="861566" y="356519"/>
                </a:cubicBezTo>
                <a:cubicBezTo>
                  <a:pt x="878413" y="356519"/>
                  <a:pt x="892118" y="342866"/>
                  <a:pt x="892118" y="326083"/>
                </a:cubicBezTo>
                <a:cubicBezTo>
                  <a:pt x="892118" y="309300"/>
                  <a:pt x="878413" y="295646"/>
                  <a:pt x="861566" y="295646"/>
                </a:cubicBezTo>
                <a:cubicBezTo>
                  <a:pt x="844719" y="295646"/>
                  <a:pt x="831013" y="309300"/>
                  <a:pt x="831013" y="326083"/>
                </a:cubicBezTo>
                <a:close/>
                <a:moveTo>
                  <a:pt x="890310" y="326083"/>
                </a:moveTo>
                <a:cubicBezTo>
                  <a:pt x="890310" y="342866"/>
                  <a:pt x="904016" y="356519"/>
                  <a:pt x="920863" y="356519"/>
                </a:cubicBezTo>
                <a:cubicBezTo>
                  <a:pt x="937709" y="356519"/>
                  <a:pt x="951415" y="342866"/>
                  <a:pt x="951415" y="326083"/>
                </a:cubicBezTo>
                <a:cubicBezTo>
                  <a:pt x="951415" y="309300"/>
                  <a:pt x="937709" y="295646"/>
                  <a:pt x="920863" y="295646"/>
                </a:cubicBezTo>
                <a:cubicBezTo>
                  <a:pt x="904016" y="295646"/>
                  <a:pt x="890310" y="309300"/>
                  <a:pt x="890310" y="326083"/>
                </a:cubicBezTo>
                <a:close/>
                <a:moveTo>
                  <a:pt x="949702" y="326083"/>
                </a:moveTo>
                <a:cubicBezTo>
                  <a:pt x="949702" y="342866"/>
                  <a:pt x="963408" y="356519"/>
                  <a:pt x="980255" y="356519"/>
                </a:cubicBezTo>
                <a:cubicBezTo>
                  <a:pt x="997101" y="356519"/>
                  <a:pt x="1010807" y="342866"/>
                  <a:pt x="1010807" y="326083"/>
                </a:cubicBezTo>
                <a:cubicBezTo>
                  <a:pt x="1010807" y="309300"/>
                  <a:pt x="997101" y="295646"/>
                  <a:pt x="980255" y="295646"/>
                </a:cubicBezTo>
                <a:cubicBezTo>
                  <a:pt x="963408" y="295646"/>
                  <a:pt x="949702" y="309300"/>
                  <a:pt x="949702" y="326083"/>
                </a:cubicBezTo>
                <a:close/>
                <a:moveTo>
                  <a:pt x="474851" y="385155"/>
                </a:moveTo>
                <a:cubicBezTo>
                  <a:pt x="474851" y="401938"/>
                  <a:pt x="488557" y="415592"/>
                  <a:pt x="505404" y="415592"/>
                </a:cubicBezTo>
                <a:cubicBezTo>
                  <a:pt x="522250" y="415592"/>
                  <a:pt x="535956" y="401938"/>
                  <a:pt x="535956" y="385155"/>
                </a:cubicBezTo>
                <a:cubicBezTo>
                  <a:pt x="535956" y="368372"/>
                  <a:pt x="522250" y="354718"/>
                  <a:pt x="505404" y="354718"/>
                </a:cubicBezTo>
                <a:cubicBezTo>
                  <a:pt x="488557" y="354718"/>
                  <a:pt x="474851" y="368372"/>
                  <a:pt x="474851" y="385155"/>
                </a:cubicBezTo>
                <a:close/>
                <a:moveTo>
                  <a:pt x="593635" y="385155"/>
                </a:moveTo>
                <a:cubicBezTo>
                  <a:pt x="593635" y="401938"/>
                  <a:pt x="607341" y="415592"/>
                  <a:pt x="624188" y="415592"/>
                </a:cubicBezTo>
                <a:cubicBezTo>
                  <a:pt x="641035" y="415592"/>
                  <a:pt x="654740" y="401938"/>
                  <a:pt x="654740" y="385155"/>
                </a:cubicBezTo>
                <a:cubicBezTo>
                  <a:pt x="654740" y="368372"/>
                  <a:pt x="641035" y="354718"/>
                  <a:pt x="624188" y="354718"/>
                </a:cubicBezTo>
                <a:cubicBezTo>
                  <a:pt x="607341" y="354718"/>
                  <a:pt x="593635" y="368372"/>
                  <a:pt x="593635" y="385155"/>
                </a:cubicBezTo>
                <a:close/>
                <a:moveTo>
                  <a:pt x="712324" y="385155"/>
                </a:moveTo>
                <a:cubicBezTo>
                  <a:pt x="712324" y="401938"/>
                  <a:pt x="726030" y="415592"/>
                  <a:pt x="742877" y="415592"/>
                </a:cubicBezTo>
                <a:cubicBezTo>
                  <a:pt x="759724" y="415592"/>
                  <a:pt x="773429" y="401938"/>
                  <a:pt x="773429" y="385155"/>
                </a:cubicBezTo>
                <a:cubicBezTo>
                  <a:pt x="773429" y="368372"/>
                  <a:pt x="759724" y="354718"/>
                  <a:pt x="742877" y="354718"/>
                </a:cubicBezTo>
                <a:cubicBezTo>
                  <a:pt x="726030" y="354718"/>
                  <a:pt x="712324" y="368372"/>
                  <a:pt x="712324" y="385155"/>
                </a:cubicBezTo>
                <a:close/>
                <a:moveTo>
                  <a:pt x="831013" y="385155"/>
                </a:moveTo>
                <a:cubicBezTo>
                  <a:pt x="831013" y="401938"/>
                  <a:pt x="844719" y="415592"/>
                  <a:pt x="861566" y="415592"/>
                </a:cubicBezTo>
                <a:cubicBezTo>
                  <a:pt x="878413" y="415592"/>
                  <a:pt x="892118" y="401938"/>
                  <a:pt x="892118" y="385155"/>
                </a:cubicBezTo>
                <a:cubicBezTo>
                  <a:pt x="892118" y="368372"/>
                  <a:pt x="878413" y="354718"/>
                  <a:pt x="861566" y="354718"/>
                </a:cubicBezTo>
                <a:cubicBezTo>
                  <a:pt x="844719" y="354718"/>
                  <a:pt x="831013" y="368372"/>
                  <a:pt x="831013" y="385155"/>
                </a:cubicBezTo>
                <a:close/>
                <a:moveTo>
                  <a:pt x="949702" y="385155"/>
                </a:moveTo>
                <a:cubicBezTo>
                  <a:pt x="949702" y="401938"/>
                  <a:pt x="963408" y="415592"/>
                  <a:pt x="980255" y="415592"/>
                </a:cubicBezTo>
                <a:cubicBezTo>
                  <a:pt x="997101" y="415592"/>
                  <a:pt x="1010807" y="401938"/>
                  <a:pt x="1010807" y="385155"/>
                </a:cubicBezTo>
                <a:cubicBezTo>
                  <a:pt x="1010807" y="368372"/>
                  <a:pt x="997101" y="354718"/>
                  <a:pt x="980255" y="354718"/>
                </a:cubicBezTo>
                <a:cubicBezTo>
                  <a:pt x="963408" y="354718"/>
                  <a:pt x="949702" y="368372"/>
                  <a:pt x="949702" y="385155"/>
                </a:cubicBezTo>
                <a:close/>
                <a:moveTo>
                  <a:pt x="474851" y="444322"/>
                </a:moveTo>
                <a:cubicBezTo>
                  <a:pt x="474851" y="461105"/>
                  <a:pt x="488557" y="474759"/>
                  <a:pt x="505404" y="474759"/>
                </a:cubicBezTo>
                <a:cubicBezTo>
                  <a:pt x="522250" y="474759"/>
                  <a:pt x="535956" y="461105"/>
                  <a:pt x="535956" y="444322"/>
                </a:cubicBezTo>
                <a:cubicBezTo>
                  <a:pt x="535956" y="427539"/>
                  <a:pt x="522250" y="413885"/>
                  <a:pt x="505404" y="413885"/>
                </a:cubicBezTo>
                <a:cubicBezTo>
                  <a:pt x="488557" y="413885"/>
                  <a:pt x="474851" y="427539"/>
                  <a:pt x="474851" y="444322"/>
                </a:cubicBezTo>
                <a:close/>
                <a:moveTo>
                  <a:pt x="831013" y="444322"/>
                </a:moveTo>
                <a:cubicBezTo>
                  <a:pt x="831013" y="461105"/>
                  <a:pt x="844719" y="474759"/>
                  <a:pt x="861566" y="474759"/>
                </a:cubicBezTo>
                <a:cubicBezTo>
                  <a:pt x="878413" y="474759"/>
                  <a:pt x="892118" y="461105"/>
                  <a:pt x="892118" y="444322"/>
                </a:cubicBezTo>
                <a:cubicBezTo>
                  <a:pt x="892118" y="427539"/>
                  <a:pt x="878413" y="413885"/>
                  <a:pt x="861566" y="413885"/>
                </a:cubicBezTo>
                <a:cubicBezTo>
                  <a:pt x="844719" y="413885"/>
                  <a:pt x="831013" y="427539"/>
                  <a:pt x="831013" y="444322"/>
                </a:cubicBezTo>
                <a:close/>
                <a:moveTo>
                  <a:pt x="890310" y="444322"/>
                </a:moveTo>
                <a:cubicBezTo>
                  <a:pt x="890310" y="461105"/>
                  <a:pt x="904016" y="474759"/>
                  <a:pt x="920863" y="474759"/>
                </a:cubicBezTo>
                <a:cubicBezTo>
                  <a:pt x="937709" y="474759"/>
                  <a:pt x="951415" y="461105"/>
                  <a:pt x="951415" y="444322"/>
                </a:cubicBezTo>
                <a:cubicBezTo>
                  <a:pt x="951415" y="427539"/>
                  <a:pt x="937709" y="413885"/>
                  <a:pt x="920863" y="413885"/>
                </a:cubicBezTo>
                <a:cubicBezTo>
                  <a:pt x="904016" y="413885"/>
                  <a:pt x="890310" y="427539"/>
                  <a:pt x="890310" y="444322"/>
                </a:cubicBezTo>
                <a:close/>
                <a:moveTo>
                  <a:pt x="95" y="503394"/>
                </a:moveTo>
                <a:cubicBezTo>
                  <a:pt x="95" y="520177"/>
                  <a:pt x="13801" y="533831"/>
                  <a:pt x="30648" y="533831"/>
                </a:cubicBezTo>
                <a:cubicBezTo>
                  <a:pt x="47495" y="533831"/>
                  <a:pt x="61200" y="520177"/>
                  <a:pt x="61200" y="503394"/>
                </a:cubicBezTo>
                <a:cubicBezTo>
                  <a:pt x="61200" y="486611"/>
                  <a:pt x="47495" y="472957"/>
                  <a:pt x="30648" y="472957"/>
                </a:cubicBezTo>
                <a:cubicBezTo>
                  <a:pt x="13801" y="472957"/>
                  <a:pt x="95" y="486611"/>
                  <a:pt x="95" y="503394"/>
                </a:cubicBezTo>
                <a:close/>
                <a:moveTo>
                  <a:pt x="118784" y="503394"/>
                </a:moveTo>
                <a:cubicBezTo>
                  <a:pt x="118784" y="520177"/>
                  <a:pt x="132490" y="533831"/>
                  <a:pt x="149337" y="533831"/>
                </a:cubicBezTo>
                <a:cubicBezTo>
                  <a:pt x="166184" y="533831"/>
                  <a:pt x="179889" y="520177"/>
                  <a:pt x="179889" y="503394"/>
                </a:cubicBezTo>
                <a:cubicBezTo>
                  <a:pt x="179889" y="486611"/>
                  <a:pt x="166184" y="472957"/>
                  <a:pt x="149337" y="472957"/>
                </a:cubicBezTo>
                <a:cubicBezTo>
                  <a:pt x="132490" y="472957"/>
                  <a:pt x="118784" y="486611"/>
                  <a:pt x="118784" y="503394"/>
                </a:cubicBezTo>
                <a:close/>
                <a:moveTo>
                  <a:pt x="178081" y="503394"/>
                </a:moveTo>
                <a:cubicBezTo>
                  <a:pt x="178081" y="520177"/>
                  <a:pt x="191787" y="533831"/>
                  <a:pt x="208634" y="533831"/>
                </a:cubicBezTo>
                <a:cubicBezTo>
                  <a:pt x="225480" y="533831"/>
                  <a:pt x="239186" y="520177"/>
                  <a:pt x="239186" y="503394"/>
                </a:cubicBezTo>
                <a:cubicBezTo>
                  <a:pt x="239186" y="486611"/>
                  <a:pt x="225480" y="472957"/>
                  <a:pt x="208634" y="472957"/>
                </a:cubicBezTo>
                <a:cubicBezTo>
                  <a:pt x="191787" y="472957"/>
                  <a:pt x="178081" y="486611"/>
                  <a:pt x="178081" y="503394"/>
                </a:cubicBezTo>
                <a:close/>
                <a:moveTo>
                  <a:pt x="237473" y="503394"/>
                </a:moveTo>
                <a:cubicBezTo>
                  <a:pt x="237473" y="520177"/>
                  <a:pt x="251179" y="533831"/>
                  <a:pt x="268026" y="533831"/>
                </a:cubicBezTo>
                <a:cubicBezTo>
                  <a:pt x="284873" y="533831"/>
                  <a:pt x="298578" y="520177"/>
                  <a:pt x="298578" y="503394"/>
                </a:cubicBezTo>
                <a:cubicBezTo>
                  <a:pt x="298578" y="486611"/>
                  <a:pt x="284873" y="472957"/>
                  <a:pt x="268026" y="472957"/>
                </a:cubicBezTo>
                <a:cubicBezTo>
                  <a:pt x="251179" y="472957"/>
                  <a:pt x="237473" y="486611"/>
                  <a:pt x="237473" y="503394"/>
                </a:cubicBezTo>
                <a:close/>
                <a:moveTo>
                  <a:pt x="296865" y="503394"/>
                </a:moveTo>
                <a:cubicBezTo>
                  <a:pt x="296865" y="520177"/>
                  <a:pt x="310571" y="533831"/>
                  <a:pt x="327418" y="533831"/>
                </a:cubicBezTo>
                <a:cubicBezTo>
                  <a:pt x="344265" y="533831"/>
                  <a:pt x="357970" y="520177"/>
                  <a:pt x="357970" y="503394"/>
                </a:cubicBezTo>
                <a:cubicBezTo>
                  <a:pt x="357970" y="486611"/>
                  <a:pt x="344265" y="472957"/>
                  <a:pt x="327418" y="472957"/>
                </a:cubicBezTo>
                <a:cubicBezTo>
                  <a:pt x="310571" y="472957"/>
                  <a:pt x="296865" y="486611"/>
                  <a:pt x="296865" y="503394"/>
                </a:cubicBezTo>
                <a:close/>
                <a:moveTo>
                  <a:pt x="356162" y="503394"/>
                </a:moveTo>
                <a:cubicBezTo>
                  <a:pt x="356162" y="520177"/>
                  <a:pt x="369868" y="533831"/>
                  <a:pt x="386715" y="533831"/>
                </a:cubicBezTo>
                <a:cubicBezTo>
                  <a:pt x="403562" y="533831"/>
                  <a:pt x="417267" y="520177"/>
                  <a:pt x="417267" y="503394"/>
                </a:cubicBezTo>
                <a:cubicBezTo>
                  <a:pt x="417267" y="486611"/>
                  <a:pt x="403562" y="472957"/>
                  <a:pt x="386715" y="472957"/>
                </a:cubicBezTo>
                <a:cubicBezTo>
                  <a:pt x="369868" y="472957"/>
                  <a:pt x="356162" y="486611"/>
                  <a:pt x="356162" y="503394"/>
                </a:cubicBezTo>
                <a:close/>
                <a:moveTo>
                  <a:pt x="534243" y="503394"/>
                </a:moveTo>
                <a:cubicBezTo>
                  <a:pt x="534243" y="520177"/>
                  <a:pt x="547949" y="533831"/>
                  <a:pt x="564796" y="533831"/>
                </a:cubicBezTo>
                <a:cubicBezTo>
                  <a:pt x="581643" y="533831"/>
                  <a:pt x="595348" y="520177"/>
                  <a:pt x="595348" y="503394"/>
                </a:cubicBezTo>
                <a:cubicBezTo>
                  <a:pt x="595348" y="486611"/>
                  <a:pt x="581643" y="472957"/>
                  <a:pt x="564796" y="472957"/>
                </a:cubicBezTo>
                <a:cubicBezTo>
                  <a:pt x="547949" y="472957"/>
                  <a:pt x="534243" y="486611"/>
                  <a:pt x="534243" y="503394"/>
                </a:cubicBezTo>
                <a:close/>
                <a:moveTo>
                  <a:pt x="712324" y="503394"/>
                </a:moveTo>
                <a:cubicBezTo>
                  <a:pt x="712324" y="520177"/>
                  <a:pt x="726030" y="533831"/>
                  <a:pt x="742877" y="533831"/>
                </a:cubicBezTo>
                <a:cubicBezTo>
                  <a:pt x="759724" y="533831"/>
                  <a:pt x="773429" y="520177"/>
                  <a:pt x="773429" y="503394"/>
                </a:cubicBezTo>
                <a:cubicBezTo>
                  <a:pt x="773429" y="486611"/>
                  <a:pt x="759724" y="472957"/>
                  <a:pt x="742877" y="472957"/>
                </a:cubicBezTo>
                <a:cubicBezTo>
                  <a:pt x="726030" y="472957"/>
                  <a:pt x="712324" y="486611"/>
                  <a:pt x="712324" y="503394"/>
                </a:cubicBezTo>
                <a:close/>
                <a:moveTo>
                  <a:pt x="771621" y="503394"/>
                </a:moveTo>
                <a:cubicBezTo>
                  <a:pt x="771621" y="520177"/>
                  <a:pt x="785327" y="533831"/>
                  <a:pt x="802174" y="533831"/>
                </a:cubicBezTo>
                <a:cubicBezTo>
                  <a:pt x="819021" y="533831"/>
                  <a:pt x="832726" y="520177"/>
                  <a:pt x="832726" y="503394"/>
                </a:cubicBezTo>
                <a:cubicBezTo>
                  <a:pt x="832726" y="486611"/>
                  <a:pt x="819021" y="472957"/>
                  <a:pt x="802174" y="472957"/>
                </a:cubicBezTo>
                <a:cubicBezTo>
                  <a:pt x="785327" y="472957"/>
                  <a:pt x="771621" y="486611"/>
                  <a:pt x="771621" y="503394"/>
                </a:cubicBezTo>
                <a:close/>
                <a:moveTo>
                  <a:pt x="949702" y="503394"/>
                </a:moveTo>
                <a:cubicBezTo>
                  <a:pt x="949702" y="520177"/>
                  <a:pt x="963408" y="533831"/>
                  <a:pt x="980255" y="533831"/>
                </a:cubicBezTo>
                <a:cubicBezTo>
                  <a:pt x="997101" y="533831"/>
                  <a:pt x="1010807" y="520177"/>
                  <a:pt x="1010807" y="503394"/>
                </a:cubicBezTo>
                <a:cubicBezTo>
                  <a:pt x="1010807" y="486611"/>
                  <a:pt x="997101" y="472957"/>
                  <a:pt x="980255" y="472957"/>
                </a:cubicBezTo>
                <a:cubicBezTo>
                  <a:pt x="963408" y="472957"/>
                  <a:pt x="949702" y="486611"/>
                  <a:pt x="949702" y="503394"/>
                </a:cubicBezTo>
                <a:close/>
                <a:moveTo>
                  <a:pt x="1068391" y="503394"/>
                </a:moveTo>
                <a:cubicBezTo>
                  <a:pt x="1068391" y="520177"/>
                  <a:pt x="1082097" y="533831"/>
                  <a:pt x="1098944" y="533831"/>
                </a:cubicBezTo>
                <a:cubicBezTo>
                  <a:pt x="1115790" y="533831"/>
                  <a:pt x="1129496" y="520177"/>
                  <a:pt x="1129496" y="503394"/>
                </a:cubicBezTo>
                <a:cubicBezTo>
                  <a:pt x="1129496" y="486611"/>
                  <a:pt x="1115790" y="472957"/>
                  <a:pt x="1098944" y="472957"/>
                </a:cubicBezTo>
                <a:cubicBezTo>
                  <a:pt x="1082097" y="472957"/>
                  <a:pt x="1068391" y="486611"/>
                  <a:pt x="1068391" y="503394"/>
                </a:cubicBezTo>
                <a:close/>
                <a:moveTo>
                  <a:pt x="1127783" y="503394"/>
                </a:moveTo>
                <a:cubicBezTo>
                  <a:pt x="1127783" y="520177"/>
                  <a:pt x="1141489" y="533831"/>
                  <a:pt x="1158336" y="533831"/>
                </a:cubicBezTo>
                <a:cubicBezTo>
                  <a:pt x="1175183" y="533831"/>
                  <a:pt x="1188888" y="520177"/>
                  <a:pt x="1188888" y="503394"/>
                </a:cubicBezTo>
                <a:cubicBezTo>
                  <a:pt x="1188888" y="486611"/>
                  <a:pt x="1175183" y="472957"/>
                  <a:pt x="1158336" y="472957"/>
                </a:cubicBezTo>
                <a:cubicBezTo>
                  <a:pt x="1141489" y="472957"/>
                  <a:pt x="1127783" y="486611"/>
                  <a:pt x="1127783" y="503394"/>
                </a:cubicBezTo>
                <a:close/>
                <a:moveTo>
                  <a:pt x="1187080" y="503394"/>
                </a:moveTo>
                <a:cubicBezTo>
                  <a:pt x="1187080" y="520177"/>
                  <a:pt x="1200786" y="533831"/>
                  <a:pt x="1217633" y="533831"/>
                </a:cubicBezTo>
                <a:cubicBezTo>
                  <a:pt x="1234479" y="533831"/>
                  <a:pt x="1248185" y="520177"/>
                  <a:pt x="1248185" y="503394"/>
                </a:cubicBezTo>
                <a:cubicBezTo>
                  <a:pt x="1248185" y="486611"/>
                  <a:pt x="1234479" y="472957"/>
                  <a:pt x="1217633" y="472957"/>
                </a:cubicBezTo>
                <a:cubicBezTo>
                  <a:pt x="1200786" y="472957"/>
                  <a:pt x="1187080" y="486611"/>
                  <a:pt x="1187080" y="503394"/>
                </a:cubicBezTo>
                <a:close/>
                <a:moveTo>
                  <a:pt x="1246472" y="503394"/>
                </a:moveTo>
                <a:cubicBezTo>
                  <a:pt x="1246472" y="520177"/>
                  <a:pt x="1260178" y="533831"/>
                  <a:pt x="1277025" y="533831"/>
                </a:cubicBezTo>
                <a:cubicBezTo>
                  <a:pt x="1293872" y="533831"/>
                  <a:pt x="1307577" y="520177"/>
                  <a:pt x="1307577" y="503394"/>
                </a:cubicBezTo>
                <a:cubicBezTo>
                  <a:pt x="1307577" y="486611"/>
                  <a:pt x="1293872" y="472957"/>
                  <a:pt x="1277025" y="472957"/>
                </a:cubicBezTo>
                <a:cubicBezTo>
                  <a:pt x="1260178" y="472957"/>
                  <a:pt x="1246472" y="486611"/>
                  <a:pt x="1246472" y="503394"/>
                </a:cubicBezTo>
                <a:close/>
                <a:moveTo>
                  <a:pt x="1305769" y="503394"/>
                </a:moveTo>
                <a:cubicBezTo>
                  <a:pt x="1305769" y="520177"/>
                  <a:pt x="1319475" y="533831"/>
                  <a:pt x="1336322" y="533831"/>
                </a:cubicBezTo>
                <a:cubicBezTo>
                  <a:pt x="1353168" y="533831"/>
                  <a:pt x="1366874" y="520177"/>
                  <a:pt x="1366874" y="503394"/>
                </a:cubicBezTo>
                <a:cubicBezTo>
                  <a:pt x="1366874" y="486611"/>
                  <a:pt x="1353168" y="472957"/>
                  <a:pt x="1336322" y="472957"/>
                </a:cubicBezTo>
                <a:cubicBezTo>
                  <a:pt x="1319475" y="472957"/>
                  <a:pt x="1305769" y="486611"/>
                  <a:pt x="1305769" y="503394"/>
                </a:cubicBezTo>
                <a:close/>
                <a:moveTo>
                  <a:pt x="95" y="562561"/>
                </a:moveTo>
                <a:cubicBezTo>
                  <a:pt x="95" y="579344"/>
                  <a:pt x="13801" y="592998"/>
                  <a:pt x="30648" y="592998"/>
                </a:cubicBezTo>
                <a:cubicBezTo>
                  <a:pt x="47495" y="592998"/>
                  <a:pt x="61200" y="579344"/>
                  <a:pt x="61200" y="562561"/>
                </a:cubicBezTo>
                <a:cubicBezTo>
                  <a:pt x="61200" y="545778"/>
                  <a:pt x="47495" y="532124"/>
                  <a:pt x="30648" y="532124"/>
                </a:cubicBezTo>
                <a:cubicBezTo>
                  <a:pt x="13801" y="532124"/>
                  <a:pt x="95" y="545778"/>
                  <a:pt x="95" y="562561"/>
                </a:cubicBezTo>
                <a:close/>
                <a:moveTo>
                  <a:pt x="118784" y="562561"/>
                </a:moveTo>
                <a:cubicBezTo>
                  <a:pt x="118784" y="579344"/>
                  <a:pt x="132490" y="592998"/>
                  <a:pt x="149337" y="592998"/>
                </a:cubicBezTo>
                <a:cubicBezTo>
                  <a:pt x="166184" y="592998"/>
                  <a:pt x="179889" y="579344"/>
                  <a:pt x="179889" y="562561"/>
                </a:cubicBezTo>
                <a:cubicBezTo>
                  <a:pt x="179889" y="545778"/>
                  <a:pt x="166184" y="532124"/>
                  <a:pt x="149337" y="532124"/>
                </a:cubicBezTo>
                <a:cubicBezTo>
                  <a:pt x="132490" y="532124"/>
                  <a:pt x="118784" y="545778"/>
                  <a:pt x="118784" y="562561"/>
                </a:cubicBezTo>
                <a:close/>
                <a:moveTo>
                  <a:pt x="237473" y="562561"/>
                </a:moveTo>
                <a:cubicBezTo>
                  <a:pt x="237473" y="579344"/>
                  <a:pt x="251179" y="592998"/>
                  <a:pt x="268026" y="592998"/>
                </a:cubicBezTo>
                <a:cubicBezTo>
                  <a:pt x="284873" y="592998"/>
                  <a:pt x="298578" y="579344"/>
                  <a:pt x="298578" y="562561"/>
                </a:cubicBezTo>
                <a:cubicBezTo>
                  <a:pt x="298578" y="545778"/>
                  <a:pt x="284873" y="532124"/>
                  <a:pt x="268026" y="532124"/>
                </a:cubicBezTo>
                <a:cubicBezTo>
                  <a:pt x="251179" y="532124"/>
                  <a:pt x="237473" y="545778"/>
                  <a:pt x="237473" y="562561"/>
                </a:cubicBezTo>
                <a:close/>
                <a:moveTo>
                  <a:pt x="534243" y="562561"/>
                </a:moveTo>
                <a:cubicBezTo>
                  <a:pt x="534243" y="579344"/>
                  <a:pt x="547949" y="592998"/>
                  <a:pt x="564796" y="592998"/>
                </a:cubicBezTo>
                <a:cubicBezTo>
                  <a:pt x="581643" y="592998"/>
                  <a:pt x="595348" y="579344"/>
                  <a:pt x="595348" y="562561"/>
                </a:cubicBezTo>
                <a:cubicBezTo>
                  <a:pt x="595348" y="545778"/>
                  <a:pt x="581643" y="532124"/>
                  <a:pt x="564796" y="532124"/>
                </a:cubicBezTo>
                <a:cubicBezTo>
                  <a:pt x="547949" y="532124"/>
                  <a:pt x="534243" y="545778"/>
                  <a:pt x="534243" y="562561"/>
                </a:cubicBezTo>
                <a:close/>
                <a:moveTo>
                  <a:pt x="712324" y="562561"/>
                </a:moveTo>
                <a:cubicBezTo>
                  <a:pt x="712324" y="579344"/>
                  <a:pt x="726030" y="592998"/>
                  <a:pt x="742877" y="592998"/>
                </a:cubicBezTo>
                <a:cubicBezTo>
                  <a:pt x="759724" y="592998"/>
                  <a:pt x="773429" y="579344"/>
                  <a:pt x="773429" y="562561"/>
                </a:cubicBezTo>
                <a:cubicBezTo>
                  <a:pt x="773429" y="545778"/>
                  <a:pt x="759724" y="532124"/>
                  <a:pt x="742877" y="532124"/>
                </a:cubicBezTo>
                <a:cubicBezTo>
                  <a:pt x="726030" y="532124"/>
                  <a:pt x="712324" y="545778"/>
                  <a:pt x="712324" y="562561"/>
                </a:cubicBezTo>
                <a:close/>
                <a:moveTo>
                  <a:pt x="771621" y="562561"/>
                </a:moveTo>
                <a:cubicBezTo>
                  <a:pt x="771621" y="579344"/>
                  <a:pt x="785327" y="592998"/>
                  <a:pt x="802174" y="592998"/>
                </a:cubicBezTo>
                <a:cubicBezTo>
                  <a:pt x="819021" y="592998"/>
                  <a:pt x="832726" y="579344"/>
                  <a:pt x="832726" y="562561"/>
                </a:cubicBezTo>
                <a:cubicBezTo>
                  <a:pt x="832726" y="545778"/>
                  <a:pt x="819021" y="532124"/>
                  <a:pt x="802174" y="532124"/>
                </a:cubicBezTo>
                <a:cubicBezTo>
                  <a:pt x="785327" y="532124"/>
                  <a:pt x="771621" y="545778"/>
                  <a:pt x="771621" y="562561"/>
                </a:cubicBezTo>
                <a:close/>
                <a:moveTo>
                  <a:pt x="949702" y="562561"/>
                </a:moveTo>
                <a:cubicBezTo>
                  <a:pt x="949702" y="579344"/>
                  <a:pt x="963408" y="592998"/>
                  <a:pt x="980255" y="592998"/>
                </a:cubicBezTo>
                <a:cubicBezTo>
                  <a:pt x="997101" y="592998"/>
                  <a:pt x="1010807" y="579344"/>
                  <a:pt x="1010807" y="562561"/>
                </a:cubicBezTo>
                <a:cubicBezTo>
                  <a:pt x="1010807" y="545778"/>
                  <a:pt x="997101" y="532124"/>
                  <a:pt x="980255" y="532124"/>
                </a:cubicBezTo>
                <a:cubicBezTo>
                  <a:pt x="963408" y="532124"/>
                  <a:pt x="949702" y="545778"/>
                  <a:pt x="949702" y="562561"/>
                </a:cubicBezTo>
                <a:close/>
                <a:moveTo>
                  <a:pt x="1009094" y="562561"/>
                </a:moveTo>
                <a:cubicBezTo>
                  <a:pt x="1009094" y="579344"/>
                  <a:pt x="1022800" y="592998"/>
                  <a:pt x="1039647" y="592998"/>
                </a:cubicBezTo>
                <a:cubicBezTo>
                  <a:pt x="1056494" y="592998"/>
                  <a:pt x="1070199" y="579344"/>
                  <a:pt x="1070199" y="562561"/>
                </a:cubicBezTo>
                <a:cubicBezTo>
                  <a:pt x="1070199" y="545778"/>
                  <a:pt x="1056494" y="532124"/>
                  <a:pt x="1039647" y="532124"/>
                </a:cubicBezTo>
                <a:cubicBezTo>
                  <a:pt x="1022800" y="532124"/>
                  <a:pt x="1009094" y="545778"/>
                  <a:pt x="1009094" y="562561"/>
                </a:cubicBezTo>
                <a:close/>
                <a:moveTo>
                  <a:pt x="1127783" y="562561"/>
                </a:moveTo>
                <a:cubicBezTo>
                  <a:pt x="1127783" y="579344"/>
                  <a:pt x="1141489" y="592998"/>
                  <a:pt x="1158336" y="592998"/>
                </a:cubicBezTo>
                <a:cubicBezTo>
                  <a:pt x="1175183" y="592998"/>
                  <a:pt x="1188888" y="579344"/>
                  <a:pt x="1188888" y="562561"/>
                </a:cubicBezTo>
                <a:cubicBezTo>
                  <a:pt x="1188888" y="545778"/>
                  <a:pt x="1175183" y="532124"/>
                  <a:pt x="1158336" y="532124"/>
                </a:cubicBezTo>
                <a:cubicBezTo>
                  <a:pt x="1141489" y="532124"/>
                  <a:pt x="1127783" y="545778"/>
                  <a:pt x="1127783" y="562561"/>
                </a:cubicBezTo>
                <a:close/>
                <a:moveTo>
                  <a:pt x="1365161" y="562561"/>
                </a:moveTo>
                <a:cubicBezTo>
                  <a:pt x="1365161" y="579344"/>
                  <a:pt x="1378867" y="592998"/>
                  <a:pt x="1395714" y="592998"/>
                </a:cubicBezTo>
                <a:cubicBezTo>
                  <a:pt x="1412561" y="592998"/>
                  <a:pt x="1426266" y="579344"/>
                  <a:pt x="1426266" y="562561"/>
                </a:cubicBezTo>
                <a:cubicBezTo>
                  <a:pt x="1426266" y="545778"/>
                  <a:pt x="1412561" y="532124"/>
                  <a:pt x="1395714" y="532124"/>
                </a:cubicBezTo>
                <a:cubicBezTo>
                  <a:pt x="1378867" y="532124"/>
                  <a:pt x="1365161" y="545778"/>
                  <a:pt x="1365161" y="562561"/>
                </a:cubicBezTo>
                <a:close/>
                <a:moveTo>
                  <a:pt x="95" y="621728"/>
                </a:moveTo>
                <a:cubicBezTo>
                  <a:pt x="95" y="638511"/>
                  <a:pt x="13801" y="652165"/>
                  <a:pt x="30648" y="652165"/>
                </a:cubicBezTo>
                <a:cubicBezTo>
                  <a:pt x="47495" y="652165"/>
                  <a:pt x="61200" y="638511"/>
                  <a:pt x="61200" y="621728"/>
                </a:cubicBezTo>
                <a:cubicBezTo>
                  <a:pt x="61200" y="604945"/>
                  <a:pt x="47495" y="591291"/>
                  <a:pt x="30648" y="591291"/>
                </a:cubicBezTo>
                <a:cubicBezTo>
                  <a:pt x="13801" y="591291"/>
                  <a:pt x="95" y="604945"/>
                  <a:pt x="95" y="621728"/>
                </a:cubicBezTo>
                <a:close/>
                <a:moveTo>
                  <a:pt x="118784" y="621728"/>
                </a:moveTo>
                <a:cubicBezTo>
                  <a:pt x="118784" y="638511"/>
                  <a:pt x="132490" y="652165"/>
                  <a:pt x="149337" y="652165"/>
                </a:cubicBezTo>
                <a:cubicBezTo>
                  <a:pt x="166184" y="652165"/>
                  <a:pt x="179889" y="638511"/>
                  <a:pt x="179889" y="621728"/>
                </a:cubicBezTo>
                <a:cubicBezTo>
                  <a:pt x="179889" y="604945"/>
                  <a:pt x="166184" y="591291"/>
                  <a:pt x="149337" y="591291"/>
                </a:cubicBezTo>
                <a:cubicBezTo>
                  <a:pt x="132490" y="591291"/>
                  <a:pt x="118784" y="604945"/>
                  <a:pt x="118784" y="621728"/>
                </a:cubicBezTo>
                <a:close/>
                <a:moveTo>
                  <a:pt x="237473" y="621728"/>
                </a:moveTo>
                <a:cubicBezTo>
                  <a:pt x="237473" y="638511"/>
                  <a:pt x="251179" y="652165"/>
                  <a:pt x="268026" y="652165"/>
                </a:cubicBezTo>
                <a:cubicBezTo>
                  <a:pt x="284873" y="652165"/>
                  <a:pt x="298578" y="638511"/>
                  <a:pt x="298578" y="621728"/>
                </a:cubicBezTo>
                <a:cubicBezTo>
                  <a:pt x="298578" y="604945"/>
                  <a:pt x="284873" y="591291"/>
                  <a:pt x="268026" y="591291"/>
                </a:cubicBezTo>
                <a:cubicBezTo>
                  <a:pt x="251179" y="591291"/>
                  <a:pt x="237473" y="604945"/>
                  <a:pt x="237473" y="621728"/>
                </a:cubicBezTo>
                <a:close/>
                <a:moveTo>
                  <a:pt x="296865" y="621728"/>
                </a:moveTo>
                <a:cubicBezTo>
                  <a:pt x="296865" y="638511"/>
                  <a:pt x="310571" y="652165"/>
                  <a:pt x="327418" y="652165"/>
                </a:cubicBezTo>
                <a:cubicBezTo>
                  <a:pt x="344265" y="652165"/>
                  <a:pt x="357970" y="638511"/>
                  <a:pt x="357970" y="621728"/>
                </a:cubicBezTo>
                <a:cubicBezTo>
                  <a:pt x="357970" y="604945"/>
                  <a:pt x="344265" y="591291"/>
                  <a:pt x="327418" y="591291"/>
                </a:cubicBezTo>
                <a:cubicBezTo>
                  <a:pt x="310571" y="591291"/>
                  <a:pt x="296865" y="604945"/>
                  <a:pt x="296865" y="621728"/>
                </a:cubicBezTo>
                <a:close/>
                <a:moveTo>
                  <a:pt x="356162" y="621728"/>
                </a:moveTo>
                <a:cubicBezTo>
                  <a:pt x="356162" y="638511"/>
                  <a:pt x="369868" y="652165"/>
                  <a:pt x="386715" y="652165"/>
                </a:cubicBezTo>
                <a:cubicBezTo>
                  <a:pt x="403562" y="652165"/>
                  <a:pt x="417267" y="638511"/>
                  <a:pt x="417267" y="621728"/>
                </a:cubicBezTo>
                <a:cubicBezTo>
                  <a:pt x="417267" y="604945"/>
                  <a:pt x="403562" y="591291"/>
                  <a:pt x="386715" y="591291"/>
                </a:cubicBezTo>
                <a:cubicBezTo>
                  <a:pt x="369868" y="591291"/>
                  <a:pt x="356162" y="604945"/>
                  <a:pt x="356162" y="621728"/>
                </a:cubicBezTo>
                <a:close/>
                <a:moveTo>
                  <a:pt x="474851" y="621728"/>
                </a:moveTo>
                <a:cubicBezTo>
                  <a:pt x="474851" y="638511"/>
                  <a:pt x="488557" y="652165"/>
                  <a:pt x="505404" y="652165"/>
                </a:cubicBezTo>
                <a:cubicBezTo>
                  <a:pt x="522250" y="652165"/>
                  <a:pt x="535956" y="638511"/>
                  <a:pt x="535956" y="621728"/>
                </a:cubicBezTo>
                <a:cubicBezTo>
                  <a:pt x="535956" y="604945"/>
                  <a:pt x="522250" y="591291"/>
                  <a:pt x="505404" y="591291"/>
                </a:cubicBezTo>
                <a:cubicBezTo>
                  <a:pt x="488557" y="591291"/>
                  <a:pt x="474851" y="604945"/>
                  <a:pt x="474851" y="621728"/>
                </a:cubicBezTo>
                <a:close/>
                <a:moveTo>
                  <a:pt x="593635" y="621728"/>
                </a:moveTo>
                <a:cubicBezTo>
                  <a:pt x="593635" y="638511"/>
                  <a:pt x="607341" y="652165"/>
                  <a:pt x="624188" y="652165"/>
                </a:cubicBezTo>
                <a:cubicBezTo>
                  <a:pt x="641035" y="652165"/>
                  <a:pt x="654740" y="638511"/>
                  <a:pt x="654740" y="621728"/>
                </a:cubicBezTo>
                <a:cubicBezTo>
                  <a:pt x="654740" y="604945"/>
                  <a:pt x="641035" y="591291"/>
                  <a:pt x="624188" y="591291"/>
                </a:cubicBezTo>
                <a:cubicBezTo>
                  <a:pt x="607341" y="591291"/>
                  <a:pt x="593635" y="604945"/>
                  <a:pt x="593635" y="621728"/>
                </a:cubicBezTo>
                <a:close/>
                <a:moveTo>
                  <a:pt x="652932" y="621728"/>
                </a:moveTo>
                <a:cubicBezTo>
                  <a:pt x="652932" y="638511"/>
                  <a:pt x="666638" y="652165"/>
                  <a:pt x="683485" y="652165"/>
                </a:cubicBezTo>
                <a:cubicBezTo>
                  <a:pt x="700332" y="652165"/>
                  <a:pt x="714037" y="638511"/>
                  <a:pt x="714037" y="621728"/>
                </a:cubicBezTo>
                <a:cubicBezTo>
                  <a:pt x="714037" y="604945"/>
                  <a:pt x="700332" y="591291"/>
                  <a:pt x="683485" y="591291"/>
                </a:cubicBezTo>
                <a:cubicBezTo>
                  <a:pt x="666638" y="591291"/>
                  <a:pt x="652932" y="604945"/>
                  <a:pt x="652932" y="621728"/>
                </a:cubicBezTo>
                <a:close/>
                <a:moveTo>
                  <a:pt x="712324" y="621728"/>
                </a:moveTo>
                <a:cubicBezTo>
                  <a:pt x="712324" y="638511"/>
                  <a:pt x="726030" y="652165"/>
                  <a:pt x="742877" y="652165"/>
                </a:cubicBezTo>
                <a:cubicBezTo>
                  <a:pt x="759724" y="652165"/>
                  <a:pt x="773429" y="638511"/>
                  <a:pt x="773429" y="621728"/>
                </a:cubicBezTo>
                <a:cubicBezTo>
                  <a:pt x="773429" y="604945"/>
                  <a:pt x="759724" y="591291"/>
                  <a:pt x="742877" y="591291"/>
                </a:cubicBezTo>
                <a:cubicBezTo>
                  <a:pt x="726030" y="591291"/>
                  <a:pt x="712324" y="604945"/>
                  <a:pt x="712324" y="621728"/>
                </a:cubicBezTo>
                <a:close/>
                <a:moveTo>
                  <a:pt x="771621" y="621728"/>
                </a:moveTo>
                <a:cubicBezTo>
                  <a:pt x="771621" y="638511"/>
                  <a:pt x="785327" y="652165"/>
                  <a:pt x="802174" y="652165"/>
                </a:cubicBezTo>
                <a:cubicBezTo>
                  <a:pt x="819021" y="652165"/>
                  <a:pt x="832726" y="638511"/>
                  <a:pt x="832726" y="621728"/>
                </a:cubicBezTo>
                <a:cubicBezTo>
                  <a:pt x="832726" y="604945"/>
                  <a:pt x="819021" y="591291"/>
                  <a:pt x="802174" y="591291"/>
                </a:cubicBezTo>
                <a:cubicBezTo>
                  <a:pt x="785327" y="591291"/>
                  <a:pt x="771621" y="604945"/>
                  <a:pt x="771621" y="621728"/>
                </a:cubicBezTo>
                <a:close/>
                <a:moveTo>
                  <a:pt x="831013" y="621728"/>
                </a:moveTo>
                <a:cubicBezTo>
                  <a:pt x="831013" y="638511"/>
                  <a:pt x="844719" y="652165"/>
                  <a:pt x="861566" y="652165"/>
                </a:cubicBezTo>
                <a:cubicBezTo>
                  <a:pt x="878413" y="652165"/>
                  <a:pt x="892118" y="638511"/>
                  <a:pt x="892118" y="621728"/>
                </a:cubicBezTo>
                <a:cubicBezTo>
                  <a:pt x="892118" y="604945"/>
                  <a:pt x="878413" y="591291"/>
                  <a:pt x="861566" y="591291"/>
                </a:cubicBezTo>
                <a:cubicBezTo>
                  <a:pt x="844719" y="591291"/>
                  <a:pt x="831013" y="604945"/>
                  <a:pt x="831013" y="621728"/>
                </a:cubicBezTo>
                <a:close/>
                <a:moveTo>
                  <a:pt x="890310" y="621728"/>
                </a:moveTo>
                <a:cubicBezTo>
                  <a:pt x="890310" y="638511"/>
                  <a:pt x="904016" y="652165"/>
                  <a:pt x="920863" y="652165"/>
                </a:cubicBezTo>
                <a:cubicBezTo>
                  <a:pt x="937709" y="652165"/>
                  <a:pt x="951415" y="638511"/>
                  <a:pt x="951415" y="621728"/>
                </a:cubicBezTo>
                <a:cubicBezTo>
                  <a:pt x="951415" y="604945"/>
                  <a:pt x="937709" y="591291"/>
                  <a:pt x="920863" y="591291"/>
                </a:cubicBezTo>
                <a:cubicBezTo>
                  <a:pt x="904016" y="591291"/>
                  <a:pt x="890310" y="604945"/>
                  <a:pt x="890310" y="621728"/>
                </a:cubicBezTo>
                <a:close/>
                <a:moveTo>
                  <a:pt x="949702" y="621728"/>
                </a:moveTo>
                <a:cubicBezTo>
                  <a:pt x="949702" y="638511"/>
                  <a:pt x="963408" y="652165"/>
                  <a:pt x="980255" y="652165"/>
                </a:cubicBezTo>
                <a:cubicBezTo>
                  <a:pt x="997101" y="652165"/>
                  <a:pt x="1010807" y="638511"/>
                  <a:pt x="1010807" y="621728"/>
                </a:cubicBezTo>
                <a:cubicBezTo>
                  <a:pt x="1010807" y="604945"/>
                  <a:pt x="997101" y="591291"/>
                  <a:pt x="980255" y="591291"/>
                </a:cubicBezTo>
                <a:cubicBezTo>
                  <a:pt x="963408" y="591291"/>
                  <a:pt x="949702" y="604945"/>
                  <a:pt x="949702" y="621728"/>
                </a:cubicBezTo>
                <a:close/>
                <a:moveTo>
                  <a:pt x="1009094" y="621728"/>
                </a:moveTo>
                <a:cubicBezTo>
                  <a:pt x="1009094" y="638511"/>
                  <a:pt x="1022800" y="652165"/>
                  <a:pt x="1039647" y="652165"/>
                </a:cubicBezTo>
                <a:cubicBezTo>
                  <a:pt x="1056494" y="652165"/>
                  <a:pt x="1070199" y="638511"/>
                  <a:pt x="1070199" y="621728"/>
                </a:cubicBezTo>
                <a:cubicBezTo>
                  <a:pt x="1070199" y="604945"/>
                  <a:pt x="1056494" y="591291"/>
                  <a:pt x="1039647" y="591291"/>
                </a:cubicBezTo>
                <a:cubicBezTo>
                  <a:pt x="1022800" y="591291"/>
                  <a:pt x="1009094" y="604945"/>
                  <a:pt x="1009094" y="621728"/>
                </a:cubicBezTo>
                <a:close/>
                <a:moveTo>
                  <a:pt x="1068391" y="621728"/>
                </a:moveTo>
                <a:cubicBezTo>
                  <a:pt x="1068391" y="638511"/>
                  <a:pt x="1082097" y="652165"/>
                  <a:pt x="1098944" y="652165"/>
                </a:cubicBezTo>
                <a:cubicBezTo>
                  <a:pt x="1115790" y="652165"/>
                  <a:pt x="1129496" y="638511"/>
                  <a:pt x="1129496" y="621728"/>
                </a:cubicBezTo>
                <a:cubicBezTo>
                  <a:pt x="1129496" y="604945"/>
                  <a:pt x="1115790" y="591291"/>
                  <a:pt x="1098944" y="591291"/>
                </a:cubicBezTo>
                <a:cubicBezTo>
                  <a:pt x="1082097" y="591291"/>
                  <a:pt x="1068391" y="604945"/>
                  <a:pt x="1068391" y="621728"/>
                </a:cubicBezTo>
                <a:close/>
                <a:moveTo>
                  <a:pt x="1127783" y="621728"/>
                </a:moveTo>
                <a:cubicBezTo>
                  <a:pt x="1127783" y="638511"/>
                  <a:pt x="1141489" y="652165"/>
                  <a:pt x="1158336" y="652165"/>
                </a:cubicBezTo>
                <a:cubicBezTo>
                  <a:pt x="1175183" y="652165"/>
                  <a:pt x="1188888" y="638511"/>
                  <a:pt x="1188888" y="621728"/>
                </a:cubicBezTo>
                <a:cubicBezTo>
                  <a:pt x="1188888" y="604945"/>
                  <a:pt x="1175183" y="591291"/>
                  <a:pt x="1158336" y="591291"/>
                </a:cubicBezTo>
                <a:cubicBezTo>
                  <a:pt x="1141489" y="591291"/>
                  <a:pt x="1127783" y="604945"/>
                  <a:pt x="1127783" y="621728"/>
                </a:cubicBezTo>
                <a:close/>
                <a:moveTo>
                  <a:pt x="1187080" y="621728"/>
                </a:moveTo>
                <a:cubicBezTo>
                  <a:pt x="1187080" y="638511"/>
                  <a:pt x="1200786" y="652165"/>
                  <a:pt x="1217633" y="652165"/>
                </a:cubicBezTo>
                <a:cubicBezTo>
                  <a:pt x="1234479" y="652165"/>
                  <a:pt x="1248185" y="638511"/>
                  <a:pt x="1248185" y="621728"/>
                </a:cubicBezTo>
                <a:cubicBezTo>
                  <a:pt x="1248185" y="604945"/>
                  <a:pt x="1234479" y="591291"/>
                  <a:pt x="1217633" y="591291"/>
                </a:cubicBezTo>
                <a:cubicBezTo>
                  <a:pt x="1200786" y="591291"/>
                  <a:pt x="1187080" y="604945"/>
                  <a:pt x="1187080" y="621728"/>
                </a:cubicBezTo>
                <a:close/>
                <a:moveTo>
                  <a:pt x="1246472" y="621728"/>
                </a:moveTo>
                <a:cubicBezTo>
                  <a:pt x="1246472" y="638511"/>
                  <a:pt x="1260178" y="652165"/>
                  <a:pt x="1277025" y="652165"/>
                </a:cubicBezTo>
                <a:cubicBezTo>
                  <a:pt x="1293872" y="652165"/>
                  <a:pt x="1307577" y="638511"/>
                  <a:pt x="1307577" y="621728"/>
                </a:cubicBezTo>
                <a:cubicBezTo>
                  <a:pt x="1307577" y="604945"/>
                  <a:pt x="1293872" y="591291"/>
                  <a:pt x="1277025" y="591291"/>
                </a:cubicBezTo>
                <a:cubicBezTo>
                  <a:pt x="1260178" y="591291"/>
                  <a:pt x="1246472" y="604945"/>
                  <a:pt x="1246472" y="621728"/>
                </a:cubicBezTo>
                <a:close/>
                <a:moveTo>
                  <a:pt x="1365161" y="621728"/>
                </a:moveTo>
                <a:cubicBezTo>
                  <a:pt x="1365161" y="638511"/>
                  <a:pt x="1378867" y="652165"/>
                  <a:pt x="1395714" y="652165"/>
                </a:cubicBezTo>
                <a:cubicBezTo>
                  <a:pt x="1412561" y="652165"/>
                  <a:pt x="1426266" y="638511"/>
                  <a:pt x="1426266" y="621728"/>
                </a:cubicBezTo>
                <a:cubicBezTo>
                  <a:pt x="1426266" y="604945"/>
                  <a:pt x="1412561" y="591291"/>
                  <a:pt x="1395714" y="591291"/>
                </a:cubicBezTo>
                <a:cubicBezTo>
                  <a:pt x="1378867" y="591291"/>
                  <a:pt x="1365161" y="604945"/>
                  <a:pt x="1365161" y="621728"/>
                </a:cubicBezTo>
                <a:close/>
                <a:moveTo>
                  <a:pt x="1424553" y="621728"/>
                </a:moveTo>
                <a:cubicBezTo>
                  <a:pt x="1424553" y="638511"/>
                  <a:pt x="1438259" y="652165"/>
                  <a:pt x="1455106" y="652165"/>
                </a:cubicBezTo>
                <a:cubicBezTo>
                  <a:pt x="1471953" y="652165"/>
                  <a:pt x="1485658" y="638511"/>
                  <a:pt x="1485658" y="621728"/>
                </a:cubicBezTo>
                <a:cubicBezTo>
                  <a:pt x="1485658" y="604945"/>
                  <a:pt x="1471953" y="591291"/>
                  <a:pt x="1455106" y="591291"/>
                </a:cubicBezTo>
                <a:cubicBezTo>
                  <a:pt x="1438259" y="591291"/>
                  <a:pt x="1424553" y="604945"/>
                  <a:pt x="1424553" y="621728"/>
                </a:cubicBezTo>
                <a:close/>
                <a:moveTo>
                  <a:pt x="118784" y="680800"/>
                </a:moveTo>
                <a:cubicBezTo>
                  <a:pt x="118784" y="697583"/>
                  <a:pt x="132490" y="711237"/>
                  <a:pt x="149337" y="711237"/>
                </a:cubicBezTo>
                <a:cubicBezTo>
                  <a:pt x="166184" y="711237"/>
                  <a:pt x="179889" y="697583"/>
                  <a:pt x="179889" y="680800"/>
                </a:cubicBezTo>
                <a:cubicBezTo>
                  <a:pt x="179889" y="664018"/>
                  <a:pt x="166184" y="650364"/>
                  <a:pt x="149337" y="650364"/>
                </a:cubicBezTo>
                <a:cubicBezTo>
                  <a:pt x="132490" y="650364"/>
                  <a:pt x="118784" y="664018"/>
                  <a:pt x="118784" y="680800"/>
                </a:cubicBezTo>
                <a:close/>
                <a:moveTo>
                  <a:pt x="178081" y="680800"/>
                </a:moveTo>
                <a:cubicBezTo>
                  <a:pt x="178081" y="697583"/>
                  <a:pt x="191787" y="711237"/>
                  <a:pt x="208634" y="711237"/>
                </a:cubicBezTo>
                <a:cubicBezTo>
                  <a:pt x="225480" y="711237"/>
                  <a:pt x="239186" y="697583"/>
                  <a:pt x="239186" y="680800"/>
                </a:cubicBezTo>
                <a:cubicBezTo>
                  <a:pt x="239186" y="664018"/>
                  <a:pt x="225480" y="650364"/>
                  <a:pt x="208634" y="650364"/>
                </a:cubicBezTo>
                <a:cubicBezTo>
                  <a:pt x="191787" y="650364"/>
                  <a:pt x="178081" y="664018"/>
                  <a:pt x="178081" y="680800"/>
                </a:cubicBezTo>
                <a:close/>
                <a:moveTo>
                  <a:pt x="237473" y="680800"/>
                </a:moveTo>
                <a:cubicBezTo>
                  <a:pt x="237473" y="697583"/>
                  <a:pt x="251179" y="711237"/>
                  <a:pt x="268026" y="711237"/>
                </a:cubicBezTo>
                <a:cubicBezTo>
                  <a:pt x="284873" y="711237"/>
                  <a:pt x="298578" y="697583"/>
                  <a:pt x="298578" y="680800"/>
                </a:cubicBezTo>
                <a:cubicBezTo>
                  <a:pt x="298578" y="664018"/>
                  <a:pt x="284873" y="650364"/>
                  <a:pt x="268026" y="650364"/>
                </a:cubicBezTo>
                <a:cubicBezTo>
                  <a:pt x="251179" y="650364"/>
                  <a:pt x="237473" y="664018"/>
                  <a:pt x="237473" y="680800"/>
                </a:cubicBezTo>
                <a:close/>
                <a:moveTo>
                  <a:pt x="296865" y="680800"/>
                </a:moveTo>
                <a:cubicBezTo>
                  <a:pt x="296865" y="697583"/>
                  <a:pt x="310571" y="711237"/>
                  <a:pt x="327418" y="711237"/>
                </a:cubicBezTo>
                <a:cubicBezTo>
                  <a:pt x="344265" y="711237"/>
                  <a:pt x="357970" y="697583"/>
                  <a:pt x="357970" y="680800"/>
                </a:cubicBezTo>
                <a:cubicBezTo>
                  <a:pt x="357970" y="664018"/>
                  <a:pt x="344265" y="650364"/>
                  <a:pt x="327418" y="650364"/>
                </a:cubicBezTo>
                <a:cubicBezTo>
                  <a:pt x="310571" y="650364"/>
                  <a:pt x="296865" y="664018"/>
                  <a:pt x="296865" y="680800"/>
                </a:cubicBezTo>
                <a:close/>
                <a:moveTo>
                  <a:pt x="474851" y="680800"/>
                </a:moveTo>
                <a:cubicBezTo>
                  <a:pt x="474851" y="697583"/>
                  <a:pt x="488557" y="711237"/>
                  <a:pt x="505404" y="711237"/>
                </a:cubicBezTo>
                <a:cubicBezTo>
                  <a:pt x="522250" y="711237"/>
                  <a:pt x="535956" y="697583"/>
                  <a:pt x="535956" y="680800"/>
                </a:cubicBezTo>
                <a:cubicBezTo>
                  <a:pt x="535956" y="664018"/>
                  <a:pt x="522250" y="650364"/>
                  <a:pt x="505404" y="650364"/>
                </a:cubicBezTo>
                <a:cubicBezTo>
                  <a:pt x="488557" y="650364"/>
                  <a:pt x="474851" y="664018"/>
                  <a:pt x="474851" y="680800"/>
                </a:cubicBezTo>
                <a:close/>
                <a:moveTo>
                  <a:pt x="593635" y="680800"/>
                </a:moveTo>
                <a:cubicBezTo>
                  <a:pt x="593635" y="697583"/>
                  <a:pt x="607341" y="711237"/>
                  <a:pt x="624188" y="711237"/>
                </a:cubicBezTo>
                <a:cubicBezTo>
                  <a:pt x="641035" y="711237"/>
                  <a:pt x="654740" y="697583"/>
                  <a:pt x="654740" y="680800"/>
                </a:cubicBezTo>
                <a:cubicBezTo>
                  <a:pt x="654740" y="664018"/>
                  <a:pt x="641035" y="650364"/>
                  <a:pt x="624188" y="650364"/>
                </a:cubicBezTo>
                <a:cubicBezTo>
                  <a:pt x="607341" y="650364"/>
                  <a:pt x="593635" y="664018"/>
                  <a:pt x="593635" y="680800"/>
                </a:cubicBezTo>
                <a:close/>
                <a:moveTo>
                  <a:pt x="652932" y="680800"/>
                </a:moveTo>
                <a:cubicBezTo>
                  <a:pt x="652932" y="697583"/>
                  <a:pt x="666638" y="711237"/>
                  <a:pt x="683485" y="711237"/>
                </a:cubicBezTo>
                <a:cubicBezTo>
                  <a:pt x="700332" y="711237"/>
                  <a:pt x="714037" y="697583"/>
                  <a:pt x="714037" y="680800"/>
                </a:cubicBezTo>
                <a:cubicBezTo>
                  <a:pt x="714037" y="664018"/>
                  <a:pt x="700332" y="650364"/>
                  <a:pt x="683485" y="650364"/>
                </a:cubicBezTo>
                <a:cubicBezTo>
                  <a:pt x="666638" y="650364"/>
                  <a:pt x="652932" y="664018"/>
                  <a:pt x="652932" y="680800"/>
                </a:cubicBezTo>
                <a:close/>
                <a:moveTo>
                  <a:pt x="712324" y="680800"/>
                </a:moveTo>
                <a:cubicBezTo>
                  <a:pt x="712324" y="697583"/>
                  <a:pt x="726030" y="711237"/>
                  <a:pt x="742877" y="711237"/>
                </a:cubicBezTo>
                <a:cubicBezTo>
                  <a:pt x="759724" y="711237"/>
                  <a:pt x="773429" y="697583"/>
                  <a:pt x="773429" y="680800"/>
                </a:cubicBezTo>
                <a:cubicBezTo>
                  <a:pt x="773429" y="664018"/>
                  <a:pt x="759724" y="650364"/>
                  <a:pt x="742877" y="650364"/>
                </a:cubicBezTo>
                <a:cubicBezTo>
                  <a:pt x="726030" y="650364"/>
                  <a:pt x="712324" y="664018"/>
                  <a:pt x="712324" y="680800"/>
                </a:cubicBezTo>
                <a:close/>
                <a:moveTo>
                  <a:pt x="831013" y="680800"/>
                </a:moveTo>
                <a:cubicBezTo>
                  <a:pt x="831013" y="697583"/>
                  <a:pt x="844719" y="711237"/>
                  <a:pt x="861566" y="711237"/>
                </a:cubicBezTo>
                <a:cubicBezTo>
                  <a:pt x="878413" y="711237"/>
                  <a:pt x="892118" y="697583"/>
                  <a:pt x="892118" y="680800"/>
                </a:cubicBezTo>
                <a:cubicBezTo>
                  <a:pt x="892118" y="664018"/>
                  <a:pt x="878413" y="650364"/>
                  <a:pt x="861566" y="650364"/>
                </a:cubicBezTo>
                <a:cubicBezTo>
                  <a:pt x="844719" y="650364"/>
                  <a:pt x="831013" y="664018"/>
                  <a:pt x="831013" y="680800"/>
                </a:cubicBezTo>
                <a:close/>
                <a:moveTo>
                  <a:pt x="949702" y="680800"/>
                </a:moveTo>
                <a:cubicBezTo>
                  <a:pt x="949702" y="697583"/>
                  <a:pt x="963408" y="711237"/>
                  <a:pt x="980255" y="711237"/>
                </a:cubicBezTo>
                <a:cubicBezTo>
                  <a:pt x="997101" y="711237"/>
                  <a:pt x="1010807" y="697583"/>
                  <a:pt x="1010807" y="680800"/>
                </a:cubicBezTo>
                <a:cubicBezTo>
                  <a:pt x="1010807" y="664018"/>
                  <a:pt x="997101" y="650364"/>
                  <a:pt x="980255" y="650364"/>
                </a:cubicBezTo>
                <a:cubicBezTo>
                  <a:pt x="963408" y="650364"/>
                  <a:pt x="949702" y="664018"/>
                  <a:pt x="949702" y="680800"/>
                </a:cubicBezTo>
                <a:close/>
                <a:moveTo>
                  <a:pt x="1068391" y="680800"/>
                </a:moveTo>
                <a:cubicBezTo>
                  <a:pt x="1068391" y="697583"/>
                  <a:pt x="1082097" y="711237"/>
                  <a:pt x="1098944" y="711237"/>
                </a:cubicBezTo>
                <a:cubicBezTo>
                  <a:pt x="1115790" y="711237"/>
                  <a:pt x="1129496" y="697583"/>
                  <a:pt x="1129496" y="680800"/>
                </a:cubicBezTo>
                <a:cubicBezTo>
                  <a:pt x="1129496" y="664018"/>
                  <a:pt x="1115790" y="650364"/>
                  <a:pt x="1098944" y="650364"/>
                </a:cubicBezTo>
                <a:cubicBezTo>
                  <a:pt x="1082097" y="650364"/>
                  <a:pt x="1068391" y="664018"/>
                  <a:pt x="1068391" y="680800"/>
                </a:cubicBezTo>
                <a:close/>
                <a:moveTo>
                  <a:pt x="1424553" y="680800"/>
                </a:moveTo>
                <a:cubicBezTo>
                  <a:pt x="1424553" y="697583"/>
                  <a:pt x="1438259" y="711237"/>
                  <a:pt x="1455106" y="711237"/>
                </a:cubicBezTo>
                <a:cubicBezTo>
                  <a:pt x="1471953" y="711237"/>
                  <a:pt x="1485658" y="697583"/>
                  <a:pt x="1485658" y="680800"/>
                </a:cubicBezTo>
                <a:cubicBezTo>
                  <a:pt x="1485658" y="664018"/>
                  <a:pt x="1471953" y="650364"/>
                  <a:pt x="1455106" y="650364"/>
                </a:cubicBezTo>
                <a:cubicBezTo>
                  <a:pt x="1438259" y="650364"/>
                  <a:pt x="1424553" y="664018"/>
                  <a:pt x="1424553" y="680800"/>
                </a:cubicBezTo>
                <a:close/>
                <a:moveTo>
                  <a:pt x="59392" y="739968"/>
                </a:moveTo>
                <a:cubicBezTo>
                  <a:pt x="59392" y="756751"/>
                  <a:pt x="73098" y="770404"/>
                  <a:pt x="89945" y="770404"/>
                </a:cubicBezTo>
                <a:cubicBezTo>
                  <a:pt x="106792" y="770404"/>
                  <a:pt x="120497" y="756751"/>
                  <a:pt x="120497" y="739968"/>
                </a:cubicBezTo>
                <a:cubicBezTo>
                  <a:pt x="120497" y="723185"/>
                  <a:pt x="106792" y="709531"/>
                  <a:pt x="89945" y="709531"/>
                </a:cubicBezTo>
                <a:cubicBezTo>
                  <a:pt x="73098" y="709531"/>
                  <a:pt x="59392" y="723185"/>
                  <a:pt x="59392" y="739968"/>
                </a:cubicBezTo>
                <a:close/>
                <a:moveTo>
                  <a:pt x="118784" y="739968"/>
                </a:moveTo>
                <a:cubicBezTo>
                  <a:pt x="118784" y="756751"/>
                  <a:pt x="132490" y="770404"/>
                  <a:pt x="149337" y="770404"/>
                </a:cubicBezTo>
                <a:cubicBezTo>
                  <a:pt x="166184" y="770404"/>
                  <a:pt x="179889" y="756751"/>
                  <a:pt x="179889" y="739968"/>
                </a:cubicBezTo>
                <a:cubicBezTo>
                  <a:pt x="179889" y="723185"/>
                  <a:pt x="166184" y="709531"/>
                  <a:pt x="149337" y="709531"/>
                </a:cubicBezTo>
                <a:cubicBezTo>
                  <a:pt x="132490" y="709531"/>
                  <a:pt x="118784" y="723185"/>
                  <a:pt x="118784" y="739968"/>
                </a:cubicBezTo>
                <a:close/>
                <a:moveTo>
                  <a:pt x="237473" y="739968"/>
                </a:moveTo>
                <a:cubicBezTo>
                  <a:pt x="237473" y="756751"/>
                  <a:pt x="251179" y="770404"/>
                  <a:pt x="268026" y="770404"/>
                </a:cubicBezTo>
                <a:cubicBezTo>
                  <a:pt x="284873" y="770404"/>
                  <a:pt x="298578" y="756751"/>
                  <a:pt x="298578" y="739968"/>
                </a:cubicBezTo>
                <a:cubicBezTo>
                  <a:pt x="298578" y="723185"/>
                  <a:pt x="284873" y="709531"/>
                  <a:pt x="268026" y="709531"/>
                </a:cubicBezTo>
                <a:cubicBezTo>
                  <a:pt x="251179" y="709531"/>
                  <a:pt x="237473" y="723185"/>
                  <a:pt x="237473" y="739968"/>
                </a:cubicBezTo>
                <a:close/>
                <a:moveTo>
                  <a:pt x="296865" y="739968"/>
                </a:moveTo>
                <a:cubicBezTo>
                  <a:pt x="296865" y="756751"/>
                  <a:pt x="310571" y="770404"/>
                  <a:pt x="327418" y="770404"/>
                </a:cubicBezTo>
                <a:cubicBezTo>
                  <a:pt x="344265" y="770404"/>
                  <a:pt x="357970" y="756751"/>
                  <a:pt x="357970" y="739968"/>
                </a:cubicBezTo>
                <a:cubicBezTo>
                  <a:pt x="357970" y="723185"/>
                  <a:pt x="344265" y="709531"/>
                  <a:pt x="327418" y="709531"/>
                </a:cubicBezTo>
                <a:cubicBezTo>
                  <a:pt x="310571" y="709531"/>
                  <a:pt x="296865" y="723185"/>
                  <a:pt x="296865" y="739968"/>
                </a:cubicBezTo>
                <a:close/>
                <a:moveTo>
                  <a:pt x="356162" y="739968"/>
                </a:moveTo>
                <a:cubicBezTo>
                  <a:pt x="356162" y="756751"/>
                  <a:pt x="369868" y="770404"/>
                  <a:pt x="386715" y="770404"/>
                </a:cubicBezTo>
                <a:cubicBezTo>
                  <a:pt x="403562" y="770404"/>
                  <a:pt x="417267" y="756751"/>
                  <a:pt x="417267" y="739968"/>
                </a:cubicBezTo>
                <a:cubicBezTo>
                  <a:pt x="417267" y="723185"/>
                  <a:pt x="403562" y="709531"/>
                  <a:pt x="386715" y="709531"/>
                </a:cubicBezTo>
                <a:cubicBezTo>
                  <a:pt x="369868" y="709531"/>
                  <a:pt x="356162" y="723185"/>
                  <a:pt x="356162" y="739968"/>
                </a:cubicBezTo>
                <a:close/>
                <a:moveTo>
                  <a:pt x="415554" y="739968"/>
                </a:moveTo>
                <a:cubicBezTo>
                  <a:pt x="415554" y="756751"/>
                  <a:pt x="429260" y="770404"/>
                  <a:pt x="446107" y="770404"/>
                </a:cubicBezTo>
                <a:cubicBezTo>
                  <a:pt x="462954" y="770404"/>
                  <a:pt x="476659" y="756751"/>
                  <a:pt x="476659" y="739968"/>
                </a:cubicBezTo>
                <a:cubicBezTo>
                  <a:pt x="476659" y="723185"/>
                  <a:pt x="462954" y="709531"/>
                  <a:pt x="446107" y="709531"/>
                </a:cubicBezTo>
                <a:cubicBezTo>
                  <a:pt x="429260" y="709531"/>
                  <a:pt x="415554" y="723185"/>
                  <a:pt x="415554" y="739968"/>
                </a:cubicBezTo>
                <a:close/>
                <a:moveTo>
                  <a:pt x="474851" y="739968"/>
                </a:moveTo>
                <a:cubicBezTo>
                  <a:pt x="474851" y="756751"/>
                  <a:pt x="488557" y="770404"/>
                  <a:pt x="505404" y="770404"/>
                </a:cubicBezTo>
                <a:cubicBezTo>
                  <a:pt x="522250" y="770404"/>
                  <a:pt x="535956" y="756751"/>
                  <a:pt x="535956" y="739968"/>
                </a:cubicBezTo>
                <a:cubicBezTo>
                  <a:pt x="535956" y="723185"/>
                  <a:pt x="522250" y="709531"/>
                  <a:pt x="505404" y="709531"/>
                </a:cubicBezTo>
                <a:cubicBezTo>
                  <a:pt x="488557" y="709531"/>
                  <a:pt x="474851" y="723185"/>
                  <a:pt x="474851" y="739968"/>
                </a:cubicBezTo>
                <a:close/>
                <a:moveTo>
                  <a:pt x="534243" y="739968"/>
                </a:moveTo>
                <a:cubicBezTo>
                  <a:pt x="534243" y="756751"/>
                  <a:pt x="547949" y="770404"/>
                  <a:pt x="564796" y="770404"/>
                </a:cubicBezTo>
                <a:cubicBezTo>
                  <a:pt x="581643" y="770404"/>
                  <a:pt x="595348" y="756751"/>
                  <a:pt x="595348" y="739968"/>
                </a:cubicBezTo>
                <a:cubicBezTo>
                  <a:pt x="595348" y="723185"/>
                  <a:pt x="581643" y="709531"/>
                  <a:pt x="564796" y="709531"/>
                </a:cubicBezTo>
                <a:cubicBezTo>
                  <a:pt x="547949" y="709531"/>
                  <a:pt x="534243" y="723185"/>
                  <a:pt x="534243" y="739968"/>
                </a:cubicBezTo>
                <a:close/>
                <a:moveTo>
                  <a:pt x="652932" y="739968"/>
                </a:moveTo>
                <a:cubicBezTo>
                  <a:pt x="652932" y="756751"/>
                  <a:pt x="666638" y="770404"/>
                  <a:pt x="683485" y="770404"/>
                </a:cubicBezTo>
                <a:cubicBezTo>
                  <a:pt x="700332" y="770404"/>
                  <a:pt x="714037" y="756751"/>
                  <a:pt x="714037" y="739968"/>
                </a:cubicBezTo>
                <a:cubicBezTo>
                  <a:pt x="714037" y="723185"/>
                  <a:pt x="700332" y="709531"/>
                  <a:pt x="683485" y="709531"/>
                </a:cubicBezTo>
                <a:cubicBezTo>
                  <a:pt x="666638" y="709531"/>
                  <a:pt x="652932" y="723185"/>
                  <a:pt x="652932" y="739968"/>
                </a:cubicBezTo>
                <a:close/>
                <a:moveTo>
                  <a:pt x="890310" y="739968"/>
                </a:moveTo>
                <a:cubicBezTo>
                  <a:pt x="890310" y="756751"/>
                  <a:pt x="904016" y="770404"/>
                  <a:pt x="920863" y="770404"/>
                </a:cubicBezTo>
                <a:cubicBezTo>
                  <a:pt x="937709" y="770404"/>
                  <a:pt x="951415" y="756751"/>
                  <a:pt x="951415" y="739968"/>
                </a:cubicBezTo>
                <a:cubicBezTo>
                  <a:pt x="951415" y="723185"/>
                  <a:pt x="937709" y="709531"/>
                  <a:pt x="920863" y="709531"/>
                </a:cubicBezTo>
                <a:cubicBezTo>
                  <a:pt x="904016" y="709531"/>
                  <a:pt x="890310" y="723185"/>
                  <a:pt x="890310" y="739968"/>
                </a:cubicBezTo>
                <a:close/>
                <a:moveTo>
                  <a:pt x="1009094" y="739968"/>
                </a:moveTo>
                <a:cubicBezTo>
                  <a:pt x="1009094" y="756751"/>
                  <a:pt x="1022800" y="770404"/>
                  <a:pt x="1039647" y="770404"/>
                </a:cubicBezTo>
                <a:cubicBezTo>
                  <a:pt x="1056494" y="770404"/>
                  <a:pt x="1070199" y="756751"/>
                  <a:pt x="1070199" y="739968"/>
                </a:cubicBezTo>
                <a:cubicBezTo>
                  <a:pt x="1070199" y="723185"/>
                  <a:pt x="1056494" y="709531"/>
                  <a:pt x="1039647" y="709531"/>
                </a:cubicBezTo>
                <a:cubicBezTo>
                  <a:pt x="1022800" y="709531"/>
                  <a:pt x="1009094" y="723185"/>
                  <a:pt x="1009094" y="739968"/>
                </a:cubicBezTo>
                <a:close/>
                <a:moveTo>
                  <a:pt x="1068391" y="739968"/>
                </a:moveTo>
                <a:cubicBezTo>
                  <a:pt x="1068391" y="756751"/>
                  <a:pt x="1082097" y="770404"/>
                  <a:pt x="1098944" y="770404"/>
                </a:cubicBezTo>
                <a:cubicBezTo>
                  <a:pt x="1115790" y="770404"/>
                  <a:pt x="1129496" y="756751"/>
                  <a:pt x="1129496" y="739968"/>
                </a:cubicBezTo>
                <a:cubicBezTo>
                  <a:pt x="1129496" y="723185"/>
                  <a:pt x="1115790" y="709531"/>
                  <a:pt x="1098944" y="709531"/>
                </a:cubicBezTo>
                <a:cubicBezTo>
                  <a:pt x="1082097" y="709531"/>
                  <a:pt x="1068391" y="723185"/>
                  <a:pt x="1068391" y="739968"/>
                </a:cubicBezTo>
                <a:close/>
                <a:moveTo>
                  <a:pt x="1127783" y="739968"/>
                </a:moveTo>
                <a:cubicBezTo>
                  <a:pt x="1127783" y="756751"/>
                  <a:pt x="1141489" y="770404"/>
                  <a:pt x="1158336" y="770404"/>
                </a:cubicBezTo>
                <a:cubicBezTo>
                  <a:pt x="1175183" y="770404"/>
                  <a:pt x="1188888" y="756751"/>
                  <a:pt x="1188888" y="739968"/>
                </a:cubicBezTo>
                <a:cubicBezTo>
                  <a:pt x="1188888" y="723185"/>
                  <a:pt x="1175183" y="709531"/>
                  <a:pt x="1158336" y="709531"/>
                </a:cubicBezTo>
                <a:cubicBezTo>
                  <a:pt x="1141489" y="709531"/>
                  <a:pt x="1127783" y="723185"/>
                  <a:pt x="1127783" y="739968"/>
                </a:cubicBezTo>
                <a:close/>
                <a:moveTo>
                  <a:pt x="1187080" y="739968"/>
                </a:moveTo>
                <a:cubicBezTo>
                  <a:pt x="1187080" y="756751"/>
                  <a:pt x="1200786" y="770404"/>
                  <a:pt x="1217633" y="770404"/>
                </a:cubicBezTo>
                <a:cubicBezTo>
                  <a:pt x="1234479" y="770404"/>
                  <a:pt x="1248185" y="756751"/>
                  <a:pt x="1248185" y="739968"/>
                </a:cubicBezTo>
                <a:cubicBezTo>
                  <a:pt x="1248185" y="723185"/>
                  <a:pt x="1234479" y="709531"/>
                  <a:pt x="1217633" y="709531"/>
                </a:cubicBezTo>
                <a:cubicBezTo>
                  <a:pt x="1200786" y="709531"/>
                  <a:pt x="1187080" y="723185"/>
                  <a:pt x="1187080" y="739968"/>
                </a:cubicBezTo>
                <a:close/>
                <a:moveTo>
                  <a:pt x="1305769" y="739968"/>
                </a:moveTo>
                <a:cubicBezTo>
                  <a:pt x="1305769" y="756751"/>
                  <a:pt x="1319475" y="770404"/>
                  <a:pt x="1336322" y="770404"/>
                </a:cubicBezTo>
                <a:cubicBezTo>
                  <a:pt x="1353168" y="770404"/>
                  <a:pt x="1366874" y="756751"/>
                  <a:pt x="1366874" y="739968"/>
                </a:cubicBezTo>
                <a:cubicBezTo>
                  <a:pt x="1366874" y="723185"/>
                  <a:pt x="1353168" y="709531"/>
                  <a:pt x="1336322" y="709531"/>
                </a:cubicBezTo>
                <a:cubicBezTo>
                  <a:pt x="1319475" y="709531"/>
                  <a:pt x="1305769" y="723185"/>
                  <a:pt x="1305769" y="739968"/>
                </a:cubicBezTo>
                <a:close/>
                <a:moveTo>
                  <a:pt x="1365161" y="739968"/>
                </a:moveTo>
                <a:cubicBezTo>
                  <a:pt x="1365161" y="756751"/>
                  <a:pt x="1378867" y="770404"/>
                  <a:pt x="1395714" y="770404"/>
                </a:cubicBezTo>
                <a:cubicBezTo>
                  <a:pt x="1412561" y="770404"/>
                  <a:pt x="1426266" y="756751"/>
                  <a:pt x="1426266" y="739968"/>
                </a:cubicBezTo>
                <a:cubicBezTo>
                  <a:pt x="1426266" y="723185"/>
                  <a:pt x="1412561" y="709531"/>
                  <a:pt x="1395714" y="709531"/>
                </a:cubicBezTo>
                <a:cubicBezTo>
                  <a:pt x="1378867" y="709531"/>
                  <a:pt x="1365161" y="723185"/>
                  <a:pt x="1365161" y="739968"/>
                </a:cubicBezTo>
                <a:close/>
                <a:moveTo>
                  <a:pt x="1424553" y="739968"/>
                </a:moveTo>
                <a:cubicBezTo>
                  <a:pt x="1424553" y="756751"/>
                  <a:pt x="1438259" y="770404"/>
                  <a:pt x="1455106" y="770404"/>
                </a:cubicBezTo>
                <a:cubicBezTo>
                  <a:pt x="1471953" y="770404"/>
                  <a:pt x="1485658" y="756751"/>
                  <a:pt x="1485658" y="739968"/>
                </a:cubicBezTo>
                <a:cubicBezTo>
                  <a:pt x="1485658" y="723185"/>
                  <a:pt x="1471953" y="709531"/>
                  <a:pt x="1455106" y="709531"/>
                </a:cubicBezTo>
                <a:cubicBezTo>
                  <a:pt x="1438259" y="709531"/>
                  <a:pt x="1424553" y="723185"/>
                  <a:pt x="1424553" y="739968"/>
                </a:cubicBezTo>
                <a:close/>
                <a:moveTo>
                  <a:pt x="95" y="799040"/>
                </a:moveTo>
                <a:cubicBezTo>
                  <a:pt x="95" y="815823"/>
                  <a:pt x="13801" y="829477"/>
                  <a:pt x="30648" y="829477"/>
                </a:cubicBezTo>
                <a:cubicBezTo>
                  <a:pt x="47495" y="829477"/>
                  <a:pt x="61200" y="815823"/>
                  <a:pt x="61200" y="799040"/>
                </a:cubicBezTo>
                <a:cubicBezTo>
                  <a:pt x="61200" y="782257"/>
                  <a:pt x="47495" y="768603"/>
                  <a:pt x="30648" y="768603"/>
                </a:cubicBezTo>
                <a:cubicBezTo>
                  <a:pt x="13801" y="768603"/>
                  <a:pt x="95" y="782257"/>
                  <a:pt x="95" y="799040"/>
                </a:cubicBezTo>
                <a:close/>
                <a:moveTo>
                  <a:pt x="118784" y="799040"/>
                </a:moveTo>
                <a:cubicBezTo>
                  <a:pt x="118784" y="815823"/>
                  <a:pt x="132490" y="829477"/>
                  <a:pt x="149337" y="829477"/>
                </a:cubicBezTo>
                <a:cubicBezTo>
                  <a:pt x="166184" y="829477"/>
                  <a:pt x="179889" y="815823"/>
                  <a:pt x="179889" y="799040"/>
                </a:cubicBezTo>
                <a:cubicBezTo>
                  <a:pt x="179889" y="782257"/>
                  <a:pt x="166184" y="768603"/>
                  <a:pt x="149337" y="768603"/>
                </a:cubicBezTo>
                <a:cubicBezTo>
                  <a:pt x="132490" y="768603"/>
                  <a:pt x="118784" y="782257"/>
                  <a:pt x="118784" y="799040"/>
                </a:cubicBezTo>
                <a:close/>
                <a:moveTo>
                  <a:pt x="178081" y="799040"/>
                </a:moveTo>
                <a:cubicBezTo>
                  <a:pt x="178081" y="815823"/>
                  <a:pt x="191787" y="829477"/>
                  <a:pt x="208634" y="829477"/>
                </a:cubicBezTo>
                <a:cubicBezTo>
                  <a:pt x="225480" y="829477"/>
                  <a:pt x="239186" y="815823"/>
                  <a:pt x="239186" y="799040"/>
                </a:cubicBezTo>
                <a:cubicBezTo>
                  <a:pt x="239186" y="782257"/>
                  <a:pt x="225480" y="768603"/>
                  <a:pt x="208634" y="768603"/>
                </a:cubicBezTo>
                <a:cubicBezTo>
                  <a:pt x="191787" y="768603"/>
                  <a:pt x="178081" y="782257"/>
                  <a:pt x="178081" y="799040"/>
                </a:cubicBezTo>
                <a:close/>
                <a:moveTo>
                  <a:pt x="237473" y="799040"/>
                </a:moveTo>
                <a:cubicBezTo>
                  <a:pt x="237473" y="815823"/>
                  <a:pt x="251179" y="829477"/>
                  <a:pt x="268026" y="829477"/>
                </a:cubicBezTo>
                <a:cubicBezTo>
                  <a:pt x="284873" y="829477"/>
                  <a:pt x="298578" y="815823"/>
                  <a:pt x="298578" y="799040"/>
                </a:cubicBezTo>
                <a:cubicBezTo>
                  <a:pt x="298578" y="782257"/>
                  <a:pt x="284873" y="768603"/>
                  <a:pt x="268026" y="768603"/>
                </a:cubicBezTo>
                <a:cubicBezTo>
                  <a:pt x="251179" y="768603"/>
                  <a:pt x="237473" y="782257"/>
                  <a:pt x="237473" y="799040"/>
                </a:cubicBezTo>
                <a:close/>
                <a:moveTo>
                  <a:pt x="415554" y="799040"/>
                </a:moveTo>
                <a:cubicBezTo>
                  <a:pt x="415554" y="815823"/>
                  <a:pt x="429260" y="829477"/>
                  <a:pt x="446107" y="829477"/>
                </a:cubicBezTo>
                <a:cubicBezTo>
                  <a:pt x="462954" y="829477"/>
                  <a:pt x="476659" y="815823"/>
                  <a:pt x="476659" y="799040"/>
                </a:cubicBezTo>
                <a:cubicBezTo>
                  <a:pt x="476659" y="782257"/>
                  <a:pt x="462954" y="768603"/>
                  <a:pt x="446107" y="768603"/>
                </a:cubicBezTo>
                <a:cubicBezTo>
                  <a:pt x="429260" y="768603"/>
                  <a:pt x="415554" y="782257"/>
                  <a:pt x="415554" y="799040"/>
                </a:cubicBezTo>
                <a:close/>
                <a:moveTo>
                  <a:pt x="474851" y="799040"/>
                </a:moveTo>
                <a:cubicBezTo>
                  <a:pt x="474851" y="815823"/>
                  <a:pt x="488557" y="829477"/>
                  <a:pt x="505404" y="829477"/>
                </a:cubicBezTo>
                <a:cubicBezTo>
                  <a:pt x="522250" y="829477"/>
                  <a:pt x="535956" y="815823"/>
                  <a:pt x="535956" y="799040"/>
                </a:cubicBezTo>
                <a:cubicBezTo>
                  <a:pt x="535956" y="782257"/>
                  <a:pt x="522250" y="768603"/>
                  <a:pt x="505404" y="768603"/>
                </a:cubicBezTo>
                <a:cubicBezTo>
                  <a:pt x="488557" y="768603"/>
                  <a:pt x="474851" y="782257"/>
                  <a:pt x="474851" y="799040"/>
                </a:cubicBezTo>
                <a:close/>
                <a:moveTo>
                  <a:pt x="534243" y="799040"/>
                </a:moveTo>
                <a:cubicBezTo>
                  <a:pt x="534243" y="815823"/>
                  <a:pt x="547949" y="829477"/>
                  <a:pt x="564796" y="829477"/>
                </a:cubicBezTo>
                <a:cubicBezTo>
                  <a:pt x="581643" y="829477"/>
                  <a:pt x="595348" y="815823"/>
                  <a:pt x="595348" y="799040"/>
                </a:cubicBezTo>
                <a:cubicBezTo>
                  <a:pt x="595348" y="782257"/>
                  <a:pt x="581643" y="768603"/>
                  <a:pt x="564796" y="768603"/>
                </a:cubicBezTo>
                <a:cubicBezTo>
                  <a:pt x="547949" y="768603"/>
                  <a:pt x="534243" y="782257"/>
                  <a:pt x="534243" y="799040"/>
                </a:cubicBezTo>
                <a:close/>
                <a:moveTo>
                  <a:pt x="593635" y="799040"/>
                </a:moveTo>
                <a:cubicBezTo>
                  <a:pt x="593635" y="815823"/>
                  <a:pt x="607341" y="829477"/>
                  <a:pt x="624188" y="829477"/>
                </a:cubicBezTo>
                <a:cubicBezTo>
                  <a:pt x="641035" y="829477"/>
                  <a:pt x="654740" y="815823"/>
                  <a:pt x="654740" y="799040"/>
                </a:cubicBezTo>
                <a:cubicBezTo>
                  <a:pt x="654740" y="782257"/>
                  <a:pt x="641035" y="768603"/>
                  <a:pt x="624188" y="768603"/>
                </a:cubicBezTo>
                <a:cubicBezTo>
                  <a:pt x="607341" y="768603"/>
                  <a:pt x="593635" y="782257"/>
                  <a:pt x="593635" y="799040"/>
                </a:cubicBezTo>
                <a:close/>
                <a:moveTo>
                  <a:pt x="712324" y="799040"/>
                </a:moveTo>
                <a:cubicBezTo>
                  <a:pt x="712324" y="815823"/>
                  <a:pt x="726030" y="829477"/>
                  <a:pt x="742877" y="829477"/>
                </a:cubicBezTo>
                <a:cubicBezTo>
                  <a:pt x="759724" y="829477"/>
                  <a:pt x="773429" y="815823"/>
                  <a:pt x="773429" y="799040"/>
                </a:cubicBezTo>
                <a:cubicBezTo>
                  <a:pt x="773429" y="782257"/>
                  <a:pt x="759724" y="768603"/>
                  <a:pt x="742877" y="768603"/>
                </a:cubicBezTo>
                <a:cubicBezTo>
                  <a:pt x="726030" y="768603"/>
                  <a:pt x="712324" y="782257"/>
                  <a:pt x="712324" y="799040"/>
                </a:cubicBezTo>
                <a:close/>
                <a:moveTo>
                  <a:pt x="771621" y="799040"/>
                </a:moveTo>
                <a:cubicBezTo>
                  <a:pt x="771621" y="815823"/>
                  <a:pt x="785327" y="829477"/>
                  <a:pt x="802174" y="829477"/>
                </a:cubicBezTo>
                <a:cubicBezTo>
                  <a:pt x="819021" y="829477"/>
                  <a:pt x="832726" y="815823"/>
                  <a:pt x="832726" y="799040"/>
                </a:cubicBezTo>
                <a:cubicBezTo>
                  <a:pt x="832726" y="782257"/>
                  <a:pt x="819021" y="768603"/>
                  <a:pt x="802174" y="768603"/>
                </a:cubicBezTo>
                <a:cubicBezTo>
                  <a:pt x="785327" y="768603"/>
                  <a:pt x="771621" y="782257"/>
                  <a:pt x="771621" y="799040"/>
                </a:cubicBezTo>
                <a:close/>
                <a:moveTo>
                  <a:pt x="949702" y="799040"/>
                </a:moveTo>
                <a:cubicBezTo>
                  <a:pt x="949702" y="815823"/>
                  <a:pt x="963408" y="829477"/>
                  <a:pt x="980255" y="829477"/>
                </a:cubicBezTo>
                <a:cubicBezTo>
                  <a:pt x="997101" y="829477"/>
                  <a:pt x="1010807" y="815823"/>
                  <a:pt x="1010807" y="799040"/>
                </a:cubicBezTo>
                <a:cubicBezTo>
                  <a:pt x="1010807" y="782257"/>
                  <a:pt x="997101" y="768603"/>
                  <a:pt x="980255" y="768603"/>
                </a:cubicBezTo>
                <a:cubicBezTo>
                  <a:pt x="963408" y="768603"/>
                  <a:pt x="949702" y="782257"/>
                  <a:pt x="949702" y="799040"/>
                </a:cubicBezTo>
                <a:close/>
                <a:moveTo>
                  <a:pt x="1009094" y="799040"/>
                </a:moveTo>
                <a:cubicBezTo>
                  <a:pt x="1009094" y="815823"/>
                  <a:pt x="1022800" y="829477"/>
                  <a:pt x="1039647" y="829477"/>
                </a:cubicBezTo>
                <a:cubicBezTo>
                  <a:pt x="1056494" y="829477"/>
                  <a:pt x="1070199" y="815823"/>
                  <a:pt x="1070199" y="799040"/>
                </a:cubicBezTo>
                <a:cubicBezTo>
                  <a:pt x="1070199" y="782257"/>
                  <a:pt x="1056494" y="768603"/>
                  <a:pt x="1039647" y="768603"/>
                </a:cubicBezTo>
                <a:cubicBezTo>
                  <a:pt x="1022800" y="768603"/>
                  <a:pt x="1009094" y="782257"/>
                  <a:pt x="1009094" y="799040"/>
                </a:cubicBezTo>
                <a:close/>
                <a:moveTo>
                  <a:pt x="1127783" y="799040"/>
                </a:moveTo>
                <a:cubicBezTo>
                  <a:pt x="1127783" y="815823"/>
                  <a:pt x="1141489" y="829477"/>
                  <a:pt x="1158336" y="829477"/>
                </a:cubicBezTo>
                <a:cubicBezTo>
                  <a:pt x="1175183" y="829477"/>
                  <a:pt x="1188888" y="815823"/>
                  <a:pt x="1188888" y="799040"/>
                </a:cubicBezTo>
                <a:cubicBezTo>
                  <a:pt x="1188888" y="782257"/>
                  <a:pt x="1175183" y="768603"/>
                  <a:pt x="1158336" y="768603"/>
                </a:cubicBezTo>
                <a:cubicBezTo>
                  <a:pt x="1141489" y="768603"/>
                  <a:pt x="1127783" y="782257"/>
                  <a:pt x="1127783" y="799040"/>
                </a:cubicBezTo>
                <a:close/>
                <a:moveTo>
                  <a:pt x="1246472" y="799040"/>
                </a:moveTo>
                <a:cubicBezTo>
                  <a:pt x="1246472" y="815823"/>
                  <a:pt x="1260178" y="829477"/>
                  <a:pt x="1277025" y="829477"/>
                </a:cubicBezTo>
                <a:cubicBezTo>
                  <a:pt x="1293872" y="829477"/>
                  <a:pt x="1307577" y="815823"/>
                  <a:pt x="1307577" y="799040"/>
                </a:cubicBezTo>
                <a:cubicBezTo>
                  <a:pt x="1307577" y="782257"/>
                  <a:pt x="1293872" y="768603"/>
                  <a:pt x="1277025" y="768603"/>
                </a:cubicBezTo>
                <a:cubicBezTo>
                  <a:pt x="1260178" y="768603"/>
                  <a:pt x="1246472" y="782257"/>
                  <a:pt x="1246472" y="799040"/>
                </a:cubicBezTo>
                <a:close/>
                <a:moveTo>
                  <a:pt x="1365161" y="799040"/>
                </a:moveTo>
                <a:cubicBezTo>
                  <a:pt x="1365161" y="815823"/>
                  <a:pt x="1378867" y="829477"/>
                  <a:pt x="1395714" y="829477"/>
                </a:cubicBezTo>
                <a:cubicBezTo>
                  <a:pt x="1412561" y="829477"/>
                  <a:pt x="1426266" y="815823"/>
                  <a:pt x="1426266" y="799040"/>
                </a:cubicBezTo>
                <a:cubicBezTo>
                  <a:pt x="1426266" y="782257"/>
                  <a:pt x="1412561" y="768603"/>
                  <a:pt x="1395714" y="768603"/>
                </a:cubicBezTo>
                <a:cubicBezTo>
                  <a:pt x="1378867" y="768603"/>
                  <a:pt x="1365161" y="782257"/>
                  <a:pt x="1365161" y="799040"/>
                </a:cubicBezTo>
                <a:close/>
                <a:moveTo>
                  <a:pt x="95" y="858207"/>
                </a:moveTo>
                <a:cubicBezTo>
                  <a:pt x="95" y="874990"/>
                  <a:pt x="13801" y="888644"/>
                  <a:pt x="30648" y="888644"/>
                </a:cubicBezTo>
                <a:cubicBezTo>
                  <a:pt x="47495" y="888644"/>
                  <a:pt x="61200" y="874990"/>
                  <a:pt x="61200" y="858207"/>
                </a:cubicBezTo>
                <a:cubicBezTo>
                  <a:pt x="61200" y="841424"/>
                  <a:pt x="47495" y="827770"/>
                  <a:pt x="30648" y="827770"/>
                </a:cubicBezTo>
                <a:cubicBezTo>
                  <a:pt x="13801" y="827770"/>
                  <a:pt x="95" y="841424"/>
                  <a:pt x="95" y="858207"/>
                </a:cubicBezTo>
                <a:close/>
                <a:moveTo>
                  <a:pt x="118784" y="858207"/>
                </a:moveTo>
                <a:cubicBezTo>
                  <a:pt x="118784" y="874990"/>
                  <a:pt x="132490" y="888644"/>
                  <a:pt x="149337" y="888644"/>
                </a:cubicBezTo>
                <a:cubicBezTo>
                  <a:pt x="166184" y="888644"/>
                  <a:pt x="179889" y="874990"/>
                  <a:pt x="179889" y="858207"/>
                </a:cubicBezTo>
                <a:cubicBezTo>
                  <a:pt x="179889" y="841424"/>
                  <a:pt x="166184" y="827770"/>
                  <a:pt x="149337" y="827770"/>
                </a:cubicBezTo>
                <a:cubicBezTo>
                  <a:pt x="132490" y="827770"/>
                  <a:pt x="118784" y="841424"/>
                  <a:pt x="118784" y="858207"/>
                </a:cubicBezTo>
                <a:close/>
                <a:moveTo>
                  <a:pt x="178081" y="858207"/>
                </a:moveTo>
                <a:cubicBezTo>
                  <a:pt x="178081" y="874990"/>
                  <a:pt x="191787" y="888644"/>
                  <a:pt x="208634" y="888644"/>
                </a:cubicBezTo>
                <a:cubicBezTo>
                  <a:pt x="225480" y="888644"/>
                  <a:pt x="239186" y="874990"/>
                  <a:pt x="239186" y="858207"/>
                </a:cubicBezTo>
                <a:cubicBezTo>
                  <a:pt x="239186" y="841424"/>
                  <a:pt x="225480" y="827770"/>
                  <a:pt x="208634" y="827770"/>
                </a:cubicBezTo>
                <a:cubicBezTo>
                  <a:pt x="191787" y="827770"/>
                  <a:pt x="178081" y="841424"/>
                  <a:pt x="178081" y="858207"/>
                </a:cubicBezTo>
                <a:close/>
                <a:moveTo>
                  <a:pt x="356162" y="858207"/>
                </a:moveTo>
                <a:cubicBezTo>
                  <a:pt x="356162" y="874990"/>
                  <a:pt x="369868" y="888644"/>
                  <a:pt x="386715" y="888644"/>
                </a:cubicBezTo>
                <a:cubicBezTo>
                  <a:pt x="403562" y="888644"/>
                  <a:pt x="417267" y="874990"/>
                  <a:pt x="417267" y="858207"/>
                </a:cubicBezTo>
                <a:cubicBezTo>
                  <a:pt x="417267" y="841424"/>
                  <a:pt x="403562" y="827770"/>
                  <a:pt x="386715" y="827770"/>
                </a:cubicBezTo>
                <a:cubicBezTo>
                  <a:pt x="369868" y="827770"/>
                  <a:pt x="356162" y="841424"/>
                  <a:pt x="356162" y="858207"/>
                </a:cubicBezTo>
                <a:close/>
                <a:moveTo>
                  <a:pt x="474851" y="858207"/>
                </a:moveTo>
                <a:cubicBezTo>
                  <a:pt x="474851" y="874990"/>
                  <a:pt x="488557" y="888644"/>
                  <a:pt x="505404" y="888644"/>
                </a:cubicBezTo>
                <a:cubicBezTo>
                  <a:pt x="522250" y="888644"/>
                  <a:pt x="535956" y="874990"/>
                  <a:pt x="535956" y="858207"/>
                </a:cubicBezTo>
                <a:cubicBezTo>
                  <a:pt x="535956" y="841424"/>
                  <a:pt x="522250" y="827770"/>
                  <a:pt x="505404" y="827770"/>
                </a:cubicBezTo>
                <a:cubicBezTo>
                  <a:pt x="488557" y="827770"/>
                  <a:pt x="474851" y="841424"/>
                  <a:pt x="474851" y="858207"/>
                </a:cubicBezTo>
                <a:close/>
                <a:moveTo>
                  <a:pt x="771621" y="858207"/>
                </a:moveTo>
                <a:cubicBezTo>
                  <a:pt x="771621" y="874990"/>
                  <a:pt x="785327" y="888644"/>
                  <a:pt x="802174" y="888644"/>
                </a:cubicBezTo>
                <a:cubicBezTo>
                  <a:pt x="819021" y="888644"/>
                  <a:pt x="832726" y="874990"/>
                  <a:pt x="832726" y="858207"/>
                </a:cubicBezTo>
                <a:cubicBezTo>
                  <a:pt x="832726" y="841424"/>
                  <a:pt x="819021" y="827770"/>
                  <a:pt x="802174" y="827770"/>
                </a:cubicBezTo>
                <a:cubicBezTo>
                  <a:pt x="785327" y="827770"/>
                  <a:pt x="771621" y="841424"/>
                  <a:pt x="771621" y="858207"/>
                </a:cubicBezTo>
                <a:close/>
                <a:moveTo>
                  <a:pt x="831013" y="858207"/>
                </a:moveTo>
                <a:cubicBezTo>
                  <a:pt x="831013" y="874990"/>
                  <a:pt x="844719" y="888644"/>
                  <a:pt x="861566" y="888644"/>
                </a:cubicBezTo>
                <a:cubicBezTo>
                  <a:pt x="878413" y="888644"/>
                  <a:pt x="892118" y="874990"/>
                  <a:pt x="892118" y="858207"/>
                </a:cubicBezTo>
                <a:cubicBezTo>
                  <a:pt x="892118" y="841424"/>
                  <a:pt x="878413" y="827770"/>
                  <a:pt x="861566" y="827770"/>
                </a:cubicBezTo>
                <a:cubicBezTo>
                  <a:pt x="844719" y="827770"/>
                  <a:pt x="831013" y="841424"/>
                  <a:pt x="831013" y="858207"/>
                </a:cubicBezTo>
                <a:close/>
                <a:moveTo>
                  <a:pt x="890310" y="858207"/>
                </a:moveTo>
                <a:cubicBezTo>
                  <a:pt x="890310" y="874990"/>
                  <a:pt x="904016" y="888644"/>
                  <a:pt x="920863" y="888644"/>
                </a:cubicBezTo>
                <a:cubicBezTo>
                  <a:pt x="937709" y="888644"/>
                  <a:pt x="951415" y="874990"/>
                  <a:pt x="951415" y="858207"/>
                </a:cubicBezTo>
                <a:cubicBezTo>
                  <a:pt x="951415" y="841424"/>
                  <a:pt x="937709" y="827770"/>
                  <a:pt x="920863" y="827770"/>
                </a:cubicBezTo>
                <a:cubicBezTo>
                  <a:pt x="904016" y="827770"/>
                  <a:pt x="890310" y="841424"/>
                  <a:pt x="890310" y="858207"/>
                </a:cubicBezTo>
                <a:close/>
                <a:moveTo>
                  <a:pt x="949702" y="858207"/>
                </a:moveTo>
                <a:cubicBezTo>
                  <a:pt x="949702" y="874990"/>
                  <a:pt x="963408" y="888644"/>
                  <a:pt x="980255" y="888644"/>
                </a:cubicBezTo>
                <a:cubicBezTo>
                  <a:pt x="997101" y="888644"/>
                  <a:pt x="1010807" y="874990"/>
                  <a:pt x="1010807" y="858207"/>
                </a:cubicBezTo>
                <a:cubicBezTo>
                  <a:pt x="1010807" y="841424"/>
                  <a:pt x="997101" y="827770"/>
                  <a:pt x="980255" y="827770"/>
                </a:cubicBezTo>
                <a:cubicBezTo>
                  <a:pt x="963408" y="827770"/>
                  <a:pt x="949702" y="841424"/>
                  <a:pt x="949702" y="858207"/>
                </a:cubicBezTo>
                <a:close/>
                <a:moveTo>
                  <a:pt x="1068391" y="858207"/>
                </a:moveTo>
                <a:cubicBezTo>
                  <a:pt x="1068391" y="874990"/>
                  <a:pt x="1082097" y="888644"/>
                  <a:pt x="1098944" y="888644"/>
                </a:cubicBezTo>
                <a:cubicBezTo>
                  <a:pt x="1115790" y="888644"/>
                  <a:pt x="1129496" y="874990"/>
                  <a:pt x="1129496" y="858207"/>
                </a:cubicBezTo>
                <a:cubicBezTo>
                  <a:pt x="1129496" y="841424"/>
                  <a:pt x="1115790" y="827770"/>
                  <a:pt x="1098944" y="827770"/>
                </a:cubicBezTo>
                <a:cubicBezTo>
                  <a:pt x="1082097" y="827770"/>
                  <a:pt x="1068391" y="841424"/>
                  <a:pt x="1068391" y="858207"/>
                </a:cubicBezTo>
                <a:close/>
                <a:moveTo>
                  <a:pt x="1127783" y="858207"/>
                </a:moveTo>
                <a:cubicBezTo>
                  <a:pt x="1127783" y="874990"/>
                  <a:pt x="1141489" y="888644"/>
                  <a:pt x="1158336" y="888644"/>
                </a:cubicBezTo>
                <a:cubicBezTo>
                  <a:pt x="1175183" y="888644"/>
                  <a:pt x="1188888" y="874990"/>
                  <a:pt x="1188888" y="858207"/>
                </a:cubicBezTo>
                <a:cubicBezTo>
                  <a:pt x="1188888" y="841424"/>
                  <a:pt x="1175183" y="827770"/>
                  <a:pt x="1158336" y="827770"/>
                </a:cubicBezTo>
                <a:cubicBezTo>
                  <a:pt x="1141489" y="827770"/>
                  <a:pt x="1127783" y="841424"/>
                  <a:pt x="1127783" y="858207"/>
                </a:cubicBezTo>
                <a:close/>
                <a:moveTo>
                  <a:pt x="1187080" y="858207"/>
                </a:moveTo>
                <a:cubicBezTo>
                  <a:pt x="1187080" y="874990"/>
                  <a:pt x="1200786" y="888644"/>
                  <a:pt x="1217633" y="888644"/>
                </a:cubicBezTo>
                <a:cubicBezTo>
                  <a:pt x="1234479" y="888644"/>
                  <a:pt x="1248185" y="874990"/>
                  <a:pt x="1248185" y="858207"/>
                </a:cubicBezTo>
                <a:cubicBezTo>
                  <a:pt x="1248185" y="841424"/>
                  <a:pt x="1234479" y="827770"/>
                  <a:pt x="1217633" y="827770"/>
                </a:cubicBezTo>
                <a:cubicBezTo>
                  <a:pt x="1200786" y="827770"/>
                  <a:pt x="1187080" y="841424"/>
                  <a:pt x="1187080" y="858207"/>
                </a:cubicBezTo>
                <a:close/>
                <a:moveTo>
                  <a:pt x="1246472" y="858207"/>
                </a:moveTo>
                <a:cubicBezTo>
                  <a:pt x="1246472" y="874990"/>
                  <a:pt x="1260178" y="888644"/>
                  <a:pt x="1277025" y="888644"/>
                </a:cubicBezTo>
                <a:cubicBezTo>
                  <a:pt x="1293872" y="888644"/>
                  <a:pt x="1307577" y="874990"/>
                  <a:pt x="1307577" y="858207"/>
                </a:cubicBezTo>
                <a:cubicBezTo>
                  <a:pt x="1307577" y="841424"/>
                  <a:pt x="1293872" y="827770"/>
                  <a:pt x="1277025" y="827770"/>
                </a:cubicBezTo>
                <a:cubicBezTo>
                  <a:pt x="1260178" y="827770"/>
                  <a:pt x="1246472" y="841424"/>
                  <a:pt x="1246472" y="858207"/>
                </a:cubicBezTo>
                <a:close/>
                <a:moveTo>
                  <a:pt x="1365161" y="858207"/>
                </a:moveTo>
                <a:cubicBezTo>
                  <a:pt x="1365161" y="874990"/>
                  <a:pt x="1378867" y="888644"/>
                  <a:pt x="1395714" y="888644"/>
                </a:cubicBezTo>
                <a:cubicBezTo>
                  <a:pt x="1412561" y="888644"/>
                  <a:pt x="1426266" y="874990"/>
                  <a:pt x="1426266" y="858207"/>
                </a:cubicBezTo>
                <a:cubicBezTo>
                  <a:pt x="1426266" y="841424"/>
                  <a:pt x="1412561" y="827770"/>
                  <a:pt x="1395714" y="827770"/>
                </a:cubicBezTo>
                <a:cubicBezTo>
                  <a:pt x="1378867" y="827770"/>
                  <a:pt x="1365161" y="841424"/>
                  <a:pt x="1365161" y="858207"/>
                </a:cubicBezTo>
                <a:close/>
                <a:moveTo>
                  <a:pt x="1424553" y="858207"/>
                </a:moveTo>
                <a:cubicBezTo>
                  <a:pt x="1424553" y="874990"/>
                  <a:pt x="1438259" y="888644"/>
                  <a:pt x="1455106" y="888644"/>
                </a:cubicBezTo>
                <a:cubicBezTo>
                  <a:pt x="1471953" y="888644"/>
                  <a:pt x="1485658" y="874990"/>
                  <a:pt x="1485658" y="858207"/>
                </a:cubicBezTo>
                <a:cubicBezTo>
                  <a:pt x="1485658" y="841424"/>
                  <a:pt x="1471953" y="827770"/>
                  <a:pt x="1455106" y="827770"/>
                </a:cubicBezTo>
                <a:cubicBezTo>
                  <a:pt x="1438259" y="827770"/>
                  <a:pt x="1424553" y="841424"/>
                  <a:pt x="1424553" y="858207"/>
                </a:cubicBezTo>
                <a:close/>
                <a:moveTo>
                  <a:pt x="95" y="917374"/>
                </a:moveTo>
                <a:cubicBezTo>
                  <a:pt x="95" y="934157"/>
                  <a:pt x="13801" y="947811"/>
                  <a:pt x="30648" y="947811"/>
                </a:cubicBezTo>
                <a:cubicBezTo>
                  <a:pt x="47495" y="947811"/>
                  <a:pt x="61200" y="934157"/>
                  <a:pt x="61200" y="917374"/>
                </a:cubicBezTo>
                <a:cubicBezTo>
                  <a:pt x="61200" y="900591"/>
                  <a:pt x="47495" y="886937"/>
                  <a:pt x="30648" y="886937"/>
                </a:cubicBezTo>
                <a:cubicBezTo>
                  <a:pt x="13801" y="886937"/>
                  <a:pt x="95" y="900591"/>
                  <a:pt x="95" y="917374"/>
                </a:cubicBezTo>
                <a:close/>
                <a:moveTo>
                  <a:pt x="593635" y="917374"/>
                </a:moveTo>
                <a:cubicBezTo>
                  <a:pt x="593635" y="934157"/>
                  <a:pt x="607341" y="947811"/>
                  <a:pt x="624188" y="947811"/>
                </a:cubicBezTo>
                <a:cubicBezTo>
                  <a:pt x="641035" y="947811"/>
                  <a:pt x="654740" y="934157"/>
                  <a:pt x="654740" y="917374"/>
                </a:cubicBezTo>
                <a:cubicBezTo>
                  <a:pt x="654740" y="900591"/>
                  <a:pt x="641035" y="886937"/>
                  <a:pt x="624188" y="886937"/>
                </a:cubicBezTo>
                <a:cubicBezTo>
                  <a:pt x="607341" y="886937"/>
                  <a:pt x="593635" y="900591"/>
                  <a:pt x="593635" y="917374"/>
                </a:cubicBezTo>
                <a:close/>
                <a:moveTo>
                  <a:pt x="712324" y="917374"/>
                </a:moveTo>
                <a:cubicBezTo>
                  <a:pt x="712324" y="934157"/>
                  <a:pt x="726030" y="947811"/>
                  <a:pt x="742877" y="947811"/>
                </a:cubicBezTo>
                <a:cubicBezTo>
                  <a:pt x="759724" y="947811"/>
                  <a:pt x="773429" y="934157"/>
                  <a:pt x="773429" y="917374"/>
                </a:cubicBezTo>
                <a:cubicBezTo>
                  <a:pt x="773429" y="900591"/>
                  <a:pt x="759724" y="886937"/>
                  <a:pt x="742877" y="886937"/>
                </a:cubicBezTo>
                <a:cubicBezTo>
                  <a:pt x="726030" y="886937"/>
                  <a:pt x="712324" y="900591"/>
                  <a:pt x="712324" y="917374"/>
                </a:cubicBezTo>
                <a:close/>
                <a:moveTo>
                  <a:pt x="771621" y="917374"/>
                </a:moveTo>
                <a:cubicBezTo>
                  <a:pt x="771621" y="934157"/>
                  <a:pt x="785327" y="947811"/>
                  <a:pt x="802174" y="947811"/>
                </a:cubicBezTo>
                <a:cubicBezTo>
                  <a:pt x="819021" y="947811"/>
                  <a:pt x="832726" y="934157"/>
                  <a:pt x="832726" y="917374"/>
                </a:cubicBezTo>
                <a:cubicBezTo>
                  <a:pt x="832726" y="900591"/>
                  <a:pt x="819021" y="886937"/>
                  <a:pt x="802174" y="886937"/>
                </a:cubicBezTo>
                <a:cubicBezTo>
                  <a:pt x="785327" y="886937"/>
                  <a:pt x="771621" y="900591"/>
                  <a:pt x="771621" y="917374"/>
                </a:cubicBezTo>
                <a:close/>
                <a:moveTo>
                  <a:pt x="890310" y="917374"/>
                </a:moveTo>
                <a:cubicBezTo>
                  <a:pt x="890310" y="934157"/>
                  <a:pt x="904016" y="947811"/>
                  <a:pt x="920863" y="947811"/>
                </a:cubicBezTo>
                <a:cubicBezTo>
                  <a:pt x="937709" y="947811"/>
                  <a:pt x="951415" y="934157"/>
                  <a:pt x="951415" y="917374"/>
                </a:cubicBezTo>
                <a:cubicBezTo>
                  <a:pt x="951415" y="900591"/>
                  <a:pt x="937709" y="886937"/>
                  <a:pt x="920863" y="886937"/>
                </a:cubicBezTo>
                <a:cubicBezTo>
                  <a:pt x="904016" y="886937"/>
                  <a:pt x="890310" y="900591"/>
                  <a:pt x="890310" y="917374"/>
                </a:cubicBezTo>
                <a:close/>
                <a:moveTo>
                  <a:pt x="949702" y="917374"/>
                </a:moveTo>
                <a:cubicBezTo>
                  <a:pt x="949702" y="934157"/>
                  <a:pt x="963408" y="947811"/>
                  <a:pt x="980255" y="947811"/>
                </a:cubicBezTo>
                <a:cubicBezTo>
                  <a:pt x="997101" y="947811"/>
                  <a:pt x="1010807" y="934157"/>
                  <a:pt x="1010807" y="917374"/>
                </a:cubicBezTo>
                <a:cubicBezTo>
                  <a:pt x="1010807" y="900591"/>
                  <a:pt x="997101" y="886937"/>
                  <a:pt x="980255" y="886937"/>
                </a:cubicBezTo>
                <a:cubicBezTo>
                  <a:pt x="963408" y="886937"/>
                  <a:pt x="949702" y="900591"/>
                  <a:pt x="949702" y="917374"/>
                </a:cubicBezTo>
                <a:close/>
                <a:moveTo>
                  <a:pt x="1127783" y="917374"/>
                </a:moveTo>
                <a:cubicBezTo>
                  <a:pt x="1127783" y="934157"/>
                  <a:pt x="1141489" y="947811"/>
                  <a:pt x="1158336" y="947811"/>
                </a:cubicBezTo>
                <a:cubicBezTo>
                  <a:pt x="1175183" y="947811"/>
                  <a:pt x="1188888" y="934157"/>
                  <a:pt x="1188888" y="917374"/>
                </a:cubicBezTo>
                <a:cubicBezTo>
                  <a:pt x="1188888" y="900591"/>
                  <a:pt x="1175183" y="886937"/>
                  <a:pt x="1158336" y="886937"/>
                </a:cubicBezTo>
                <a:cubicBezTo>
                  <a:pt x="1141489" y="886937"/>
                  <a:pt x="1127783" y="900591"/>
                  <a:pt x="1127783" y="917374"/>
                </a:cubicBezTo>
                <a:close/>
                <a:moveTo>
                  <a:pt x="1187080" y="917374"/>
                </a:moveTo>
                <a:cubicBezTo>
                  <a:pt x="1187080" y="934157"/>
                  <a:pt x="1200786" y="947811"/>
                  <a:pt x="1217633" y="947811"/>
                </a:cubicBezTo>
                <a:cubicBezTo>
                  <a:pt x="1234479" y="947811"/>
                  <a:pt x="1248185" y="934157"/>
                  <a:pt x="1248185" y="917374"/>
                </a:cubicBezTo>
                <a:cubicBezTo>
                  <a:pt x="1248185" y="900591"/>
                  <a:pt x="1234479" y="886937"/>
                  <a:pt x="1217633" y="886937"/>
                </a:cubicBezTo>
                <a:cubicBezTo>
                  <a:pt x="1200786" y="886937"/>
                  <a:pt x="1187080" y="900591"/>
                  <a:pt x="1187080" y="917374"/>
                </a:cubicBezTo>
                <a:close/>
                <a:moveTo>
                  <a:pt x="1424553" y="917374"/>
                </a:moveTo>
                <a:cubicBezTo>
                  <a:pt x="1424553" y="934157"/>
                  <a:pt x="1438259" y="947811"/>
                  <a:pt x="1455106" y="947811"/>
                </a:cubicBezTo>
                <a:cubicBezTo>
                  <a:pt x="1471953" y="947811"/>
                  <a:pt x="1485658" y="934157"/>
                  <a:pt x="1485658" y="917374"/>
                </a:cubicBezTo>
                <a:cubicBezTo>
                  <a:pt x="1485658" y="900591"/>
                  <a:pt x="1471953" y="886937"/>
                  <a:pt x="1455106" y="886937"/>
                </a:cubicBezTo>
                <a:cubicBezTo>
                  <a:pt x="1438259" y="886937"/>
                  <a:pt x="1424553" y="900591"/>
                  <a:pt x="1424553" y="917374"/>
                </a:cubicBezTo>
                <a:close/>
                <a:moveTo>
                  <a:pt x="95" y="976446"/>
                </a:moveTo>
                <a:cubicBezTo>
                  <a:pt x="95" y="993229"/>
                  <a:pt x="13801" y="1006883"/>
                  <a:pt x="30648" y="1006883"/>
                </a:cubicBezTo>
                <a:cubicBezTo>
                  <a:pt x="47495" y="1006883"/>
                  <a:pt x="61200" y="993229"/>
                  <a:pt x="61200" y="976446"/>
                </a:cubicBezTo>
                <a:cubicBezTo>
                  <a:pt x="61200" y="959663"/>
                  <a:pt x="47495" y="946009"/>
                  <a:pt x="30648" y="946009"/>
                </a:cubicBezTo>
                <a:cubicBezTo>
                  <a:pt x="13801" y="946009"/>
                  <a:pt x="95" y="959663"/>
                  <a:pt x="95" y="976446"/>
                </a:cubicBezTo>
                <a:close/>
                <a:moveTo>
                  <a:pt x="178081" y="976446"/>
                </a:moveTo>
                <a:cubicBezTo>
                  <a:pt x="178081" y="993229"/>
                  <a:pt x="191787" y="1006883"/>
                  <a:pt x="208634" y="1006883"/>
                </a:cubicBezTo>
                <a:cubicBezTo>
                  <a:pt x="225480" y="1006883"/>
                  <a:pt x="239186" y="993229"/>
                  <a:pt x="239186" y="976446"/>
                </a:cubicBezTo>
                <a:cubicBezTo>
                  <a:pt x="239186" y="959663"/>
                  <a:pt x="225480" y="946009"/>
                  <a:pt x="208634" y="946009"/>
                </a:cubicBezTo>
                <a:cubicBezTo>
                  <a:pt x="191787" y="946009"/>
                  <a:pt x="178081" y="959663"/>
                  <a:pt x="178081" y="976446"/>
                </a:cubicBezTo>
                <a:close/>
                <a:moveTo>
                  <a:pt x="356162" y="976446"/>
                </a:moveTo>
                <a:cubicBezTo>
                  <a:pt x="356162" y="993229"/>
                  <a:pt x="369868" y="1006883"/>
                  <a:pt x="386715" y="1006883"/>
                </a:cubicBezTo>
                <a:cubicBezTo>
                  <a:pt x="403562" y="1006883"/>
                  <a:pt x="417267" y="993229"/>
                  <a:pt x="417267" y="976446"/>
                </a:cubicBezTo>
                <a:cubicBezTo>
                  <a:pt x="417267" y="959663"/>
                  <a:pt x="403562" y="946009"/>
                  <a:pt x="386715" y="946009"/>
                </a:cubicBezTo>
                <a:cubicBezTo>
                  <a:pt x="369868" y="946009"/>
                  <a:pt x="356162" y="959663"/>
                  <a:pt x="356162" y="976446"/>
                </a:cubicBezTo>
                <a:close/>
                <a:moveTo>
                  <a:pt x="415554" y="976446"/>
                </a:moveTo>
                <a:cubicBezTo>
                  <a:pt x="415554" y="993229"/>
                  <a:pt x="429260" y="1006883"/>
                  <a:pt x="446107" y="1006883"/>
                </a:cubicBezTo>
                <a:cubicBezTo>
                  <a:pt x="462954" y="1006883"/>
                  <a:pt x="476659" y="993229"/>
                  <a:pt x="476659" y="976446"/>
                </a:cubicBezTo>
                <a:cubicBezTo>
                  <a:pt x="476659" y="959663"/>
                  <a:pt x="462954" y="946009"/>
                  <a:pt x="446107" y="946009"/>
                </a:cubicBezTo>
                <a:cubicBezTo>
                  <a:pt x="429260" y="946009"/>
                  <a:pt x="415554" y="959663"/>
                  <a:pt x="415554" y="976446"/>
                </a:cubicBezTo>
                <a:close/>
                <a:moveTo>
                  <a:pt x="534243" y="976446"/>
                </a:moveTo>
                <a:cubicBezTo>
                  <a:pt x="534243" y="993229"/>
                  <a:pt x="547949" y="1006883"/>
                  <a:pt x="564796" y="1006883"/>
                </a:cubicBezTo>
                <a:cubicBezTo>
                  <a:pt x="581643" y="1006883"/>
                  <a:pt x="595348" y="993229"/>
                  <a:pt x="595348" y="976446"/>
                </a:cubicBezTo>
                <a:cubicBezTo>
                  <a:pt x="595348" y="959663"/>
                  <a:pt x="581643" y="946009"/>
                  <a:pt x="564796" y="946009"/>
                </a:cubicBezTo>
                <a:cubicBezTo>
                  <a:pt x="547949" y="946009"/>
                  <a:pt x="534243" y="959663"/>
                  <a:pt x="534243" y="976446"/>
                </a:cubicBezTo>
                <a:close/>
                <a:moveTo>
                  <a:pt x="593635" y="976446"/>
                </a:moveTo>
                <a:cubicBezTo>
                  <a:pt x="593635" y="993229"/>
                  <a:pt x="607341" y="1006883"/>
                  <a:pt x="624188" y="1006883"/>
                </a:cubicBezTo>
                <a:cubicBezTo>
                  <a:pt x="641035" y="1006883"/>
                  <a:pt x="654740" y="993229"/>
                  <a:pt x="654740" y="976446"/>
                </a:cubicBezTo>
                <a:cubicBezTo>
                  <a:pt x="654740" y="959663"/>
                  <a:pt x="641035" y="946009"/>
                  <a:pt x="624188" y="946009"/>
                </a:cubicBezTo>
                <a:cubicBezTo>
                  <a:pt x="607341" y="946009"/>
                  <a:pt x="593635" y="959663"/>
                  <a:pt x="593635" y="976446"/>
                </a:cubicBezTo>
                <a:close/>
                <a:moveTo>
                  <a:pt x="712324" y="976446"/>
                </a:moveTo>
                <a:cubicBezTo>
                  <a:pt x="712324" y="993229"/>
                  <a:pt x="726030" y="1006883"/>
                  <a:pt x="742877" y="1006883"/>
                </a:cubicBezTo>
                <a:cubicBezTo>
                  <a:pt x="759724" y="1006883"/>
                  <a:pt x="773429" y="993229"/>
                  <a:pt x="773429" y="976446"/>
                </a:cubicBezTo>
                <a:cubicBezTo>
                  <a:pt x="773429" y="959663"/>
                  <a:pt x="759724" y="946009"/>
                  <a:pt x="742877" y="946009"/>
                </a:cubicBezTo>
                <a:cubicBezTo>
                  <a:pt x="726030" y="946009"/>
                  <a:pt x="712324" y="959663"/>
                  <a:pt x="712324" y="976446"/>
                </a:cubicBezTo>
                <a:close/>
                <a:moveTo>
                  <a:pt x="831013" y="976446"/>
                </a:moveTo>
                <a:cubicBezTo>
                  <a:pt x="831013" y="993229"/>
                  <a:pt x="844719" y="1006883"/>
                  <a:pt x="861566" y="1006883"/>
                </a:cubicBezTo>
                <a:cubicBezTo>
                  <a:pt x="878413" y="1006883"/>
                  <a:pt x="892118" y="993229"/>
                  <a:pt x="892118" y="976446"/>
                </a:cubicBezTo>
                <a:cubicBezTo>
                  <a:pt x="892118" y="959663"/>
                  <a:pt x="878413" y="946009"/>
                  <a:pt x="861566" y="946009"/>
                </a:cubicBezTo>
                <a:cubicBezTo>
                  <a:pt x="844719" y="946009"/>
                  <a:pt x="831013" y="959663"/>
                  <a:pt x="831013" y="976446"/>
                </a:cubicBezTo>
                <a:close/>
                <a:moveTo>
                  <a:pt x="890310" y="976446"/>
                </a:moveTo>
                <a:cubicBezTo>
                  <a:pt x="890310" y="993229"/>
                  <a:pt x="904016" y="1006883"/>
                  <a:pt x="920863" y="1006883"/>
                </a:cubicBezTo>
                <a:cubicBezTo>
                  <a:pt x="937709" y="1006883"/>
                  <a:pt x="951415" y="993229"/>
                  <a:pt x="951415" y="976446"/>
                </a:cubicBezTo>
                <a:cubicBezTo>
                  <a:pt x="951415" y="959663"/>
                  <a:pt x="937709" y="946009"/>
                  <a:pt x="920863" y="946009"/>
                </a:cubicBezTo>
                <a:cubicBezTo>
                  <a:pt x="904016" y="946009"/>
                  <a:pt x="890310" y="959663"/>
                  <a:pt x="890310" y="976446"/>
                </a:cubicBezTo>
                <a:close/>
                <a:moveTo>
                  <a:pt x="949702" y="976446"/>
                </a:moveTo>
                <a:cubicBezTo>
                  <a:pt x="949702" y="993229"/>
                  <a:pt x="963408" y="1006883"/>
                  <a:pt x="980255" y="1006883"/>
                </a:cubicBezTo>
                <a:cubicBezTo>
                  <a:pt x="997101" y="1006883"/>
                  <a:pt x="1010807" y="993229"/>
                  <a:pt x="1010807" y="976446"/>
                </a:cubicBezTo>
                <a:cubicBezTo>
                  <a:pt x="1010807" y="959663"/>
                  <a:pt x="997101" y="946009"/>
                  <a:pt x="980255" y="946009"/>
                </a:cubicBezTo>
                <a:cubicBezTo>
                  <a:pt x="963408" y="946009"/>
                  <a:pt x="949702" y="959663"/>
                  <a:pt x="949702" y="976446"/>
                </a:cubicBezTo>
                <a:close/>
                <a:moveTo>
                  <a:pt x="1009094" y="976446"/>
                </a:moveTo>
                <a:cubicBezTo>
                  <a:pt x="1009094" y="993229"/>
                  <a:pt x="1022800" y="1006883"/>
                  <a:pt x="1039647" y="1006883"/>
                </a:cubicBezTo>
                <a:cubicBezTo>
                  <a:pt x="1056494" y="1006883"/>
                  <a:pt x="1070199" y="993229"/>
                  <a:pt x="1070199" y="976446"/>
                </a:cubicBezTo>
                <a:cubicBezTo>
                  <a:pt x="1070199" y="959663"/>
                  <a:pt x="1056494" y="946009"/>
                  <a:pt x="1039647" y="946009"/>
                </a:cubicBezTo>
                <a:cubicBezTo>
                  <a:pt x="1022800" y="946009"/>
                  <a:pt x="1009094" y="959663"/>
                  <a:pt x="1009094" y="976446"/>
                </a:cubicBezTo>
                <a:close/>
                <a:moveTo>
                  <a:pt x="1068391" y="976446"/>
                </a:moveTo>
                <a:cubicBezTo>
                  <a:pt x="1068391" y="993229"/>
                  <a:pt x="1082097" y="1006883"/>
                  <a:pt x="1098944" y="1006883"/>
                </a:cubicBezTo>
                <a:cubicBezTo>
                  <a:pt x="1115790" y="1006883"/>
                  <a:pt x="1129496" y="993229"/>
                  <a:pt x="1129496" y="976446"/>
                </a:cubicBezTo>
                <a:cubicBezTo>
                  <a:pt x="1129496" y="959663"/>
                  <a:pt x="1115790" y="946009"/>
                  <a:pt x="1098944" y="946009"/>
                </a:cubicBezTo>
                <a:cubicBezTo>
                  <a:pt x="1082097" y="946009"/>
                  <a:pt x="1068391" y="959663"/>
                  <a:pt x="1068391" y="976446"/>
                </a:cubicBezTo>
                <a:close/>
                <a:moveTo>
                  <a:pt x="1127783" y="976446"/>
                </a:moveTo>
                <a:cubicBezTo>
                  <a:pt x="1127783" y="993229"/>
                  <a:pt x="1141489" y="1006883"/>
                  <a:pt x="1158336" y="1006883"/>
                </a:cubicBezTo>
                <a:cubicBezTo>
                  <a:pt x="1175183" y="1006883"/>
                  <a:pt x="1188888" y="993229"/>
                  <a:pt x="1188888" y="976446"/>
                </a:cubicBezTo>
                <a:cubicBezTo>
                  <a:pt x="1188888" y="959663"/>
                  <a:pt x="1175183" y="946009"/>
                  <a:pt x="1158336" y="946009"/>
                </a:cubicBezTo>
                <a:cubicBezTo>
                  <a:pt x="1141489" y="946009"/>
                  <a:pt x="1127783" y="959663"/>
                  <a:pt x="1127783" y="976446"/>
                </a:cubicBezTo>
                <a:close/>
                <a:moveTo>
                  <a:pt x="1187080" y="976446"/>
                </a:moveTo>
                <a:cubicBezTo>
                  <a:pt x="1187080" y="993229"/>
                  <a:pt x="1200786" y="1006883"/>
                  <a:pt x="1217633" y="1006883"/>
                </a:cubicBezTo>
                <a:cubicBezTo>
                  <a:pt x="1234479" y="1006883"/>
                  <a:pt x="1248185" y="993229"/>
                  <a:pt x="1248185" y="976446"/>
                </a:cubicBezTo>
                <a:cubicBezTo>
                  <a:pt x="1248185" y="959663"/>
                  <a:pt x="1234479" y="946009"/>
                  <a:pt x="1217633" y="946009"/>
                </a:cubicBezTo>
                <a:cubicBezTo>
                  <a:pt x="1200786" y="946009"/>
                  <a:pt x="1187080" y="959663"/>
                  <a:pt x="1187080" y="976446"/>
                </a:cubicBezTo>
                <a:close/>
                <a:moveTo>
                  <a:pt x="1305769" y="976446"/>
                </a:moveTo>
                <a:cubicBezTo>
                  <a:pt x="1305769" y="993229"/>
                  <a:pt x="1319475" y="1006883"/>
                  <a:pt x="1336322" y="1006883"/>
                </a:cubicBezTo>
                <a:cubicBezTo>
                  <a:pt x="1353168" y="1006883"/>
                  <a:pt x="1366874" y="993229"/>
                  <a:pt x="1366874" y="976446"/>
                </a:cubicBezTo>
                <a:cubicBezTo>
                  <a:pt x="1366874" y="959663"/>
                  <a:pt x="1353168" y="946009"/>
                  <a:pt x="1336322" y="946009"/>
                </a:cubicBezTo>
                <a:cubicBezTo>
                  <a:pt x="1319475" y="946009"/>
                  <a:pt x="1305769" y="959663"/>
                  <a:pt x="1305769" y="976446"/>
                </a:cubicBezTo>
                <a:close/>
                <a:moveTo>
                  <a:pt x="474851" y="1035613"/>
                </a:moveTo>
                <a:cubicBezTo>
                  <a:pt x="474851" y="1052396"/>
                  <a:pt x="488557" y="1066050"/>
                  <a:pt x="505404" y="1066050"/>
                </a:cubicBezTo>
                <a:cubicBezTo>
                  <a:pt x="522250" y="1066050"/>
                  <a:pt x="535956" y="1052396"/>
                  <a:pt x="535956" y="1035613"/>
                </a:cubicBezTo>
                <a:cubicBezTo>
                  <a:pt x="535956" y="1018830"/>
                  <a:pt x="522250" y="1005176"/>
                  <a:pt x="505404" y="1005176"/>
                </a:cubicBezTo>
                <a:cubicBezTo>
                  <a:pt x="488557" y="1005176"/>
                  <a:pt x="474851" y="1018830"/>
                  <a:pt x="474851" y="1035613"/>
                </a:cubicBezTo>
                <a:close/>
                <a:moveTo>
                  <a:pt x="534243" y="1035613"/>
                </a:moveTo>
                <a:cubicBezTo>
                  <a:pt x="534243" y="1052396"/>
                  <a:pt x="547949" y="1066050"/>
                  <a:pt x="564796" y="1066050"/>
                </a:cubicBezTo>
                <a:cubicBezTo>
                  <a:pt x="581643" y="1066050"/>
                  <a:pt x="595348" y="1052396"/>
                  <a:pt x="595348" y="1035613"/>
                </a:cubicBezTo>
                <a:cubicBezTo>
                  <a:pt x="595348" y="1018830"/>
                  <a:pt x="581643" y="1005176"/>
                  <a:pt x="564796" y="1005176"/>
                </a:cubicBezTo>
                <a:cubicBezTo>
                  <a:pt x="547949" y="1005176"/>
                  <a:pt x="534243" y="1018830"/>
                  <a:pt x="534243" y="1035613"/>
                </a:cubicBezTo>
                <a:close/>
                <a:moveTo>
                  <a:pt x="593635" y="1035613"/>
                </a:moveTo>
                <a:cubicBezTo>
                  <a:pt x="593635" y="1052396"/>
                  <a:pt x="607341" y="1066050"/>
                  <a:pt x="624188" y="1066050"/>
                </a:cubicBezTo>
                <a:cubicBezTo>
                  <a:pt x="641035" y="1066050"/>
                  <a:pt x="654740" y="1052396"/>
                  <a:pt x="654740" y="1035613"/>
                </a:cubicBezTo>
                <a:cubicBezTo>
                  <a:pt x="654740" y="1018830"/>
                  <a:pt x="641035" y="1005176"/>
                  <a:pt x="624188" y="1005176"/>
                </a:cubicBezTo>
                <a:cubicBezTo>
                  <a:pt x="607341" y="1005176"/>
                  <a:pt x="593635" y="1018830"/>
                  <a:pt x="593635" y="1035613"/>
                </a:cubicBezTo>
                <a:close/>
                <a:moveTo>
                  <a:pt x="890310" y="1035613"/>
                </a:moveTo>
                <a:cubicBezTo>
                  <a:pt x="890310" y="1052396"/>
                  <a:pt x="904016" y="1066050"/>
                  <a:pt x="920863" y="1066050"/>
                </a:cubicBezTo>
                <a:cubicBezTo>
                  <a:pt x="937709" y="1066050"/>
                  <a:pt x="951415" y="1052396"/>
                  <a:pt x="951415" y="1035613"/>
                </a:cubicBezTo>
                <a:cubicBezTo>
                  <a:pt x="951415" y="1018830"/>
                  <a:pt x="937709" y="1005176"/>
                  <a:pt x="920863" y="1005176"/>
                </a:cubicBezTo>
                <a:cubicBezTo>
                  <a:pt x="904016" y="1005176"/>
                  <a:pt x="890310" y="1018830"/>
                  <a:pt x="890310" y="1035613"/>
                </a:cubicBezTo>
                <a:close/>
                <a:moveTo>
                  <a:pt x="949702" y="1035613"/>
                </a:moveTo>
                <a:cubicBezTo>
                  <a:pt x="949702" y="1052396"/>
                  <a:pt x="963408" y="1066050"/>
                  <a:pt x="980255" y="1066050"/>
                </a:cubicBezTo>
                <a:cubicBezTo>
                  <a:pt x="997101" y="1066050"/>
                  <a:pt x="1010807" y="1052396"/>
                  <a:pt x="1010807" y="1035613"/>
                </a:cubicBezTo>
                <a:cubicBezTo>
                  <a:pt x="1010807" y="1018830"/>
                  <a:pt x="997101" y="1005176"/>
                  <a:pt x="980255" y="1005176"/>
                </a:cubicBezTo>
                <a:cubicBezTo>
                  <a:pt x="963408" y="1005176"/>
                  <a:pt x="949702" y="1018830"/>
                  <a:pt x="949702" y="1035613"/>
                </a:cubicBezTo>
                <a:close/>
                <a:moveTo>
                  <a:pt x="1187080" y="1035613"/>
                </a:moveTo>
                <a:cubicBezTo>
                  <a:pt x="1187080" y="1052396"/>
                  <a:pt x="1200786" y="1066050"/>
                  <a:pt x="1217633" y="1066050"/>
                </a:cubicBezTo>
                <a:cubicBezTo>
                  <a:pt x="1234479" y="1066050"/>
                  <a:pt x="1248185" y="1052396"/>
                  <a:pt x="1248185" y="1035613"/>
                </a:cubicBezTo>
                <a:cubicBezTo>
                  <a:pt x="1248185" y="1018830"/>
                  <a:pt x="1234479" y="1005176"/>
                  <a:pt x="1217633" y="1005176"/>
                </a:cubicBezTo>
                <a:cubicBezTo>
                  <a:pt x="1200786" y="1005176"/>
                  <a:pt x="1187080" y="1018830"/>
                  <a:pt x="1187080" y="1035613"/>
                </a:cubicBezTo>
                <a:close/>
                <a:moveTo>
                  <a:pt x="1246472" y="1035613"/>
                </a:moveTo>
                <a:cubicBezTo>
                  <a:pt x="1246472" y="1052396"/>
                  <a:pt x="1260178" y="1066050"/>
                  <a:pt x="1277025" y="1066050"/>
                </a:cubicBezTo>
                <a:cubicBezTo>
                  <a:pt x="1293872" y="1066050"/>
                  <a:pt x="1307577" y="1052396"/>
                  <a:pt x="1307577" y="1035613"/>
                </a:cubicBezTo>
                <a:cubicBezTo>
                  <a:pt x="1307577" y="1018830"/>
                  <a:pt x="1293872" y="1005176"/>
                  <a:pt x="1277025" y="1005176"/>
                </a:cubicBezTo>
                <a:cubicBezTo>
                  <a:pt x="1260178" y="1005176"/>
                  <a:pt x="1246472" y="1018830"/>
                  <a:pt x="1246472" y="1035613"/>
                </a:cubicBezTo>
                <a:close/>
                <a:moveTo>
                  <a:pt x="652932" y="1094685"/>
                </a:moveTo>
                <a:cubicBezTo>
                  <a:pt x="652932" y="1111468"/>
                  <a:pt x="666638" y="1125122"/>
                  <a:pt x="683485" y="1125122"/>
                </a:cubicBezTo>
                <a:cubicBezTo>
                  <a:pt x="700332" y="1125122"/>
                  <a:pt x="714037" y="1111468"/>
                  <a:pt x="714037" y="1094685"/>
                </a:cubicBezTo>
                <a:cubicBezTo>
                  <a:pt x="714037" y="1077902"/>
                  <a:pt x="700332" y="1064249"/>
                  <a:pt x="683485" y="1064249"/>
                </a:cubicBezTo>
                <a:cubicBezTo>
                  <a:pt x="666638" y="1064249"/>
                  <a:pt x="652932" y="1077902"/>
                  <a:pt x="652932" y="1094685"/>
                </a:cubicBezTo>
                <a:close/>
                <a:moveTo>
                  <a:pt x="712324" y="1094685"/>
                </a:moveTo>
                <a:cubicBezTo>
                  <a:pt x="712324" y="1111468"/>
                  <a:pt x="726030" y="1125122"/>
                  <a:pt x="742877" y="1125122"/>
                </a:cubicBezTo>
                <a:cubicBezTo>
                  <a:pt x="759724" y="1125122"/>
                  <a:pt x="773429" y="1111468"/>
                  <a:pt x="773429" y="1094685"/>
                </a:cubicBezTo>
                <a:cubicBezTo>
                  <a:pt x="773429" y="1077902"/>
                  <a:pt x="759724" y="1064249"/>
                  <a:pt x="742877" y="1064249"/>
                </a:cubicBezTo>
                <a:cubicBezTo>
                  <a:pt x="726030" y="1064249"/>
                  <a:pt x="712324" y="1077902"/>
                  <a:pt x="712324" y="1094685"/>
                </a:cubicBezTo>
                <a:close/>
                <a:moveTo>
                  <a:pt x="949702" y="1094685"/>
                </a:moveTo>
                <a:cubicBezTo>
                  <a:pt x="949702" y="1111468"/>
                  <a:pt x="963408" y="1125122"/>
                  <a:pt x="980255" y="1125122"/>
                </a:cubicBezTo>
                <a:cubicBezTo>
                  <a:pt x="997101" y="1125122"/>
                  <a:pt x="1010807" y="1111468"/>
                  <a:pt x="1010807" y="1094685"/>
                </a:cubicBezTo>
                <a:cubicBezTo>
                  <a:pt x="1010807" y="1077902"/>
                  <a:pt x="997101" y="1064249"/>
                  <a:pt x="980255" y="1064249"/>
                </a:cubicBezTo>
                <a:cubicBezTo>
                  <a:pt x="963408" y="1064249"/>
                  <a:pt x="949702" y="1077902"/>
                  <a:pt x="949702" y="1094685"/>
                </a:cubicBezTo>
                <a:close/>
                <a:moveTo>
                  <a:pt x="1068391" y="1094685"/>
                </a:moveTo>
                <a:cubicBezTo>
                  <a:pt x="1068391" y="1111468"/>
                  <a:pt x="1082097" y="1125122"/>
                  <a:pt x="1098944" y="1125122"/>
                </a:cubicBezTo>
                <a:cubicBezTo>
                  <a:pt x="1115790" y="1125122"/>
                  <a:pt x="1129496" y="1111468"/>
                  <a:pt x="1129496" y="1094685"/>
                </a:cubicBezTo>
                <a:cubicBezTo>
                  <a:pt x="1129496" y="1077902"/>
                  <a:pt x="1115790" y="1064249"/>
                  <a:pt x="1098944" y="1064249"/>
                </a:cubicBezTo>
                <a:cubicBezTo>
                  <a:pt x="1082097" y="1064249"/>
                  <a:pt x="1068391" y="1077902"/>
                  <a:pt x="1068391" y="1094685"/>
                </a:cubicBezTo>
                <a:close/>
                <a:moveTo>
                  <a:pt x="1187080" y="1094685"/>
                </a:moveTo>
                <a:cubicBezTo>
                  <a:pt x="1187080" y="1111468"/>
                  <a:pt x="1200786" y="1125122"/>
                  <a:pt x="1217633" y="1125122"/>
                </a:cubicBezTo>
                <a:cubicBezTo>
                  <a:pt x="1234479" y="1125122"/>
                  <a:pt x="1248185" y="1111468"/>
                  <a:pt x="1248185" y="1094685"/>
                </a:cubicBezTo>
                <a:cubicBezTo>
                  <a:pt x="1248185" y="1077902"/>
                  <a:pt x="1234479" y="1064249"/>
                  <a:pt x="1217633" y="1064249"/>
                </a:cubicBezTo>
                <a:cubicBezTo>
                  <a:pt x="1200786" y="1064249"/>
                  <a:pt x="1187080" y="1077902"/>
                  <a:pt x="1187080" y="1094685"/>
                </a:cubicBezTo>
                <a:close/>
                <a:moveTo>
                  <a:pt x="1305769" y="1094685"/>
                </a:moveTo>
                <a:cubicBezTo>
                  <a:pt x="1305769" y="1111468"/>
                  <a:pt x="1319475" y="1125122"/>
                  <a:pt x="1336322" y="1125122"/>
                </a:cubicBezTo>
                <a:cubicBezTo>
                  <a:pt x="1353168" y="1125122"/>
                  <a:pt x="1366874" y="1111468"/>
                  <a:pt x="1366874" y="1094685"/>
                </a:cubicBezTo>
                <a:cubicBezTo>
                  <a:pt x="1366874" y="1077902"/>
                  <a:pt x="1353168" y="1064249"/>
                  <a:pt x="1336322" y="1064249"/>
                </a:cubicBezTo>
                <a:cubicBezTo>
                  <a:pt x="1319475" y="1064249"/>
                  <a:pt x="1305769" y="1077902"/>
                  <a:pt x="1305769" y="1094685"/>
                </a:cubicBezTo>
                <a:close/>
                <a:moveTo>
                  <a:pt x="1365161" y="1094685"/>
                </a:moveTo>
                <a:cubicBezTo>
                  <a:pt x="1365161" y="1111468"/>
                  <a:pt x="1378867" y="1125122"/>
                  <a:pt x="1395714" y="1125122"/>
                </a:cubicBezTo>
                <a:cubicBezTo>
                  <a:pt x="1412561" y="1125122"/>
                  <a:pt x="1426266" y="1111468"/>
                  <a:pt x="1426266" y="1094685"/>
                </a:cubicBezTo>
                <a:cubicBezTo>
                  <a:pt x="1426266" y="1077902"/>
                  <a:pt x="1412561" y="1064249"/>
                  <a:pt x="1395714" y="1064249"/>
                </a:cubicBezTo>
                <a:cubicBezTo>
                  <a:pt x="1378867" y="1064249"/>
                  <a:pt x="1365161" y="1077902"/>
                  <a:pt x="1365161" y="1094685"/>
                </a:cubicBezTo>
                <a:close/>
                <a:moveTo>
                  <a:pt x="1424553" y="1094685"/>
                </a:moveTo>
                <a:cubicBezTo>
                  <a:pt x="1424553" y="1111468"/>
                  <a:pt x="1438259" y="1125122"/>
                  <a:pt x="1455106" y="1125122"/>
                </a:cubicBezTo>
                <a:cubicBezTo>
                  <a:pt x="1471953" y="1125122"/>
                  <a:pt x="1485658" y="1111468"/>
                  <a:pt x="1485658" y="1094685"/>
                </a:cubicBezTo>
                <a:cubicBezTo>
                  <a:pt x="1485658" y="1077902"/>
                  <a:pt x="1471953" y="1064249"/>
                  <a:pt x="1455106" y="1064249"/>
                </a:cubicBezTo>
                <a:cubicBezTo>
                  <a:pt x="1438259" y="1064249"/>
                  <a:pt x="1424553" y="1077902"/>
                  <a:pt x="1424553" y="1094685"/>
                </a:cubicBezTo>
                <a:close/>
                <a:moveTo>
                  <a:pt x="474851" y="1153853"/>
                </a:moveTo>
                <a:cubicBezTo>
                  <a:pt x="474851" y="1170635"/>
                  <a:pt x="488557" y="1184289"/>
                  <a:pt x="505404" y="1184289"/>
                </a:cubicBezTo>
                <a:cubicBezTo>
                  <a:pt x="522250" y="1184289"/>
                  <a:pt x="535956" y="1170635"/>
                  <a:pt x="535956" y="1153853"/>
                </a:cubicBezTo>
                <a:cubicBezTo>
                  <a:pt x="535956" y="1137070"/>
                  <a:pt x="522250" y="1123416"/>
                  <a:pt x="505404" y="1123416"/>
                </a:cubicBezTo>
                <a:cubicBezTo>
                  <a:pt x="488557" y="1123416"/>
                  <a:pt x="474851" y="1137070"/>
                  <a:pt x="474851" y="1153853"/>
                </a:cubicBezTo>
                <a:close/>
                <a:moveTo>
                  <a:pt x="593635" y="1153853"/>
                </a:moveTo>
                <a:cubicBezTo>
                  <a:pt x="593635" y="1170635"/>
                  <a:pt x="607341" y="1184289"/>
                  <a:pt x="624188" y="1184289"/>
                </a:cubicBezTo>
                <a:cubicBezTo>
                  <a:pt x="641035" y="1184289"/>
                  <a:pt x="654740" y="1170635"/>
                  <a:pt x="654740" y="1153853"/>
                </a:cubicBezTo>
                <a:cubicBezTo>
                  <a:pt x="654740" y="1137070"/>
                  <a:pt x="641035" y="1123416"/>
                  <a:pt x="624188" y="1123416"/>
                </a:cubicBezTo>
                <a:cubicBezTo>
                  <a:pt x="607341" y="1123416"/>
                  <a:pt x="593635" y="1137070"/>
                  <a:pt x="593635" y="1153853"/>
                </a:cubicBezTo>
                <a:close/>
                <a:moveTo>
                  <a:pt x="652932" y="1153853"/>
                </a:moveTo>
                <a:cubicBezTo>
                  <a:pt x="652932" y="1170635"/>
                  <a:pt x="666638" y="1184289"/>
                  <a:pt x="683485" y="1184289"/>
                </a:cubicBezTo>
                <a:cubicBezTo>
                  <a:pt x="700332" y="1184289"/>
                  <a:pt x="714037" y="1170635"/>
                  <a:pt x="714037" y="1153853"/>
                </a:cubicBezTo>
                <a:cubicBezTo>
                  <a:pt x="714037" y="1137070"/>
                  <a:pt x="700332" y="1123416"/>
                  <a:pt x="683485" y="1123416"/>
                </a:cubicBezTo>
                <a:cubicBezTo>
                  <a:pt x="666638" y="1123416"/>
                  <a:pt x="652932" y="1137070"/>
                  <a:pt x="652932" y="1153853"/>
                </a:cubicBezTo>
                <a:close/>
                <a:moveTo>
                  <a:pt x="831013" y="1153853"/>
                </a:moveTo>
                <a:cubicBezTo>
                  <a:pt x="831013" y="1170635"/>
                  <a:pt x="844719" y="1184289"/>
                  <a:pt x="861566" y="1184289"/>
                </a:cubicBezTo>
                <a:cubicBezTo>
                  <a:pt x="878413" y="1184289"/>
                  <a:pt x="892118" y="1170635"/>
                  <a:pt x="892118" y="1153853"/>
                </a:cubicBezTo>
                <a:cubicBezTo>
                  <a:pt x="892118" y="1137070"/>
                  <a:pt x="878413" y="1123416"/>
                  <a:pt x="861566" y="1123416"/>
                </a:cubicBezTo>
                <a:cubicBezTo>
                  <a:pt x="844719" y="1123416"/>
                  <a:pt x="831013" y="1137070"/>
                  <a:pt x="831013" y="1153853"/>
                </a:cubicBezTo>
                <a:close/>
                <a:moveTo>
                  <a:pt x="949702" y="1153853"/>
                </a:moveTo>
                <a:cubicBezTo>
                  <a:pt x="949702" y="1170635"/>
                  <a:pt x="963408" y="1184289"/>
                  <a:pt x="980255" y="1184289"/>
                </a:cubicBezTo>
                <a:cubicBezTo>
                  <a:pt x="997101" y="1184289"/>
                  <a:pt x="1010807" y="1170635"/>
                  <a:pt x="1010807" y="1153853"/>
                </a:cubicBezTo>
                <a:cubicBezTo>
                  <a:pt x="1010807" y="1137070"/>
                  <a:pt x="997101" y="1123416"/>
                  <a:pt x="980255" y="1123416"/>
                </a:cubicBezTo>
                <a:cubicBezTo>
                  <a:pt x="963408" y="1123416"/>
                  <a:pt x="949702" y="1137070"/>
                  <a:pt x="949702" y="1153853"/>
                </a:cubicBezTo>
                <a:close/>
                <a:moveTo>
                  <a:pt x="1187080" y="1153853"/>
                </a:moveTo>
                <a:cubicBezTo>
                  <a:pt x="1187080" y="1170635"/>
                  <a:pt x="1200786" y="1184289"/>
                  <a:pt x="1217633" y="1184289"/>
                </a:cubicBezTo>
                <a:cubicBezTo>
                  <a:pt x="1234479" y="1184289"/>
                  <a:pt x="1248185" y="1170635"/>
                  <a:pt x="1248185" y="1153853"/>
                </a:cubicBezTo>
                <a:cubicBezTo>
                  <a:pt x="1248185" y="1137070"/>
                  <a:pt x="1234479" y="1123416"/>
                  <a:pt x="1217633" y="1123416"/>
                </a:cubicBezTo>
                <a:cubicBezTo>
                  <a:pt x="1200786" y="1123416"/>
                  <a:pt x="1187080" y="1137070"/>
                  <a:pt x="1187080" y="1153853"/>
                </a:cubicBezTo>
                <a:close/>
                <a:moveTo>
                  <a:pt x="1246472" y="1153853"/>
                </a:moveTo>
                <a:cubicBezTo>
                  <a:pt x="1246472" y="1170635"/>
                  <a:pt x="1260178" y="1184289"/>
                  <a:pt x="1277025" y="1184289"/>
                </a:cubicBezTo>
                <a:cubicBezTo>
                  <a:pt x="1293872" y="1184289"/>
                  <a:pt x="1307577" y="1170635"/>
                  <a:pt x="1307577" y="1153853"/>
                </a:cubicBezTo>
                <a:cubicBezTo>
                  <a:pt x="1307577" y="1137070"/>
                  <a:pt x="1293872" y="1123416"/>
                  <a:pt x="1277025" y="1123416"/>
                </a:cubicBezTo>
                <a:cubicBezTo>
                  <a:pt x="1260178" y="1123416"/>
                  <a:pt x="1246472" y="1137070"/>
                  <a:pt x="1246472" y="1153853"/>
                </a:cubicBezTo>
                <a:close/>
                <a:moveTo>
                  <a:pt x="1424553" y="1153853"/>
                </a:moveTo>
                <a:cubicBezTo>
                  <a:pt x="1424553" y="1170635"/>
                  <a:pt x="1438259" y="1184289"/>
                  <a:pt x="1455106" y="1184289"/>
                </a:cubicBezTo>
                <a:cubicBezTo>
                  <a:pt x="1471953" y="1184289"/>
                  <a:pt x="1485658" y="1170635"/>
                  <a:pt x="1485658" y="1153853"/>
                </a:cubicBezTo>
                <a:cubicBezTo>
                  <a:pt x="1485658" y="1137070"/>
                  <a:pt x="1471953" y="1123416"/>
                  <a:pt x="1455106" y="1123416"/>
                </a:cubicBezTo>
                <a:cubicBezTo>
                  <a:pt x="1438259" y="1123416"/>
                  <a:pt x="1424553" y="1137070"/>
                  <a:pt x="1424553" y="1153853"/>
                </a:cubicBezTo>
                <a:close/>
                <a:moveTo>
                  <a:pt x="474851" y="1212925"/>
                </a:moveTo>
                <a:cubicBezTo>
                  <a:pt x="474851" y="1229708"/>
                  <a:pt x="488557" y="1243362"/>
                  <a:pt x="505404" y="1243362"/>
                </a:cubicBezTo>
                <a:cubicBezTo>
                  <a:pt x="522250" y="1243362"/>
                  <a:pt x="535956" y="1229708"/>
                  <a:pt x="535956" y="1212925"/>
                </a:cubicBezTo>
                <a:cubicBezTo>
                  <a:pt x="535956" y="1196142"/>
                  <a:pt x="522250" y="1182488"/>
                  <a:pt x="505404" y="1182488"/>
                </a:cubicBezTo>
                <a:cubicBezTo>
                  <a:pt x="488557" y="1182488"/>
                  <a:pt x="474851" y="1196142"/>
                  <a:pt x="474851" y="1212925"/>
                </a:cubicBezTo>
                <a:close/>
                <a:moveTo>
                  <a:pt x="534243" y="1212925"/>
                </a:moveTo>
                <a:cubicBezTo>
                  <a:pt x="534243" y="1229708"/>
                  <a:pt x="547949" y="1243362"/>
                  <a:pt x="564796" y="1243362"/>
                </a:cubicBezTo>
                <a:cubicBezTo>
                  <a:pt x="581643" y="1243362"/>
                  <a:pt x="595348" y="1229708"/>
                  <a:pt x="595348" y="1212925"/>
                </a:cubicBezTo>
                <a:cubicBezTo>
                  <a:pt x="595348" y="1196142"/>
                  <a:pt x="581643" y="1182488"/>
                  <a:pt x="564796" y="1182488"/>
                </a:cubicBezTo>
                <a:cubicBezTo>
                  <a:pt x="547949" y="1182488"/>
                  <a:pt x="534243" y="1196142"/>
                  <a:pt x="534243" y="1212925"/>
                </a:cubicBezTo>
                <a:close/>
                <a:moveTo>
                  <a:pt x="652932" y="1212925"/>
                </a:moveTo>
                <a:cubicBezTo>
                  <a:pt x="652932" y="1229708"/>
                  <a:pt x="666638" y="1243362"/>
                  <a:pt x="683485" y="1243362"/>
                </a:cubicBezTo>
                <a:cubicBezTo>
                  <a:pt x="700332" y="1243362"/>
                  <a:pt x="714037" y="1229708"/>
                  <a:pt x="714037" y="1212925"/>
                </a:cubicBezTo>
                <a:cubicBezTo>
                  <a:pt x="714037" y="1196142"/>
                  <a:pt x="700332" y="1182488"/>
                  <a:pt x="683485" y="1182488"/>
                </a:cubicBezTo>
                <a:cubicBezTo>
                  <a:pt x="666638" y="1182488"/>
                  <a:pt x="652932" y="1196142"/>
                  <a:pt x="652932" y="1212925"/>
                </a:cubicBezTo>
                <a:close/>
                <a:moveTo>
                  <a:pt x="890310" y="1212925"/>
                </a:moveTo>
                <a:cubicBezTo>
                  <a:pt x="890310" y="1229708"/>
                  <a:pt x="904016" y="1243362"/>
                  <a:pt x="920863" y="1243362"/>
                </a:cubicBezTo>
                <a:cubicBezTo>
                  <a:pt x="937709" y="1243362"/>
                  <a:pt x="951415" y="1229708"/>
                  <a:pt x="951415" y="1212925"/>
                </a:cubicBezTo>
                <a:cubicBezTo>
                  <a:pt x="951415" y="1196142"/>
                  <a:pt x="937709" y="1182488"/>
                  <a:pt x="920863" y="1182488"/>
                </a:cubicBezTo>
                <a:cubicBezTo>
                  <a:pt x="904016" y="1182488"/>
                  <a:pt x="890310" y="1196142"/>
                  <a:pt x="890310" y="1212925"/>
                </a:cubicBezTo>
                <a:close/>
                <a:moveTo>
                  <a:pt x="949702" y="1212925"/>
                </a:moveTo>
                <a:cubicBezTo>
                  <a:pt x="949702" y="1229708"/>
                  <a:pt x="963408" y="1243362"/>
                  <a:pt x="980255" y="1243362"/>
                </a:cubicBezTo>
                <a:cubicBezTo>
                  <a:pt x="997101" y="1243362"/>
                  <a:pt x="1010807" y="1229708"/>
                  <a:pt x="1010807" y="1212925"/>
                </a:cubicBezTo>
                <a:cubicBezTo>
                  <a:pt x="1010807" y="1196142"/>
                  <a:pt x="997101" y="1182488"/>
                  <a:pt x="980255" y="1182488"/>
                </a:cubicBezTo>
                <a:cubicBezTo>
                  <a:pt x="963408" y="1182488"/>
                  <a:pt x="949702" y="1196142"/>
                  <a:pt x="949702" y="1212925"/>
                </a:cubicBezTo>
                <a:close/>
                <a:moveTo>
                  <a:pt x="1009094" y="1212925"/>
                </a:moveTo>
                <a:cubicBezTo>
                  <a:pt x="1009094" y="1229708"/>
                  <a:pt x="1022800" y="1243362"/>
                  <a:pt x="1039647" y="1243362"/>
                </a:cubicBezTo>
                <a:cubicBezTo>
                  <a:pt x="1056494" y="1243362"/>
                  <a:pt x="1070199" y="1229708"/>
                  <a:pt x="1070199" y="1212925"/>
                </a:cubicBezTo>
                <a:cubicBezTo>
                  <a:pt x="1070199" y="1196142"/>
                  <a:pt x="1056494" y="1182488"/>
                  <a:pt x="1039647" y="1182488"/>
                </a:cubicBezTo>
                <a:cubicBezTo>
                  <a:pt x="1022800" y="1182488"/>
                  <a:pt x="1009094" y="1196142"/>
                  <a:pt x="1009094" y="1212925"/>
                </a:cubicBezTo>
                <a:close/>
                <a:moveTo>
                  <a:pt x="1068391" y="1212925"/>
                </a:moveTo>
                <a:cubicBezTo>
                  <a:pt x="1068391" y="1229708"/>
                  <a:pt x="1082097" y="1243362"/>
                  <a:pt x="1098944" y="1243362"/>
                </a:cubicBezTo>
                <a:cubicBezTo>
                  <a:pt x="1115790" y="1243362"/>
                  <a:pt x="1129496" y="1229708"/>
                  <a:pt x="1129496" y="1212925"/>
                </a:cubicBezTo>
                <a:cubicBezTo>
                  <a:pt x="1129496" y="1196142"/>
                  <a:pt x="1115790" y="1182488"/>
                  <a:pt x="1098944" y="1182488"/>
                </a:cubicBezTo>
                <a:cubicBezTo>
                  <a:pt x="1082097" y="1182488"/>
                  <a:pt x="1068391" y="1196142"/>
                  <a:pt x="1068391" y="1212925"/>
                </a:cubicBezTo>
                <a:close/>
                <a:moveTo>
                  <a:pt x="1127783" y="1212925"/>
                </a:moveTo>
                <a:cubicBezTo>
                  <a:pt x="1127783" y="1229708"/>
                  <a:pt x="1141489" y="1243362"/>
                  <a:pt x="1158336" y="1243362"/>
                </a:cubicBezTo>
                <a:cubicBezTo>
                  <a:pt x="1175183" y="1243362"/>
                  <a:pt x="1188888" y="1229708"/>
                  <a:pt x="1188888" y="1212925"/>
                </a:cubicBezTo>
                <a:cubicBezTo>
                  <a:pt x="1188888" y="1196142"/>
                  <a:pt x="1175183" y="1182488"/>
                  <a:pt x="1158336" y="1182488"/>
                </a:cubicBezTo>
                <a:cubicBezTo>
                  <a:pt x="1141489" y="1182488"/>
                  <a:pt x="1127783" y="1196142"/>
                  <a:pt x="1127783" y="1212925"/>
                </a:cubicBezTo>
                <a:close/>
                <a:moveTo>
                  <a:pt x="1187080" y="1212925"/>
                </a:moveTo>
                <a:cubicBezTo>
                  <a:pt x="1187080" y="1229708"/>
                  <a:pt x="1200786" y="1243362"/>
                  <a:pt x="1217633" y="1243362"/>
                </a:cubicBezTo>
                <a:cubicBezTo>
                  <a:pt x="1234479" y="1243362"/>
                  <a:pt x="1248185" y="1229708"/>
                  <a:pt x="1248185" y="1212925"/>
                </a:cubicBezTo>
                <a:cubicBezTo>
                  <a:pt x="1248185" y="1196142"/>
                  <a:pt x="1234479" y="1182488"/>
                  <a:pt x="1217633" y="1182488"/>
                </a:cubicBezTo>
                <a:cubicBezTo>
                  <a:pt x="1200786" y="1182488"/>
                  <a:pt x="1187080" y="1196142"/>
                  <a:pt x="1187080" y="1212925"/>
                </a:cubicBezTo>
                <a:close/>
                <a:moveTo>
                  <a:pt x="1305769" y="1212925"/>
                </a:moveTo>
                <a:cubicBezTo>
                  <a:pt x="1305769" y="1229708"/>
                  <a:pt x="1319475" y="1243362"/>
                  <a:pt x="1336322" y="1243362"/>
                </a:cubicBezTo>
                <a:cubicBezTo>
                  <a:pt x="1353168" y="1243362"/>
                  <a:pt x="1366874" y="1229708"/>
                  <a:pt x="1366874" y="1212925"/>
                </a:cubicBezTo>
                <a:cubicBezTo>
                  <a:pt x="1366874" y="1196142"/>
                  <a:pt x="1353168" y="1182488"/>
                  <a:pt x="1336322" y="1182488"/>
                </a:cubicBezTo>
                <a:cubicBezTo>
                  <a:pt x="1319475" y="1182488"/>
                  <a:pt x="1305769" y="1196142"/>
                  <a:pt x="1305769" y="1212925"/>
                </a:cubicBezTo>
                <a:close/>
                <a:moveTo>
                  <a:pt x="1365161" y="1212925"/>
                </a:moveTo>
                <a:cubicBezTo>
                  <a:pt x="1365161" y="1229708"/>
                  <a:pt x="1378867" y="1243362"/>
                  <a:pt x="1395714" y="1243362"/>
                </a:cubicBezTo>
                <a:cubicBezTo>
                  <a:pt x="1412561" y="1243362"/>
                  <a:pt x="1426266" y="1229708"/>
                  <a:pt x="1426266" y="1212925"/>
                </a:cubicBezTo>
                <a:cubicBezTo>
                  <a:pt x="1426266" y="1196142"/>
                  <a:pt x="1412561" y="1182488"/>
                  <a:pt x="1395714" y="1182488"/>
                </a:cubicBezTo>
                <a:cubicBezTo>
                  <a:pt x="1378867" y="1182488"/>
                  <a:pt x="1365161" y="1196142"/>
                  <a:pt x="1365161" y="1212925"/>
                </a:cubicBezTo>
                <a:close/>
                <a:moveTo>
                  <a:pt x="1424553" y="1212925"/>
                </a:moveTo>
                <a:cubicBezTo>
                  <a:pt x="1424553" y="1229708"/>
                  <a:pt x="1438259" y="1243362"/>
                  <a:pt x="1455106" y="1243362"/>
                </a:cubicBezTo>
                <a:cubicBezTo>
                  <a:pt x="1471953" y="1243362"/>
                  <a:pt x="1485658" y="1229708"/>
                  <a:pt x="1485658" y="1212925"/>
                </a:cubicBezTo>
                <a:cubicBezTo>
                  <a:pt x="1485658" y="1196142"/>
                  <a:pt x="1471953" y="1182488"/>
                  <a:pt x="1455106" y="1182488"/>
                </a:cubicBezTo>
                <a:cubicBezTo>
                  <a:pt x="1438259" y="1182488"/>
                  <a:pt x="1424553" y="1196142"/>
                  <a:pt x="1424553" y="1212925"/>
                </a:cubicBezTo>
                <a:close/>
                <a:moveTo>
                  <a:pt x="474851" y="1272092"/>
                </a:moveTo>
                <a:cubicBezTo>
                  <a:pt x="474851" y="1288875"/>
                  <a:pt x="488557" y="1302529"/>
                  <a:pt x="505404" y="1302529"/>
                </a:cubicBezTo>
                <a:cubicBezTo>
                  <a:pt x="522250" y="1302529"/>
                  <a:pt x="535956" y="1288875"/>
                  <a:pt x="535956" y="1272092"/>
                </a:cubicBezTo>
                <a:cubicBezTo>
                  <a:pt x="535956" y="1255309"/>
                  <a:pt x="522250" y="1241655"/>
                  <a:pt x="505404" y="1241655"/>
                </a:cubicBezTo>
                <a:cubicBezTo>
                  <a:pt x="488557" y="1241655"/>
                  <a:pt x="474851" y="1255309"/>
                  <a:pt x="474851" y="1272092"/>
                </a:cubicBezTo>
                <a:close/>
                <a:moveTo>
                  <a:pt x="534243" y="1272092"/>
                </a:moveTo>
                <a:cubicBezTo>
                  <a:pt x="534243" y="1288875"/>
                  <a:pt x="547949" y="1302529"/>
                  <a:pt x="564796" y="1302529"/>
                </a:cubicBezTo>
                <a:cubicBezTo>
                  <a:pt x="581643" y="1302529"/>
                  <a:pt x="595348" y="1288875"/>
                  <a:pt x="595348" y="1272092"/>
                </a:cubicBezTo>
                <a:cubicBezTo>
                  <a:pt x="595348" y="1255309"/>
                  <a:pt x="581643" y="1241655"/>
                  <a:pt x="564796" y="1241655"/>
                </a:cubicBezTo>
                <a:cubicBezTo>
                  <a:pt x="547949" y="1241655"/>
                  <a:pt x="534243" y="1255309"/>
                  <a:pt x="534243" y="1272092"/>
                </a:cubicBezTo>
                <a:close/>
                <a:moveTo>
                  <a:pt x="712324" y="1272092"/>
                </a:moveTo>
                <a:cubicBezTo>
                  <a:pt x="712324" y="1288875"/>
                  <a:pt x="726030" y="1302529"/>
                  <a:pt x="742877" y="1302529"/>
                </a:cubicBezTo>
                <a:cubicBezTo>
                  <a:pt x="759724" y="1302529"/>
                  <a:pt x="773429" y="1288875"/>
                  <a:pt x="773429" y="1272092"/>
                </a:cubicBezTo>
                <a:cubicBezTo>
                  <a:pt x="773429" y="1255309"/>
                  <a:pt x="759724" y="1241655"/>
                  <a:pt x="742877" y="1241655"/>
                </a:cubicBezTo>
                <a:cubicBezTo>
                  <a:pt x="726030" y="1241655"/>
                  <a:pt x="712324" y="1255309"/>
                  <a:pt x="712324" y="1272092"/>
                </a:cubicBezTo>
                <a:close/>
                <a:moveTo>
                  <a:pt x="771621" y="1272092"/>
                </a:moveTo>
                <a:cubicBezTo>
                  <a:pt x="771621" y="1288875"/>
                  <a:pt x="785327" y="1302529"/>
                  <a:pt x="802174" y="1302529"/>
                </a:cubicBezTo>
                <a:cubicBezTo>
                  <a:pt x="819021" y="1302529"/>
                  <a:pt x="832726" y="1288875"/>
                  <a:pt x="832726" y="1272092"/>
                </a:cubicBezTo>
                <a:cubicBezTo>
                  <a:pt x="832726" y="1255309"/>
                  <a:pt x="819021" y="1241655"/>
                  <a:pt x="802174" y="1241655"/>
                </a:cubicBezTo>
                <a:cubicBezTo>
                  <a:pt x="785327" y="1241655"/>
                  <a:pt x="771621" y="1255309"/>
                  <a:pt x="771621" y="1272092"/>
                </a:cubicBezTo>
                <a:close/>
                <a:moveTo>
                  <a:pt x="831013" y="1272092"/>
                </a:moveTo>
                <a:cubicBezTo>
                  <a:pt x="831013" y="1288875"/>
                  <a:pt x="844719" y="1302529"/>
                  <a:pt x="861566" y="1302529"/>
                </a:cubicBezTo>
                <a:cubicBezTo>
                  <a:pt x="878413" y="1302529"/>
                  <a:pt x="892118" y="1288875"/>
                  <a:pt x="892118" y="1272092"/>
                </a:cubicBezTo>
                <a:cubicBezTo>
                  <a:pt x="892118" y="1255309"/>
                  <a:pt x="878413" y="1241655"/>
                  <a:pt x="861566" y="1241655"/>
                </a:cubicBezTo>
                <a:cubicBezTo>
                  <a:pt x="844719" y="1241655"/>
                  <a:pt x="831013" y="1255309"/>
                  <a:pt x="831013" y="1272092"/>
                </a:cubicBezTo>
                <a:close/>
                <a:moveTo>
                  <a:pt x="890310" y="1272092"/>
                </a:moveTo>
                <a:cubicBezTo>
                  <a:pt x="890310" y="1288875"/>
                  <a:pt x="904016" y="1302529"/>
                  <a:pt x="920863" y="1302529"/>
                </a:cubicBezTo>
                <a:cubicBezTo>
                  <a:pt x="937709" y="1302529"/>
                  <a:pt x="951415" y="1288875"/>
                  <a:pt x="951415" y="1272092"/>
                </a:cubicBezTo>
                <a:cubicBezTo>
                  <a:pt x="951415" y="1255309"/>
                  <a:pt x="937709" y="1241655"/>
                  <a:pt x="920863" y="1241655"/>
                </a:cubicBezTo>
                <a:cubicBezTo>
                  <a:pt x="904016" y="1241655"/>
                  <a:pt x="890310" y="1255309"/>
                  <a:pt x="890310" y="1272092"/>
                </a:cubicBezTo>
                <a:close/>
                <a:moveTo>
                  <a:pt x="1009094" y="1272092"/>
                </a:moveTo>
                <a:cubicBezTo>
                  <a:pt x="1009094" y="1288875"/>
                  <a:pt x="1022800" y="1302529"/>
                  <a:pt x="1039647" y="1302529"/>
                </a:cubicBezTo>
                <a:cubicBezTo>
                  <a:pt x="1056494" y="1302529"/>
                  <a:pt x="1070199" y="1288875"/>
                  <a:pt x="1070199" y="1272092"/>
                </a:cubicBezTo>
                <a:cubicBezTo>
                  <a:pt x="1070199" y="1255309"/>
                  <a:pt x="1056494" y="1241655"/>
                  <a:pt x="1039647" y="1241655"/>
                </a:cubicBezTo>
                <a:cubicBezTo>
                  <a:pt x="1022800" y="1241655"/>
                  <a:pt x="1009094" y="1255309"/>
                  <a:pt x="1009094" y="1272092"/>
                </a:cubicBezTo>
                <a:close/>
                <a:moveTo>
                  <a:pt x="1068391" y="1272092"/>
                </a:moveTo>
                <a:cubicBezTo>
                  <a:pt x="1068391" y="1288875"/>
                  <a:pt x="1082097" y="1302529"/>
                  <a:pt x="1098944" y="1302529"/>
                </a:cubicBezTo>
                <a:cubicBezTo>
                  <a:pt x="1115790" y="1302529"/>
                  <a:pt x="1129496" y="1288875"/>
                  <a:pt x="1129496" y="1272092"/>
                </a:cubicBezTo>
                <a:cubicBezTo>
                  <a:pt x="1129496" y="1255309"/>
                  <a:pt x="1115790" y="1241655"/>
                  <a:pt x="1098944" y="1241655"/>
                </a:cubicBezTo>
                <a:cubicBezTo>
                  <a:pt x="1082097" y="1241655"/>
                  <a:pt x="1068391" y="1255309"/>
                  <a:pt x="1068391" y="1272092"/>
                </a:cubicBezTo>
                <a:close/>
                <a:moveTo>
                  <a:pt x="1187080" y="1272092"/>
                </a:moveTo>
                <a:cubicBezTo>
                  <a:pt x="1187080" y="1288875"/>
                  <a:pt x="1200786" y="1302529"/>
                  <a:pt x="1217633" y="1302529"/>
                </a:cubicBezTo>
                <a:cubicBezTo>
                  <a:pt x="1234479" y="1302529"/>
                  <a:pt x="1248185" y="1288875"/>
                  <a:pt x="1248185" y="1272092"/>
                </a:cubicBezTo>
                <a:cubicBezTo>
                  <a:pt x="1248185" y="1255309"/>
                  <a:pt x="1234479" y="1241655"/>
                  <a:pt x="1217633" y="1241655"/>
                </a:cubicBezTo>
                <a:cubicBezTo>
                  <a:pt x="1200786" y="1241655"/>
                  <a:pt x="1187080" y="1255309"/>
                  <a:pt x="1187080" y="1272092"/>
                </a:cubicBezTo>
                <a:close/>
                <a:moveTo>
                  <a:pt x="1246472" y="1272092"/>
                </a:moveTo>
                <a:cubicBezTo>
                  <a:pt x="1246472" y="1288875"/>
                  <a:pt x="1260178" y="1302529"/>
                  <a:pt x="1277025" y="1302529"/>
                </a:cubicBezTo>
                <a:cubicBezTo>
                  <a:pt x="1293872" y="1302529"/>
                  <a:pt x="1307577" y="1288875"/>
                  <a:pt x="1307577" y="1272092"/>
                </a:cubicBezTo>
                <a:cubicBezTo>
                  <a:pt x="1307577" y="1255309"/>
                  <a:pt x="1293872" y="1241655"/>
                  <a:pt x="1277025" y="1241655"/>
                </a:cubicBezTo>
                <a:cubicBezTo>
                  <a:pt x="1260178" y="1241655"/>
                  <a:pt x="1246472" y="1255309"/>
                  <a:pt x="1246472" y="1272092"/>
                </a:cubicBezTo>
                <a:close/>
                <a:moveTo>
                  <a:pt x="1305769" y="1272092"/>
                </a:moveTo>
                <a:cubicBezTo>
                  <a:pt x="1305769" y="1288875"/>
                  <a:pt x="1319475" y="1302529"/>
                  <a:pt x="1336322" y="1302529"/>
                </a:cubicBezTo>
                <a:cubicBezTo>
                  <a:pt x="1353168" y="1302529"/>
                  <a:pt x="1366874" y="1288875"/>
                  <a:pt x="1366874" y="1272092"/>
                </a:cubicBezTo>
                <a:cubicBezTo>
                  <a:pt x="1366874" y="1255309"/>
                  <a:pt x="1353168" y="1241655"/>
                  <a:pt x="1336322" y="1241655"/>
                </a:cubicBezTo>
                <a:cubicBezTo>
                  <a:pt x="1319475" y="1241655"/>
                  <a:pt x="1305769" y="1255309"/>
                  <a:pt x="1305769" y="1272092"/>
                </a:cubicBezTo>
                <a:close/>
                <a:moveTo>
                  <a:pt x="1365161" y="1272092"/>
                </a:moveTo>
                <a:cubicBezTo>
                  <a:pt x="1365161" y="1288875"/>
                  <a:pt x="1378867" y="1302529"/>
                  <a:pt x="1395714" y="1302529"/>
                </a:cubicBezTo>
                <a:cubicBezTo>
                  <a:pt x="1412561" y="1302529"/>
                  <a:pt x="1426266" y="1288875"/>
                  <a:pt x="1426266" y="1272092"/>
                </a:cubicBezTo>
                <a:cubicBezTo>
                  <a:pt x="1426266" y="1255309"/>
                  <a:pt x="1412561" y="1241655"/>
                  <a:pt x="1395714" y="1241655"/>
                </a:cubicBezTo>
                <a:cubicBezTo>
                  <a:pt x="1378867" y="1241655"/>
                  <a:pt x="1365161" y="1255309"/>
                  <a:pt x="1365161" y="1272092"/>
                </a:cubicBezTo>
                <a:close/>
                <a:moveTo>
                  <a:pt x="1424553" y="1272092"/>
                </a:moveTo>
                <a:cubicBezTo>
                  <a:pt x="1424553" y="1288875"/>
                  <a:pt x="1438259" y="1302529"/>
                  <a:pt x="1455106" y="1302529"/>
                </a:cubicBezTo>
                <a:cubicBezTo>
                  <a:pt x="1471953" y="1302529"/>
                  <a:pt x="1485658" y="1288875"/>
                  <a:pt x="1485658" y="1272092"/>
                </a:cubicBezTo>
                <a:cubicBezTo>
                  <a:pt x="1485658" y="1255309"/>
                  <a:pt x="1471953" y="1241655"/>
                  <a:pt x="1455106" y="1241655"/>
                </a:cubicBezTo>
                <a:cubicBezTo>
                  <a:pt x="1438259" y="1241655"/>
                  <a:pt x="1424553" y="1255309"/>
                  <a:pt x="1424553" y="1272092"/>
                </a:cubicBezTo>
                <a:close/>
                <a:moveTo>
                  <a:pt x="474851" y="1331259"/>
                </a:moveTo>
                <a:cubicBezTo>
                  <a:pt x="474851" y="1348042"/>
                  <a:pt x="488557" y="1361696"/>
                  <a:pt x="505404" y="1361696"/>
                </a:cubicBezTo>
                <a:cubicBezTo>
                  <a:pt x="522250" y="1361696"/>
                  <a:pt x="535956" y="1348042"/>
                  <a:pt x="535956" y="1331259"/>
                </a:cubicBezTo>
                <a:cubicBezTo>
                  <a:pt x="535956" y="1314476"/>
                  <a:pt x="522250" y="1300822"/>
                  <a:pt x="505404" y="1300822"/>
                </a:cubicBezTo>
                <a:cubicBezTo>
                  <a:pt x="488557" y="1300822"/>
                  <a:pt x="474851" y="1314476"/>
                  <a:pt x="474851" y="1331259"/>
                </a:cubicBezTo>
                <a:close/>
                <a:moveTo>
                  <a:pt x="593635" y="1331259"/>
                </a:moveTo>
                <a:cubicBezTo>
                  <a:pt x="593635" y="1348042"/>
                  <a:pt x="607341" y="1361696"/>
                  <a:pt x="624188" y="1361696"/>
                </a:cubicBezTo>
                <a:cubicBezTo>
                  <a:pt x="641035" y="1361696"/>
                  <a:pt x="654740" y="1348042"/>
                  <a:pt x="654740" y="1331259"/>
                </a:cubicBezTo>
                <a:cubicBezTo>
                  <a:pt x="654740" y="1314476"/>
                  <a:pt x="641035" y="1300822"/>
                  <a:pt x="624188" y="1300822"/>
                </a:cubicBezTo>
                <a:cubicBezTo>
                  <a:pt x="607341" y="1300822"/>
                  <a:pt x="593635" y="1314476"/>
                  <a:pt x="593635" y="1331259"/>
                </a:cubicBezTo>
                <a:close/>
                <a:moveTo>
                  <a:pt x="771621" y="1331259"/>
                </a:moveTo>
                <a:cubicBezTo>
                  <a:pt x="771621" y="1348042"/>
                  <a:pt x="785327" y="1361696"/>
                  <a:pt x="802174" y="1361696"/>
                </a:cubicBezTo>
                <a:cubicBezTo>
                  <a:pt x="819021" y="1361696"/>
                  <a:pt x="832726" y="1348042"/>
                  <a:pt x="832726" y="1331259"/>
                </a:cubicBezTo>
                <a:cubicBezTo>
                  <a:pt x="832726" y="1314476"/>
                  <a:pt x="819021" y="1300822"/>
                  <a:pt x="802174" y="1300822"/>
                </a:cubicBezTo>
                <a:cubicBezTo>
                  <a:pt x="785327" y="1300822"/>
                  <a:pt x="771621" y="1314476"/>
                  <a:pt x="771621" y="1331259"/>
                </a:cubicBezTo>
                <a:close/>
                <a:moveTo>
                  <a:pt x="831013" y="1331259"/>
                </a:moveTo>
                <a:cubicBezTo>
                  <a:pt x="831013" y="1348042"/>
                  <a:pt x="844719" y="1361696"/>
                  <a:pt x="861566" y="1361696"/>
                </a:cubicBezTo>
                <a:cubicBezTo>
                  <a:pt x="878413" y="1361696"/>
                  <a:pt x="892118" y="1348042"/>
                  <a:pt x="892118" y="1331259"/>
                </a:cubicBezTo>
                <a:cubicBezTo>
                  <a:pt x="892118" y="1314476"/>
                  <a:pt x="878413" y="1300822"/>
                  <a:pt x="861566" y="1300822"/>
                </a:cubicBezTo>
                <a:cubicBezTo>
                  <a:pt x="844719" y="1300822"/>
                  <a:pt x="831013" y="1314476"/>
                  <a:pt x="831013" y="1331259"/>
                </a:cubicBezTo>
                <a:close/>
                <a:moveTo>
                  <a:pt x="1246472" y="1331259"/>
                </a:moveTo>
                <a:cubicBezTo>
                  <a:pt x="1246472" y="1348042"/>
                  <a:pt x="1260178" y="1361696"/>
                  <a:pt x="1277025" y="1361696"/>
                </a:cubicBezTo>
                <a:cubicBezTo>
                  <a:pt x="1293872" y="1361696"/>
                  <a:pt x="1307577" y="1348042"/>
                  <a:pt x="1307577" y="1331259"/>
                </a:cubicBezTo>
                <a:cubicBezTo>
                  <a:pt x="1307577" y="1314476"/>
                  <a:pt x="1293872" y="1300822"/>
                  <a:pt x="1277025" y="1300822"/>
                </a:cubicBezTo>
                <a:cubicBezTo>
                  <a:pt x="1260178" y="1300822"/>
                  <a:pt x="1246472" y="1314476"/>
                  <a:pt x="1246472" y="1331259"/>
                </a:cubicBezTo>
                <a:close/>
                <a:moveTo>
                  <a:pt x="1305769" y="1331259"/>
                </a:moveTo>
                <a:cubicBezTo>
                  <a:pt x="1305769" y="1348042"/>
                  <a:pt x="1319475" y="1361696"/>
                  <a:pt x="1336322" y="1361696"/>
                </a:cubicBezTo>
                <a:cubicBezTo>
                  <a:pt x="1353168" y="1361696"/>
                  <a:pt x="1366874" y="1348042"/>
                  <a:pt x="1366874" y="1331259"/>
                </a:cubicBezTo>
                <a:cubicBezTo>
                  <a:pt x="1366874" y="1314476"/>
                  <a:pt x="1353168" y="1300822"/>
                  <a:pt x="1336322" y="1300822"/>
                </a:cubicBezTo>
                <a:cubicBezTo>
                  <a:pt x="1319475" y="1300822"/>
                  <a:pt x="1305769" y="1314476"/>
                  <a:pt x="1305769" y="1331259"/>
                </a:cubicBezTo>
                <a:close/>
                <a:moveTo>
                  <a:pt x="1424553" y="1331259"/>
                </a:moveTo>
                <a:cubicBezTo>
                  <a:pt x="1424553" y="1348042"/>
                  <a:pt x="1438259" y="1361696"/>
                  <a:pt x="1455106" y="1361696"/>
                </a:cubicBezTo>
                <a:cubicBezTo>
                  <a:pt x="1471953" y="1361696"/>
                  <a:pt x="1485658" y="1348042"/>
                  <a:pt x="1485658" y="1331259"/>
                </a:cubicBezTo>
                <a:cubicBezTo>
                  <a:pt x="1485658" y="1314476"/>
                  <a:pt x="1471953" y="1300822"/>
                  <a:pt x="1455106" y="1300822"/>
                </a:cubicBezTo>
                <a:cubicBezTo>
                  <a:pt x="1438259" y="1300822"/>
                  <a:pt x="1424553" y="1314476"/>
                  <a:pt x="1424553" y="1331259"/>
                </a:cubicBezTo>
                <a:close/>
                <a:moveTo>
                  <a:pt x="712324" y="1390331"/>
                </a:moveTo>
                <a:cubicBezTo>
                  <a:pt x="712324" y="1407114"/>
                  <a:pt x="726030" y="1420768"/>
                  <a:pt x="742877" y="1420768"/>
                </a:cubicBezTo>
                <a:cubicBezTo>
                  <a:pt x="759724" y="1420768"/>
                  <a:pt x="773429" y="1407114"/>
                  <a:pt x="773429" y="1390331"/>
                </a:cubicBezTo>
                <a:cubicBezTo>
                  <a:pt x="773429" y="1373548"/>
                  <a:pt x="759724" y="1359894"/>
                  <a:pt x="742877" y="1359894"/>
                </a:cubicBezTo>
                <a:cubicBezTo>
                  <a:pt x="726030" y="1359894"/>
                  <a:pt x="712324" y="1373548"/>
                  <a:pt x="712324" y="1390331"/>
                </a:cubicBezTo>
                <a:close/>
                <a:moveTo>
                  <a:pt x="771621" y="1390331"/>
                </a:moveTo>
                <a:cubicBezTo>
                  <a:pt x="771621" y="1407114"/>
                  <a:pt x="785327" y="1420768"/>
                  <a:pt x="802174" y="1420768"/>
                </a:cubicBezTo>
                <a:cubicBezTo>
                  <a:pt x="819021" y="1420768"/>
                  <a:pt x="832726" y="1407114"/>
                  <a:pt x="832726" y="1390331"/>
                </a:cubicBezTo>
                <a:cubicBezTo>
                  <a:pt x="832726" y="1373548"/>
                  <a:pt x="819021" y="1359894"/>
                  <a:pt x="802174" y="1359894"/>
                </a:cubicBezTo>
                <a:cubicBezTo>
                  <a:pt x="785327" y="1359894"/>
                  <a:pt x="771621" y="1373548"/>
                  <a:pt x="771621" y="1390331"/>
                </a:cubicBezTo>
                <a:close/>
                <a:moveTo>
                  <a:pt x="949702" y="1390331"/>
                </a:moveTo>
                <a:cubicBezTo>
                  <a:pt x="949702" y="1407114"/>
                  <a:pt x="963408" y="1420768"/>
                  <a:pt x="980255" y="1420768"/>
                </a:cubicBezTo>
                <a:cubicBezTo>
                  <a:pt x="997101" y="1420768"/>
                  <a:pt x="1010807" y="1407114"/>
                  <a:pt x="1010807" y="1390331"/>
                </a:cubicBezTo>
                <a:cubicBezTo>
                  <a:pt x="1010807" y="1373548"/>
                  <a:pt x="997101" y="1359894"/>
                  <a:pt x="980255" y="1359894"/>
                </a:cubicBezTo>
                <a:cubicBezTo>
                  <a:pt x="963408" y="1359894"/>
                  <a:pt x="949702" y="1373548"/>
                  <a:pt x="949702" y="1390331"/>
                </a:cubicBezTo>
                <a:close/>
                <a:moveTo>
                  <a:pt x="1068391" y="1390331"/>
                </a:moveTo>
                <a:cubicBezTo>
                  <a:pt x="1068391" y="1407114"/>
                  <a:pt x="1082097" y="1420768"/>
                  <a:pt x="1098944" y="1420768"/>
                </a:cubicBezTo>
                <a:cubicBezTo>
                  <a:pt x="1115790" y="1420768"/>
                  <a:pt x="1129496" y="1407114"/>
                  <a:pt x="1129496" y="1390331"/>
                </a:cubicBezTo>
                <a:cubicBezTo>
                  <a:pt x="1129496" y="1373548"/>
                  <a:pt x="1115790" y="1359894"/>
                  <a:pt x="1098944" y="1359894"/>
                </a:cubicBezTo>
                <a:cubicBezTo>
                  <a:pt x="1082097" y="1359894"/>
                  <a:pt x="1068391" y="1373548"/>
                  <a:pt x="1068391" y="1390331"/>
                </a:cubicBezTo>
                <a:close/>
                <a:moveTo>
                  <a:pt x="1127783" y="1390331"/>
                </a:moveTo>
                <a:cubicBezTo>
                  <a:pt x="1127783" y="1407114"/>
                  <a:pt x="1141489" y="1420768"/>
                  <a:pt x="1158336" y="1420768"/>
                </a:cubicBezTo>
                <a:cubicBezTo>
                  <a:pt x="1175183" y="1420768"/>
                  <a:pt x="1188888" y="1407114"/>
                  <a:pt x="1188888" y="1390331"/>
                </a:cubicBezTo>
                <a:cubicBezTo>
                  <a:pt x="1188888" y="1373548"/>
                  <a:pt x="1175183" y="1359894"/>
                  <a:pt x="1158336" y="1359894"/>
                </a:cubicBezTo>
                <a:cubicBezTo>
                  <a:pt x="1141489" y="1359894"/>
                  <a:pt x="1127783" y="1373548"/>
                  <a:pt x="1127783" y="1390331"/>
                </a:cubicBezTo>
                <a:close/>
                <a:moveTo>
                  <a:pt x="1187080" y="1390331"/>
                </a:moveTo>
                <a:cubicBezTo>
                  <a:pt x="1187080" y="1407114"/>
                  <a:pt x="1200786" y="1420768"/>
                  <a:pt x="1217633" y="1420768"/>
                </a:cubicBezTo>
                <a:cubicBezTo>
                  <a:pt x="1234479" y="1420768"/>
                  <a:pt x="1248185" y="1407114"/>
                  <a:pt x="1248185" y="1390331"/>
                </a:cubicBezTo>
                <a:cubicBezTo>
                  <a:pt x="1248185" y="1373548"/>
                  <a:pt x="1234479" y="1359894"/>
                  <a:pt x="1217633" y="1359894"/>
                </a:cubicBezTo>
                <a:cubicBezTo>
                  <a:pt x="1200786" y="1359894"/>
                  <a:pt x="1187080" y="1373548"/>
                  <a:pt x="1187080" y="1390331"/>
                </a:cubicBezTo>
                <a:close/>
                <a:moveTo>
                  <a:pt x="1246472" y="1390331"/>
                </a:moveTo>
                <a:cubicBezTo>
                  <a:pt x="1246472" y="1407114"/>
                  <a:pt x="1260178" y="1420768"/>
                  <a:pt x="1277025" y="1420768"/>
                </a:cubicBezTo>
                <a:cubicBezTo>
                  <a:pt x="1293872" y="1420768"/>
                  <a:pt x="1307577" y="1407114"/>
                  <a:pt x="1307577" y="1390331"/>
                </a:cubicBezTo>
                <a:cubicBezTo>
                  <a:pt x="1307577" y="1373548"/>
                  <a:pt x="1293872" y="1359894"/>
                  <a:pt x="1277025" y="1359894"/>
                </a:cubicBezTo>
                <a:cubicBezTo>
                  <a:pt x="1260178" y="1359894"/>
                  <a:pt x="1246472" y="1373548"/>
                  <a:pt x="1246472" y="1390331"/>
                </a:cubicBezTo>
                <a:close/>
                <a:moveTo>
                  <a:pt x="1424553" y="1390331"/>
                </a:moveTo>
                <a:cubicBezTo>
                  <a:pt x="1424553" y="1407114"/>
                  <a:pt x="1438259" y="1420768"/>
                  <a:pt x="1455106" y="1420768"/>
                </a:cubicBezTo>
                <a:cubicBezTo>
                  <a:pt x="1471953" y="1420768"/>
                  <a:pt x="1485658" y="1407114"/>
                  <a:pt x="1485658" y="1390331"/>
                </a:cubicBezTo>
                <a:cubicBezTo>
                  <a:pt x="1485658" y="1373548"/>
                  <a:pt x="1471953" y="1359894"/>
                  <a:pt x="1455106" y="1359894"/>
                </a:cubicBezTo>
                <a:cubicBezTo>
                  <a:pt x="1438259" y="1359894"/>
                  <a:pt x="1424553" y="1373548"/>
                  <a:pt x="1424553" y="1390331"/>
                </a:cubicBezTo>
                <a:close/>
                <a:moveTo>
                  <a:pt x="474851" y="1449498"/>
                </a:moveTo>
                <a:cubicBezTo>
                  <a:pt x="474851" y="1466281"/>
                  <a:pt x="488557" y="1479935"/>
                  <a:pt x="505404" y="1479935"/>
                </a:cubicBezTo>
                <a:cubicBezTo>
                  <a:pt x="522250" y="1479935"/>
                  <a:pt x="535956" y="1466281"/>
                  <a:pt x="535956" y="1449498"/>
                </a:cubicBezTo>
                <a:cubicBezTo>
                  <a:pt x="535956" y="1432715"/>
                  <a:pt x="522250" y="1419061"/>
                  <a:pt x="505404" y="1419061"/>
                </a:cubicBezTo>
                <a:cubicBezTo>
                  <a:pt x="488557" y="1419061"/>
                  <a:pt x="474851" y="1432715"/>
                  <a:pt x="474851" y="1449498"/>
                </a:cubicBezTo>
                <a:close/>
                <a:moveTo>
                  <a:pt x="593635" y="1449498"/>
                </a:moveTo>
                <a:cubicBezTo>
                  <a:pt x="593635" y="1466281"/>
                  <a:pt x="607341" y="1479935"/>
                  <a:pt x="624188" y="1479935"/>
                </a:cubicBezTo>
                <a:cubicBezTo>
                  <a:pt x="641035" y="1479935"/>
                  <a:pt x="654740" y="1466281"/>
                  <a:pt x="654740" y="1449498"/>
                </a:cubicBezTo>
                <a:cubicBezTo>
                  <a:pt x="654740" y="1432715"/>
                  <a:pt x="641035" y="1419061"/>
                  <a:pt x="624188" y="1419061"/>
                </a:cubicBezTo>
                <a:cubicBezTo>
                  <a:pt x="607341" y="1419061"/>
                  <a:pt x="593635" y="1432715"/>
                  <a:pt x="593635" y="1449498"/>
                </a:cubicBezTo>
                <a:close/>
                <a:moveTo>
                  <a:pt x="712324" y="1449498"/>
                </a:moveTo>
                <a:cubicBezTo>
                  <a:pt x="712324" y="1466281"/>
                  <a:pt x="726030" y="1479935"/>
                  <a:pt x="742877" y="1479935"/>
                </a:cubicBezTo>
                <a:cubicBezTo>
                  <a:pt x="759724" y="1479935"/>
                  <a:pt x="773429" y="1466281"/>
                  <a:pt x="773429" y="1449498"/>
                </a:cubicBezTo>
                <a:cubicBezTo>
                  <a:pt x="773429" y="1432715"/>
                  <a:pt x="759724" y="1419061"/>
                  <a:pt x="742877" y="1419061"/>
                </a:cubicBezTo>
                <a:cubicBezTo>
                  <a:pt x="726030" y="1419061"/>
                  <a:pt x="712324" y="1432715"/>
                  <a:pt x="712324" y="1449498"/>
                </a:cubicBezTo>
                <a:close/>
                <a:moveTo>
                  <a:pt x="831013" y="1449498"/>
                </a:moveTo>
                <a:cubicBezTo>
                  <a:pt x="831013" y="1466281"/>
                  <a:pt x="844719" y="1479935"/>
                  <a:pt x="861566" y="1479935"/>
                </a:cubicBezTo>
                <a:cubicBezTo>
                  <a:pt x="878413" y="1479935"/>
                  <a:pt x="892118" y="1466281"/>
                  <a:pt x="892118" y="1449498"/>
                </a:cubicBezTo>
                <a:cubicBezTo>
                  <a:pt x="892118" y="1432715"/>
                  <a:pt x="878413" y="1419061"/>
                  <a:pt x="861566" y="1419061"/>
                </a:cubicBezTo>
                <a:cubicBezTo>
                  <a:pt x="844719" y="1419061"/>
                  <a:pt x="831013" y="1432715"/>
                  <a:pt x="831013" y="1449498"/>
                </a:cubicBezTo>
                <a:close/>
                <a:moveTo>
                  <a:pt x="1009094" y="1449498"/>
                </a:moveTo>
                <a:cubicBezTo>
                  <a:pt x="1009094" y="1466281"/>
                  <a:pt x="1022800" y="1479935"/>
                  <a:pt x="1039647" y="1479935"/>
                </a:cubicBezTo>
                <a:cubicBezTo>
                  <a:pt x="1056494" y="1479935"/>
                  <a:pt x="1070199" y="1466281"/>
                  <a:pt x="1070199" y="1449498"/>
                </a:cubicBezTo>
                <a:cubicBezTo>
                  <a:pt x="1070199" y="1432715"/>
                  <a:pt x="1056494" y="1419061"/>
                  <a:pt x="1039647" y="1419061"/>
                </a:cubicBezTo>
                <a:cubicBezTo>
                  <a:pt x="1022800" y="1419061"/>
                  <a:pt x="1009094" y="1432715"/>
                  <a:pt x="1009094" y="1449498"/>
                </a:cubicBezTo>
                <a:close/>
                <a:moveTo>
                  <a:pt x="1068391" y="1449498"/>
                </a:moveTo>
                <a:cubicBezTo>
                  <a:pt x="1068391" y="1466281"/>
                  <a:pt x="1082097" y="1479935"/>
                  <a:pt x="1098944" y="1479935"/>
                </a:cubicBezTo>
                <a:cubicBezTo>
                  <a:pt x="1115790" y="1479935"/>
                  <a:pt x="1129496" y="1466281"/>
                  <a:pt x="1129496" y="1449498"/>
                </a:cubicBezTo>
                <a:cubicBezTo>
                  <a:pt x="1129496" y="1432715"/>
                  <a:pt x="1115790" y="1419061"/>
                  <a:pt x="1098944" y="1419061"/>
                </a:cubicBezTo>
                <a:cubicBezTo>
                  <a:pt x="1082097" y="1419061"/>
                  <a:pt x="1068391" y="1432715"/>
                  <a:pt x="1068391" y="1449498"/>
                </a:cubicBezTo>
                <a:close/>
                <a:moveTo>
                  <a:pt x="1127783" y="1449498"/>
                </a:moveTo>
                <a:cubicBezTo>
                  <a:pt x="1127783" y="1466281"/>
                  <a:pt x="1141489" y="1479935"/>
                  <a:pt x="1158336" y="1479935"/>
                </a:cubicBezTo>
                <a:cubicBezTo>
                  <a:pt x="1175183" y="1479935"/>
                  <a:pt x="1188888" y="1466281"/>
                  <a:pt x="1188888" y="1449498"/>
                </a:cubicBezTo>
                <a:cubicBezTo>
                  <a:pt x="1188888" y="1432715"/>
                  <a:pt x="1175183" y="1419061"/>
                  <a:pt x="1158336" y="1419061"/>
                </a:cubicBezTo>
                <a:cubicBezTo>
                  <a:pt x="1141489" y="1419061"/>
                  <a:pt x="1127783" y="1432715"/>
                  <a:pt x="1127783" y="1449498"/>
                </a:cubicBezTo>
                <a:close/>
                <a:moveTo>
                  <a:pt x="1187080" y="1449498"/>
                </a:moveTo>
                <a:cubicBezTo>
                  <a:pt x="1187080" y="1466281"/>
                  <a:pt x="1200786" y="1479935"/>
                  <a:pt x="1217633" y="1479935"/>
                </a:cubicBezTo>
                <a:cubicBezTo>
                  <a:pt x="1234479" y="1479935"/>
                  <a:pt x="1248185" y="1466281"/>
                  <a:pt x="1248185" y="1449498"/>
                </a:cubicBezTo>
                <a:cubicBezTo>
                  <a:pt x="1248185" y="1432715"/>
                  <a:pt x="1234479" y="1419061"/>
                  <a:pt x="1217633" y="1419061"/>
                </a:cubicBezTo>
                <a:cubicBezTo>
                  <a:pt x="1200786" y="1419061"/>
                  <a:pt x="1187080" y="1432715"/>
                  <a:pt x="1187080" y="1449498"/>
                </a:cubicBezTo>
                <a:close/>
                <a:moveTo>
                  <a:pt x="1246472" y="1449498"/>
                </a:moveTo>
                <a:cubicBezTo>
                  <a:pt x="1246472" y="1466281"/>
                  <a:pt x="1260178" y="1479935"/>
                  <a:pt x="1277025" y="1479935"/>
                </a:cubicBezTo>
                <a:cubicBezTo>
                  <a:pt x="1293872" y="1479935"/>
                  <a:pt x="1307577" y="1466281"/>
                  <a:pt x="1307577" y="1449498"/>
                </a:cubicBezTo>
                <a:cubicBezTo>
                  <a:pt x="1307577" y="1432715"/>
                  <a:pt x="1293872" y="1419061"/>
                  <a:pt x="1277025" y="1419061"/>
                </a:cubicBezTo>
                <a:cubicBezTo>
                  <a:pt x="1260178" y="1419061"/>
                  <a:pt x="1246472" y="1432715"/>
                  <a:pt x="1246472" y="1449498"/>
                </a:cubicBezTo>
                <a:close/>
                <a:moveTo>
                  <a:pt x="1305769" y="1449498"/>
                </a:moveTo>
                <a:cubicBezTo>
                  <a:pt x="1305769" y="1466281"/>
                  <a:pt x="1319475" y="1479935"/>
                  <a:pt x="1336322" y="1479935"/>
                </a:cubicBezTo>
                <a:cubicBezTo>
                  <a:pt x="1353168" y="1479935"/>
                  <a:pt x="1366874" y="1466281"/>
                  <a:pt x="1366874" y="1449498"/>
                </a:cubicBezTo>
                <a:cubicBezTo>
                  <a:pt x="1366874" y="1432715"/>
                  <a:pt x="1353168" y="1419061"/>
                  <a:pt x="1336322" y="1419061"/>
                </a:cubicBezTo>
                <a:cubicBezTo>
                  <a:pt x="1319475" y="1419061"/>
                  <a:pt x="1305769" y="1432715"/>
                  <a:pt x="1305769" y="1449498"/>
                </a:cubicBezTo>
                <a:close/>
                <a:moveTo>
                  <a:pt x="1365161" y="1449498"/>
                </a:moveTo>
                <a:cubicBezTo>
                  <a:pt x="1365161" y="1466281"/>
                  <a:pt x="1378867" y="1479935"/>
                  <a:pt x="1395714" y="1479935"/>
                </a:cubicBezTo>
                <a:cubicBezTo>
                  <a:pt x="1412561" y="1479935"/>
                  <a:pt x="1426266" y="1466281"/>
                  <a:pt x="1426266" y="1449498"/>
                </a:cubicBezTo>
                <a:cubicBezTo>
                  <a:pt x="1426266" y="1432715"/>
                  <a:pt x="1412561" y="1419061"/>
                  <a:pt x="1395714" y="1419061"/>
                </a:cubicBezTo>
                <a:cubicBezTo>
                  <a:pt x="1378867" y="1419061"/>
                  <a:pt x="1365161" y="1432715"/>
                  <a:pt x="1365161" y="1449498"/>
                </a:cubicBezTo>
                <a:close/>
                <a:moveTo>
                  <a:pt x="1424553" y="1449498"/>
                </a:moveTo>
                <a:cubicBezTo>
                  <a:pt x="1424553" y="1466281"/>
                  <a:pt x="1438259" y="1479935"/>
                  <a:pt x="1455106" y="1479935"/>
                </a:cubicBezTo>
                <a:cubicBezTo>
                  <a:pt x="1471953" y="1479935"/>
                  <a:pt x="1485658" y="1466281"/>
                  <a:pt x="1485658" y="1449498"/>
                </a:cubicBezTo>
                <a:cubicBezTo>
                  <a:pt x="1485658" y="1432715"/>
                  <a:pt x="1471953" y="1419061"/>
                  <a:pt x="1455106" y="1419061"/>
                </a:cubicBezTo>
                <a:cubicBezTo>
                  <a:pt x="1438259" y="1419061"/>
                  <a:pt x="1424553" y="1432715"/>
                  <a:pt x="1424553" y="1449498"/>
                </a:cubicBezTo>
                <a:close/>
                <a:moveTo>
                  <a:pt x="207777" y="0"/>
                </a:moveTo>
                <a:lnTo>
                  <a:pt x="207777" y="0"/>
                </a:lnTo>
                <a:cubicBezTo>
                  <a:pt x="323515" y="0"/>
                  <a:pt x="415554" y="91690"/>
                  <a:pt x="415554" y="206990"/>
                </a:cubicBezTo>
                <a:lnTo>
                  <a:pt x="415554" y="206990"/>
                </a:lnTo>
                <a:cubicBezTo>
                  <a:pt x="415554" y="322290"/>
                  <a:pt x="323515" y="413980"/>
                  <a:pt x="207777" y="413980"/>
                </a:cubicBezTo>
                <a:lnTo>
                  <a:pt x="207777" y="413980"/>
                </a:lnTo>
                <a:cubicBezTo>
                  <a:pt x="92039" y="413980"/>
                  <a:pt x="0" y="322290"/>
                  <a:pt x="0" y="206990"/>
                </a:cubicBezTo>
                <a:lnTo>
                  <a:pt x="0" y="206990"/>
                </a:lnTo>
                <a:cubicBezTo>
                  <a:pt x="0" y="91690"/>
                  <a:pt x="92039" y="0"/>
                  <a:pt x="207777" y="0"/>
                </a:cubicBezTo>
                <a:close/>
                <a:moveTo>
                  <a:pt x="356162" y="206895"/>
                </a:moveTo>
                <a:lnTo>
                  <a:pt x="356162" y="206895"/>
                </a:lnTo>
                <a:cubicBezTo>
                  <a:pt x="356162" y="124118"/>
                  <a:pt x="290869" y="59072"/>
                  <a:pt x="207777" y="59072"/>
                </a:cubicBezTo>
                <a:lnTo>
                  <a:pt x="207777" y="59072"/>
                </a:lnTo>
                <a:cubicBezTo>
                  <a:pt x="124685" y="59072"/>
                  <a:pt x="59392" y="124118"/>
                  <a:pt x="59392" y="206895"/>
                </a:cubicBezTo>
                <a:lnTo>
                  <a:pt x="59392" y="206895"/>
                </a:lnTo>
                <a:cubicBezTo>
                  <a:pt x="59392" y="289672"/>
                  <a:pt x="124685" y="354718"/>
                  <a:pt x="207777" y="354718"/>
                </a:cubicBezTo>
                <a:lnTo>
                  <a:pt x="207777" y="354718"/>
                </a:lnTo>
                <a:cubicBezTo>
                  <a:pt x="290869" y="354718"/>
                  <a:pt x="356162" y="289672"/>
                  <a:pt x="356162" y="206895"/>
                </a:cubicBezTo>
                <a:close/>
                <a:moveTo>
                  <a:pt x="1276168" y="0"/>
                </a:moveTo>
                <a:lnTo>
                  <a:pt x="1276168" y="0"/>
                </a:lnTo>
                <a:cubicBezTo>
                  <a:pt x="1391907" y="0"/>
                  <a:pt x="1483945" y="91690"/>
                  <a:pt x="1483945" y="206990"/>
                </a:cubicBezTo>
                <a:lnTo>
                  <a:pt x="1483945" y="206990"/>
                </a:lnTo>
                <a:cubicBezTo>
                  <a:pt x="1483945" y="322290"/>
                  <a:pt x="1391907" y="413980"/>
                  <a:pt x="1276168" y="413980"/>
                </a:cubicBezTo>
                <a:lnTo>
                  <a:pt x="1276168" y="413980"/>
                </a:lnTo>
                <a:cubicBezTo>
                  <a:pt x="1160430" y="413980"/>
                  <a:pt x="1068391" y="322290"/>
                  <a:pt x="1068391" y="206990"/>
                </a:cubicBezTo>
                <a:lnTo>
                  <a:pt x="1068391" y="206990"/>
                </a:lnTo>
                <a:cubicBezTo>
                  <a:pt x="1068391" y="91690"/>
                  <a:pt x="1160430" y="0"/>
                  <a:pt x="1276168" y="0"/>
                </a:cubicBezTo>
                <a:close/>
                <a:moveTo>
                  <a:pt x="1424553" y="206895"/>
                </a:moveTo>
                <a:lnTo>
                  <a:pt x="1424553" y="206895"/>
                </a:lnTo>
                <a:cubicBezTo>
                  <a:pt x="1424553" y="124118"/>
                  <a:pt x="1359260" y="59072"/>
                  <a:pt x="1276168" y="59072"/>
                </a:cubicBezTo>
                <a:lnTo>
                  <a:pt x="1276168" y="59072"/>
                </a:lnTo>
                <a:cubicBezTo>
                  <a:pt x="1193076" y="59072"/>
                  <a:pt x="1127783" y="124118"/>
                  <a:pt x="1127783" y="206895"/>
                </a:cubicBezTo>
                <a:lnTo>
                  <a:pt x="1127783" y="206895"/>
                </a:lnTo>
                <a:cubicBezTo>
                  <a:pt x="1127783" y="289672"/>
                  <a:pt x="1193076" y="354718"/>
                  <a:pt x="1276168" y="354718"/>
                </a:cubicBezTo>
                <a:lnTo>
                  <a:pt x="1276168" y="354718"/>
                </a:lnTo>
                <a:cubicBezTo>
                  <a:pt x="1359260" y="354718"/>
                  <a:pt x="1424553" y="289672"/>
                  <a:pt x="1424553" y="206895"/>
                </a:cubicBezTo>
                <a:close/>
                <a:moveTo>
                  <a:pt x="207777" y="1064249"/>
                </a:moveTo>
                <a:lnTo>
                  <a:pt x="207777" y="1064249"/>
                </a:lnTo>
                <a:cubicBezTo>
                  <a:pt x="323515" y="1064249"/>
                  <a:pt x="415554" y="1155938"/>
                  <a:pt x="415554" y="1271238"/>
                </a:cubicBezTo>
                <a:lnTo>
                  <a:pt x="415554" y="1271238"/>
                </a:lnTo>
                <a:cubicBezTo>
                  <a:pt x="415554" y="1386538"/>
                  <a:pt x="323515" y="1478228"/>
                  <a:pt x="207777" y="1478228"/>
                </a:cubicBezTo>
                <a:lnTo>
                  <a:pt x="207777" y="1478228"/>
                </a:lnTo>
                <a:cubicBezTo>
                  <a:pt x="92039" y="1478228"/>
                  <a:pt x="0" y="1386538"/>
                  <a:pt x="0" y="1271238"/>
                </a:cubicBezTo>
                <a:lnTo>
                  <a:pt x="0" y="1271238"/>
                </a:lnTo>
                <a:cubicBezTo>
                  <a:pt x="0" y="1155938"/>
                  <a:pt x="92039" y="1064249"/>
                  <a:pt x="207777" y="1064249"/>
                </a:cubicBezTo>
                <a:close/>
                <a:moveTo>
                  <a:pt x="356162" y="1271238"/>
                </a:moveTo>
                <a:lnTo>
                  <a:pt x="356162" y="1271238"/>
                </a:lnTo>
                <a:cubicBezTo>
                  <a:pt x="356162" y="1188461"/>
                  <a:pt x="290869" y="1123416"/>
                  <a:pt x="207777" y="1123416"/>
                </a:cubicBezTo>
                <a:lnTo>
                  <a:pt x="207777" y="1123416"/>
                </a:lnTo>
                <a:cubicBezTo>
                  <a:pt x="124685" y="1123416"/>
                  <a:pt x="59392" y="1188461"/>
                  <a:pt x="59392" y="1271238"/>
                </a:cubicBezTo>
                <a:lnTo>
                  <a:pt x="59392" y="1271238"/>
                </a:lnTo>
                <a:cubicBezTo>
                  <a:pt x="59392" y="1354016"/>
                  <a:pt x="124685" y="1419061"/>
                  <a:pt x="207777" y="1419061"/>
                </a:cubicBezTo>
                <a:lnTo>
                  <a:pt x="207777" y="1419061"/>
                </a:lnTo>
                <a:cubicBezTo>
                  <a:pt x="290869" y="1419061"/>
                  <a:pt x="356162" y="1354016"/>
                  <a:pt x="356162" y="1271238"/>
                </a:cubicBezTo>
                <a:close/>
                <a:moveTo>
                  <a:pt x="118784" y="206895"/>
                </a:moveTo>
                <a:cubicBezTo>
                  <a:pt x="118784" y="255916"/>
                  <a:pt x="158664" y="295551"/>
                  <a:pt x="207777" y="295551"/>
                </a:cubicBezTo>
                <a:cubicBezTo>
                  <a:pt x="256890" y="295551"/>
                  <a:pt x="296770" y="255822"/>
                  <a:pt x="296770" y="206895"/>
                </a:cubicBezTo>
                <a:cubicBezTo>
                  <a:pt x="296770" y="157968"/>
                  <a:pt x="256890" y="118239"/>
                  <a:pt x="207777" y="118239"/>
                </a:cubicBezTo>
                <a:cubicBezTo>
                  <a:pt x="158664" y="118239"/>
                  <a:pt x="118784" y="157968"/>
                  <a:pt x="118784" y="206895"/>
                </a:cubicBezTo>
                <a:close/>
                <a:moveTo>
                  <a:pt x="1187080" y="206895"/>
                </a:moveTo>
                <a:cubicBezTo>
                  <a:pt x="1187080" y="255916"/>
                  <a:pt x="1226960" y="295551"/>
                  <a:pt x="1276073" y="295551"/>
                </a:cubicBezTo>
                <a:cubicBezTo>
                  <a:pt x="1325186" y="295551"/>
                  <a:pt x="1365066" y="255822"/>
                  <a:pt x="1365066" y="206895"/>
                </a:cubicBezTo>
                <a:cubicBezTo>
                  <a:pt x="1365066" y="157968"/>
                  <a:pt x="1325186" y="118239"/>
                  <a:pt x="1276073" y="118239"/>
                </a:cubicBezTo>
                <a:cubicBezTo>
                  <a:pt x="1226960" y="118239"/>
                  <a:pt x="1187080" y="157968"/>
                  <a:pt x="1187080" y="206895"/>
                </a:cubicBezTo>
                <a:close/>
                <a:moveTo>
                  <a:pt x="118784" y="1271238"/>
                </a:moveTo>
                <a:cubicBezTo>
                  <a:pt x="118784" y="1320260"/>
                  <a:pt x="158664" y="1359894"/>
                  <a:pt x="207777" y="1359894"/>
                </a:cubicBezTo>
                <a:cubicBezTo>
                  <a:pt x="256890" y="1359894"/>
                  <a:pt x="296770" y="1320165"/>
                  <a:pt x="296770" y="1271238"/>
                </a:cubicBezTo>
                <a:cubicBezTo>
                  <a:pt x="296770" y="1222312"/>
                  <a:pt x="256890" y="1182583"/>
                  <a:pt x="207777" y="1182583"/>
                </a:cubicBezTo>
                <a:cubicBezTo>
                  <a:pt x="158664" y="1182583"/>
                  <a:pt x="118784" y="1222312"/>
                  <a:pt x="118784" y="1271238"/>
                </a:cubicBezTo>
                <a:close/>
              </a:path>
            </a:pathLst>
          </a:custGeom>
          <a:solidFill>
            <a:schemeClr val="bg1"/>
          </a:solidFill>
          <a:ln w="950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526" name="Рисунок 5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8631" y="24275"/>
            <a:ext cx="8843643" cy="683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503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photo">
    <p:bg>
      <p:bgPr>
        <a:solidFill>
          <a:srgbClr val="0B18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5367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Группа 2"/>
          <p:cNvGrpSpPr/>
          <p:nvPr/>
        </p:nvGrpSpPr>
        <p:grpSpPr>
          <a:xfrm>
            <a:off x="442913" y="1269752"/>
            <a:ext cx="2778486" cy="351556"/>
            <a:chOff x="442913" y="1097782"/>
            <a:chExt cx="2778486" cy="351556"/>
          </a:xfrm>
        </p:grpSpPr>
        <p:sp>
          <p:nvSpPr>
            <p:cNvPr id="244" name="Полилиния 243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2463670" y="1143117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5" name="Полилиния 244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2968372" y="1192746"/>
              <a:ext cx="104856" cy="165742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6" name="Полилиния 245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2768978" y="1188178"/>
              <a:ext cx="161005" cy="174813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7" name="Полилиния 246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3089154" y="1188887"/>
              <a:ext cx="132245" cy="17383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8" name="Полилиния 247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2589550" y="1188215"/>
              <a:ext cx="143546" cy="170273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1927238" y="1100289"/>
              <a:ext cx="204595" cy="258162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0" name="Полилиния 249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2129327" y="1188178"/>
              <a:ext cx="160712" cy="174813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1" name="Полилиния 250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2334896" y="1192746"/>
              <a:ext cx="104855" cy="165742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2" name="Полилиния 251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1137750" y="1143769"/>
              <a:ext cx="92646" cy="215334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3" name="Полилиния 252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442913" y="1097782"/>
              <a:ext cx="213286" cy="266466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694597" y="1143769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5" name="Полилиния 254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1247816" y="1188859"/>
              <a:ext cx="160901" cy="174813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6" name="Полилиния 255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932474" y="1188859"/>
              <a:ext cx="160324" cy="174813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7" name="Полилиния 256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820477" y="1193389"/>
              <a:ext cx="104856" cy="165742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8" name="Полилиния 257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1439777" y="1188859"/>
              <a:ext cx="160419" cy="260385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1643426" y="1193389"/>
              <a:ext cx="151207" cy="255949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60" name="Полилиния 259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1615829" y="1193389"/>
              <a:ext cx="75026" cy="126773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6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42913" y="2479066"/>
            <a:ext cx="5421906" cy="1077218"/>
          </a:xfrm>
          <a:prstGeom prst="rect">
            <a:avLst/>
          </a:prstGeom>
        </p:spPr>
        <p:txBody>
          <a:bodyPr vert="horz" wrap="square" lIns="0" tIns="45720" rIns="91440" bIns="45720" rtlCol="0" anchor="ctr">
            <a:spAutoFit/>
          </a:bodyPr>
          <a:lstStyle>
            <a:lvl1pPr>
              <a:lnSpc>
                <a:spcPct val="100000"/>
              </a:lnSpc>
              <a:defRPr sz="3200" b="1" baseline="0"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ашей</a:t>
            </a:r>
            <a:r>
              <a:rPr lang="en-US" dirty="0"/>
              <a:t> </a:t>
            </a:r>
            <a:r>
              <a:rPr lang="ru-RU" dirty="0"/>
              <a:t>презентации</a:t>
            </a:r>
          </a:p>
        </p:txBody>
      </p:sp>
      <p:sp>
        <p:nvSpPr>
          <p:cNvPr id="262" name="Текст 24"/>
          <p:cNvSpPr>
            <a:spLocks noGrp="1"/>
          </p:cNvSpPr>
          <p:nvPr>
            <p:ph type="body" sz="quarter" idx="10" hasCustomPrompt="1"/>
          </p:nvPr>
        </p:nvSpPr>
        <p:spPr>
          <a:xfrm>
            <a:off x="447992" y="4394178"/>
            <a:ext cx="5421906" cy="27699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63" name="Текст 24"/>
          <p:cNvSpPr>
            <a:spLocks noGrp="1"/>
          </p:cNvSpPr>
          <p:nvPr>
            <p:ph type="body" sz="quarter" idx="13" hasCustomPrompt="1"/>
          </p:nvPr>
        </p:nvSpPr>
        <p:spPr>
          <a:xfrm>
            <a:off x="447992" y="5949091"/>
            <a:ext cx="5421906" cy="215444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28" name="object 3"/>
          <p:cNvSpPr/>
          <p:nvPr/>
        </p:nvSpPr>
        <p:spPr>
          <a:xfrm>
            <a:off x="6101202" y="738692"/>
            <a:ext cx="6090798" cy="5427158"/>
          </a:xfrm>
          <a:custGeom>
            <a:avLst/>
            <a:gdLst/>
            <a:ahLst/>
            <a:cxnLst/>
            <a:rect l="l" t="t" r="r" b="b"/>
            <a:pathLst>
              <a:path w="6510655" h="5346065">
                <a:moveTo>
                  <a:pt x="6510058" y="0"/>
                </a:moveTo>
                <a:lnTo>
                  <a:pt x="0" y="0"/>
                </a:lnTo>
                <a:lnTo>
                  <a:pt x="0" y="5346001"/>
                </a:lnTo>
                <a:lnTo>
                  <a:pt x="6510058" y="5346001"/>
                </a:lnTo>
                <a:lnTo>
                  <a:pt x="651005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rgbClr val="2F8AED"/>
              </a:gs>
            </a:gsLst>
            <a:lin ang="0" scaled="1"/>
            <a:tileRect/>
          </a:gradFill>
        </p:spPr>
        <p:txBody>
          <a:bodyPr wrap="square" lIns="0" tIns="0" rIns="0" bIns="0" rtlCol="0"/>
          <a:lstStyle/>
          <a:p>
            <a:endParaRPr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9" name="Рисунок 22"/>
          <p:cNvSpPr>
            <a:spLocks noGrp="1"/>
          </p:cNvSpPr>
          <p:nvPr>
            <p:ph type="pic" sz="quarter" idx="12" hasCustomPrompt="1"/>
          </p:nvPr>
        </p:nvSpPr>
        <p:spPr>
          <a:xfrm>
            <a:off x="6340722" y="0"/>
            <a:ext cx="5851278" cy="59537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1025421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shape">
    <p:bg>
      <p:bgPr>
        <a:solidFill>
          <a:srgbClr val="0B18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092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0"/>
            <a:ext cx="8843643" cy="6833725"/>
          </a:xfrm>
          <a:prstGeom prst="rect">
            <a:avLst/>
          </a:prstGeom>
        </p:spPr>
      </p:pic>
      <p:grpSp>
        <p:nvGrpSpPr>
          <p:cNvPr id="3" name="Группа 2"/>
          <p:cNvGrpSpPr/>
          <p:nvPr/>
        </p:nvGrpSpPr>
        <p:grpSpPr>
          <a:xfrm>
            <a:off x="442913" y="1269752"/>
            <a:ext cx="2778486" cy="351556"/>
            <a:chOff x="442913" y="1097782"/>
            <a:chExt cx="2778486" cy="351556"/>
          </a:xfrm>
        </p:grpSpPr>
        <p:sp>
          <p:nvSpPr>
            <p:cNvPr id="244" name="Полилиния 243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2463670" y="1143117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5" name="Полилиния 244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2968372" y="1192746"/>
              <a:ext cx="104856" cy="165742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6" name="Полилиния 245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2768978" y="1188178"/>
              <a:ext cx="161005" cy="174813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7" name="Полилиния 246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3089154" y="1188887"/>
              <a:ext cx="132245" cy="17383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8" name="Полилиния 247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2589550" y="1188215"/>
              <a:ext cx="143546" cy="170273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1927238" y="1100289"/>
              <a:ext cx="204595" cy="258162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0" name="Полилиния 249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2129327" y="1188178"/>
              <a:ext cx="160712" cy="174813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1" name="Полилиния 250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2334896" y="1192746"/>
              <a:ext cx="104855" cy="165742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2" name="Полилиния 251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1137750" y="1143769"/>
              <a:ext cx="92646" cy="215334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3" name="Полилиния 252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442913" y="1097782"/>
              <a:ext cx="213286" cy="266466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694597" y="1143769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5" name="Полилиния 254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1247816" y="1188859"/>
              <a:ext cx="160901" cy="174813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6" name="Полилиния 255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932474" y="1188859"/>
              <a:ext cx="160324" cy="174813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7" name="Полилиния 256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820477" y="1193389"/>
              <a:ext cx="104856" cy="165742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8" name="Полилиния 257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1439777" y="1188859"/>
              <a:ext cx="160419" cy="260385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1643426" y="1193389"/>
              <a:ext cx="151207" cy="255949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60" name="Полилиния 259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1615829" y="1193389"/>
              <a:ext cx="75026" cy="126773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6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42913" y="2479066"/>
            <a:ext cx="5421906" cy="1077218"/>
          </a:xfrm>
          <a:prstGeom prst="rect">
            <a:avLst/>
          </a:prstGeom>
        </p:spPr>
        <p:txBody>
          <a:bodyPr vert="horz" wrap="square" lIns="0" tIns="45720" rIns="91440" bIns="45720" rtlCol="0" anchor="ctr">
            <a:spAutoFit/>
          </a:bodyPr>
          <a:lstStyle>
            <a:lvl1pPr>
              <a:lnSpc>
                <a:spcPct val="100000"/>
              </a:lnSpc>
              <a:defRPr sz="3200" b="1" baseline="0"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ашей</a:t>
            </a:r>
            <a:r>
              <a:rPr lang="en-US" dirty="0"/>
              <a:t> </a:t>
            </a:r>
            <a:r>
              <a:rPr lang="ru-RU" dirty="0"/>
              <a:t>презентации</a:t>
            </a:r>
          </a:p>
        </p:txBody>
      </p:sp>
      <p:sp>
        <p:nvSpPr>
          <p:cNvPr id="262" name="Текст 24"/>
          <p:cNvSpPr>
            <a:spLocks noGrp="1"/>
          </p:cNvSpPr>
          <p:nvPr>
            <p:ph type="body" sz="quarter" idx="10" hasCustomPrompt="1"/>
          </p:nvPr>
        </p:nvSpPr>
        <p:spPr>
          <a:xfrm>
            <a:off x="447992" y="4394178"/>
            <a:ext cx="5421906" cy="27699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63" name="Текст 24"/>
          <p:cNvSpPr>
            <a:spLocks noGrp="1"/>
          </p:cNvSpPr>
          <p:nvPr>
            <p:ph type="body" sz="quarter" idx="13" hasCustomPrompt="1"/>
          </p:nvPr>
        </p:nvSpPr>
        <p:spPr>
          <a:xfrm>
            <a:off x="447992" y="5949091"/>
            <a:ext cx="5421906" cy="215444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39607165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2"/>
          <p:cNvSpPr/>
          <p:nvPr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11324361" y="6517061"/>
            <a:ext cx="424728" cy="184669"/>
            <a:chOff x="6626594" y="3238091"/>
            <a:chExt cx="3421274" cy="1487547"/>
          </a:xfrm>
        </p:grpSpPr>
        <p:grpSp>
          <p:nvGrpSpPr>
            <p:cNvPr id="5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6626594" y="3238091"/>
              <a:ext cx="2540911" cy="1487547"/>
              <a:chOff x="6626594" y="3238091"/>
              <a:chExt cx="2540911" cy="1487547"/>
            </a:xfrm>
            <a:solidFill>
              <a:srgbClr val="171523"/>
            </a:solidFill>
          </p:grpSpPr>
          <p:sp>
            <p:nvSpPr>
              <p:cNvPr id="7" name="Полилиния 6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9" name="Полилиния 8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9196128" y="3261224"/>
              <a:ext cx="851740" cy="1441279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62329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Текст 38"/>
          <p:cNvSpPr>
            <a:spLocks noGrp="1"/>
          </p:cNvSpPr>
          <p:nvPr>
            <p:ph type="body" sz="quarter" idx="13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0" name="Текст 38"/>
          <p:cNvSpPr>
            <a:spLocks noGrp="1"/>
          </p:cNvSpPr>
          <p:nvPr>
            <p:ph type="body" sz="quarter" idx="14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4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4500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7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4500" y="444926"/>
            <a:ext cx="1130204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6647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436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2083509"/>
            <a:ext cx="5668327" cy="848300"/>
          </a:xfrm>
          <a:prstGeom prst="rect">
            <a:avLst/>
          </a:prstGeom>
        </p:spPr>
        <p:txBody>
          <a:bodyPr vert="horz" wrap="square" lIns="36000" tIns="36000" rIns="36000" bIns="36000" anchor="t" anchorCtr="0">
            <a:spAutoFit/>
          </a:bodyPr>
          <a:lstStyle>
            <a:lvl1pPr>
              <a:defRPr sz="2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Слайд</a:t>
            </a:r>
            <a:br>
              <a:rPr lang="ru-RU" dirty="0"/>
            </a:br>
            <a:r>
              <a:rPr lang="ru-RU" dirty="0"/>
              <a:t>разделитель</a:t>
            </a:r>
          </a:p>
        </p:txBody>
      </p:sp>
      <p:sp>
        <p:nvSpPr>
          <p:cNvPr id="13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2" y="243629"/>
            <a:ext cx="3245168" cy="176971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15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521635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132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2" y="449263"/>
            <a:ext cx="11306175" cy="2769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>
              <a:defRPr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14" name="Текст 24">
            <a:extLst>
              <a:ext uri="{FF2B5EF4-FFF2-40B4-BE49-F238E27FC236}">
                <a16:creationId xmlns:a16="http://schemas.microsoft.com/office/drawing/2014/main" id="{E05899F0-03F6-6B4C-BF0E-6A257DC766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1" y="1196975"/>
            <a:ext cx="7453314" cy="295465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342900" indent="-342900" algn="l" defTabSz="914400" rtl="0" eaLnBrk="1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lang="ru-RU" sz="1600" b="0" kern="1200" spc="-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Heavy" panose="020B0903040504020204" pitchFamily="34" charset="-52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>
                <a:effectLst/>
              </a:rPr>
              <a:t>Раздел 1</a:t>
            </a:r>
          </a:p>
          <a:p>
            <a:pPr lvl="0"/>
            <a:r>
              <a:rPr lang="ru-RU" dirty="0">
                <a:effectLst/>
              </a:rPr>
              <a:t>Раздел 2</a:t>
            </a:r>
          </a:p>
          <a:p>
            <a:pPr lvl="0"/>
            <a:r>
              <a:rPr lang="ru-RU" dirty="0">
                <a:effectLst/>
              </a:rPr>
              <a:t>Раздел 3</a:t>
            </a:r>
          </a:p>
          <a:p>
            <a:pPr lvl="0"/>
            <a:r>
              <a:rPr lang="ru-RU" dirty="0">
                <a:effectLst/>
              </a:rPr>
              <a:t>Раздел 4</a:t>
            </a:r>
          </a:p>
          <a:p>
            <a:pPr lvl="0"/>
            <a:r>
              <a:rPr lang="ru-RU" dirty="0">
                <a:effectLst/>
              </a:rPr>
              <a:t>Раздел 5</a:t>
            </a:r>
          </a:p>
          <a:p>
            <a:pPr lvl="0"/>
            <a:r>
              <a:rPr lang="ru-RU" dirty="0">
                <a:effectLst/>
              </a:rPr>
              <a:t>Раздел 6</a:t>
            </a:r>
            <a:endParaRPr lang="ru-RU" dirty="0"/>
          </a:p>
        </p:txBody>
      </p:sp>
      <p:sp>
        <p:nvSpPr>
          <p:cNvPr id="15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8737600" y="4690668"/>
            <a:ext cx="3175000" cy="176971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r">
              <a:buNone/>
              <a:defRPr sz="115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863835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3106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9" name="Рисунок 49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2705100"/>
            <a:ext cx="5376156" cy="4154303"/>
          </a:xfrm>
          <a:prstGeom prst="rect">
            <a:avLst/>
          </a:prstGeom>
        </p:spPr>
      </p:pic>
      <p:grpSp>
        <p:nvGrpSpPr>
          <p:cNvPr id="2" name="Группа 1"/>
          <p:cNvGrpSpPr/>
          <p:nvPr/>
        </p:nvGrpSpPr>
        <p:grpSpPr>
          <a:xfrm>
            <a:off x="443791" y="755941"/>
            <a:ext cx="2931869" cy="381832"/>
            <a:chOff x="443791" y="377997"/>
            <a:chExt cx="3999467" cy="520871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1492644" y="456285"/>
              <a:ext cx="2950614" cy="364276"/>
            </a:xfrm>
            <a:prstGeom prst="rect">
              <a:avLst/>
            </a:prstGeom>
            <a:noFill/>
            <a:ln w="0" cap="flat">
              <a:noFill/>
              <a:prstDash val="solid"/>
              <a:miter/>
            </a:ln>
          </p:spPr>
          <p:txBody>
            <a:bodyPr lIns="324000" tIns="0" rIns="72000" bIns="0" rtlCol="0" anchor="ctr"/>
            <a:lstStyle/>
            <a:p>
              <a:pPr lvl="0" algn="l"/>
              <a:r>
                <a:rPr lang="ru-RU" sz="1400" dirty="0">
                  <a:solidFill>
                    <a:schemeClr val="bg1"/>
                  </a:solidFill>
                  <a:sym typeface="Verdana" panose="020B0604030504040204" pitchFamily="34" charset="0"/>
                </a:rPr>
                <a:t>Решения,</a:t>
              </a:r>
              <a:r>
                <a:rPr lang="ru-RU" sz="1400" baseline="0" dirty="0">
                  <a:solidFill>
                    <a:schemeClr val="bg1"/>
                  </a:solidFill>
                  <a:sym typeface="Verdana" panose="020B0604030504040204" pitchFamily="34" charset="0"/>
                </a:rPr>
                <a:t> </a:t>
              </a:r>
              <a:br>
                <a:rPr lang="ru-RU" sz="1400" baseline="0" dirty="0">
                  <a:solidFill>
                    <a:schemeClr val="bg1"/>
                  </a:solidFill>
                  <a:sym typeface="Verdana" panose="020B0604030504040204" pitchFamily="34" charset="0"/>
                </a:rPr>
              </a:br>
              <a:r>
                <a:rPr lang="ru-RU" sz="1400" baseline="0" dirty="0">
                  <a:solidFill>
                    <a:schemeClr val="bg1"/>
                  </a:solidFill>
                  <a:sym typeface="Verdana" panose="020B0604030504040204" pitchFamily="34" charset="0"/>
                </a:rPr>
                <a:t>которые работают</a:t>
              </a:r>
              <a:endParaRPr lang="ru-RU" sz="1400" dirty="0">
                <a:solidFill>
                  <a:schemeClr val="bg1"/>
                </a:solidFill>
                <a:sym typeface="Verdana" panose="020B0604030504040204" pitchFamily="34" charset="0"/>
              </a:endParaRPr>
            </a:p>
          </p:txBody>
        </p:sp>
        <p:grpSp>
          <p:nvGrpSpPr>
            <p:cNvPr id="13" name="Группа 12"/>
            <p:cNvGrpSpPr/>
            <p:nvPr/>
          </p:nvGrpSpPr>
          <p:grpSpPr>
            <a:xfrm>
              <a:off x="443791" y="377997"/>
              <a:ext cx="1197973" cy="520871"/>
              <a:chOff x="6626594" y="3238091"/>
              <a:chExt cx="3421274" cy="1487547"/>
            </a:xfrm>
          </p:grpSpPr>
          <p:grpSp>
            <p:nvGrpSpPr>
              <p:cNvPr id="14" name="Рисунок 48">
                <a:extLst>
                  <a:ext uri="{FF2B5EF4-FFF2-40B4-BE49-F238E27FC236}">
                    <a16:creationId xmlns:a16="http://schemas.microsoft.com/office/drawing/2014/main" id="{2253F4C3-1E1A-715B-101F-E0672B990835}"/>
                  </a:ext>
                </a:extLst>
              </p:cNvPr>
              <p:cNvGrpSpPr/>
              <p:nvPr/>
            </p:nvGrpSpPr>
            <p:grpSpPr>
              <a:xfrm>
                <a:off x="6626594" y="3238091"/>
                <a:ext cx="2540911" cy="1487547"/>
                <a:chOff x="6626594" y="3238091"/>
                <a:chExt cx="2540911" cy="1487547"/>
              </a:xfrm>
              <a:solidFill>
                <a:srgbClr val="171523"/>
              </a:solidFill>
            </p:grpSpPr>
            <p:sp>
              <p:nvSpPr>
                <p:cNvPr id="16" name="Полилиния 15">
                  <a:extLst>
                    <a:ext uri="{FF2B5EF4-FFF2-40B4-BE49-F238E27FC236}">
                      <a16:creationId xmlns:a16="http://schemas.microsoft.com/office/drawing/2014/main" id="{5C296971-CF47-8409-873C-77EAFBE6DEC3}"/>
                    </a:ext>
                  </a:extLst>
                </p:cNvPr>
                <p:cNvSpPr/>
                <p:nvPr/>
              </p:nvSpPr>
              <p:spPr>
                <a:xfrm>
                  <a:off x="8023634" y="3261224"/>
                  <a:ext cx="1143871" cy="1441226"/>
                </a:xfrm>
                <a:custGeom>
                  <a:avLst/>
                  <a:gdLst>
                    <a:gd name="connsiteX0" fmla="*/ 690277 w 1143870"/>
                    <a:gd name="connsiteY0" fmla="*/ 0 h 1441226"/>
                    <a:gd name="connsiteX1" fmla="*/ 0 w 1143870"/>
                    <a:gd name="connsiteY1" fmla="*/ 0 h 1441226"/>
                    <a:gd name="connsiteX2" fmla="*/ 0 w 1143870"/>
                    <a:gd name="connsiteY2" fmla="*/ 1441227 h 1441226"/>
                    <a:gd name="connsiteX3" fmla="*/ 160722 w 1143870"/>
                    <a:gd name="connsiteY3" fmla="*/ 1441227 h 1441226"/>
                    <a:gd name="connsiteX4" fmla="*/ 160722 w 1143870"/>
                    <a:gd name="connsiteY4" fmla="*/ 844461 h 1441226"/>
                    <a:gd name="connsiteX5" fmla="*/ 690330 w 1143870"/>
                    <a:gd name="connsiteY5" fmla="*/ 844461 h 1441226"/>
                    <a:gd name="connsiteX6" fmla="*/ 1143871 w 1143870"/>
                    <a:gd name="connsiteY6" fmla="*/ 421119 h 1441226"/>
                    <a:gd name="connsiteX7" fmla="*/ 690277 w 1143870"/>
                    <a:gd name="connsiteY7" fmla="*/ 0 h 1441226"/>
                    <a:gd name="connsiteX8" fmla="*/ 690277 w 1143870"/>
                    <a:gd name="connsiteY8" fmla="*/ 695336 h 1441226"/>
                    <a:gd name="connsiteX9" fmla="*/ 160669 w 1143870"/>
                    <a:gd name="connsiteY9" fmla="*/ 695336 h 1441226"/>
                    <a:gd name="connsiteX10" fmla="*/ 160669 w 1143870"/>
                    <a:gd name="connsiteY10" fmla="*/ 149178 h 1441226"/>
                    <a:gd name="connsiteX11" fmla="*/ 690277 w 1143870"/>
                    <a:gd name="connsiteY11" fmla="*/ 149178 h 1441226"/>
                    <a:gd name="connsiteX12" fmla="*/ 979862 w 1143870"/>
                    <a:gd name="connsiteY12" fmla="*/ 421172 h 1441226"/>
                    <a:gd name="connsiteX13" fmla="*/ 690277 w 1143870"/>
                    <a:gd name="connsiteY13" fmla="*/ 695283 h 1441226"/>
                    <a:gd name="connsiteX14" fmla="*/ 690277 w 1143870"/>
                    <a:gd name="connsiteY14" fmla="*/ 695283 h 1441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143870" h="1441226">
                      <a:moveTo>
                        <a:pt x="690277" y="0"/>
                      </a:moveTo>
                      <a:lnTo>
                        <a:pt x="0" y="0"/>
                      </a:lnTo>
                      <a:lnTo>
                        <a:pt x="0" y="1441227"/>
                      </a:lnTo>
                      <a:lnTo>
                        <a:pt x="160722" y="1441227"/>
                      </a:lnTo>
                      <a:lnTo>
                        <a:pt x="160722" y="844461"/>
                      </a:lnTo>
                      <a:lnTo>
                        <a:pt x="690330" y="844461"/>
                      </a:lnTo>
                      <a:cubicBezTo>
                        <a:pt x="982619" y="844461"/>
                        <a:pt x="1143871" y="694224"/>
                        <a:pt x="1143871" y="421119"/>
                      </a:cubicBezTo>
                      <a:cubicBezTo>
                        <a:pt x="1143871" y="148014"/>
                        <a:pt x="982619" y="0"/>
                        <a:pt x="690277" y="0"/>
                      </a:cubicBezTo>
                      <a:close/>
                      <a:moveTo>
                        <a:pt x="690277" y="695336"/>
                      </a:moveTo>
                      <a:lnTo>
                        <a:pt x="160669" y="695336"/>
                      </a:lnTo>
                      <a:lnTo>
                        <a:pt x="160669" y="149178"/>
                      </a:lnTo>
                      <a:lnTo>
                        <a:pt x="690277" y="149178"/>
                      </a:lnTo>
                      <a:cubicBezTo>
                        <a:pt x="893034" y="149178"/>
                        <a:pt x="979862" y="230490"/>
                        <a:pt x="979862" y="421172"/>
                      </a:cubicBezTo>
                      <a:cubicBezTo>
                        <a:pt x="979862" y="611853"/>
                        <a:pt x="893034" y="695283"/>
                        <a:pt x="690277" y="695283"/>
                      </a:cubicBezTo>
                      <a:lnTo>
                        <a:pt x="690277" y="695283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200"/>
                </a:p>
              </p:txBody>
            </p:sp>
            <p:sp>
              <p:nvSpPr>
                <p:cNvPr id="17" name="Полилиния 16">
                  <a:extLst>
                    <a:ext uri="{FF2B5EF4-FFF2-40B4-BE49-F238E27FC236}">
                      <a16:creationId xmlns:a16="http://schemas.microsoft.com/office/drawing/2014/main" id="{C1DD0239-D639-A576-9D72-0715C6869096}"/>
                    </a:ext>
                  </a:extLst>
                </p:cNvPr>
                <p:cNvSpPr/>
                <p:nvPr/>
              </p:nvSpPr>
              <p:spPr>
                <a:xfrm>
                  <a:off x="6626594" y="3238091"/>
                  <a:ext cx="1192373" cy="1487547"/>
                </a:xfrm>
                <a:custGeom>
                  <a:avLst/>
                  <a:gdLst>
                    <a:gd name="connsiteX0" fmla="*/ 1192373 w 1192373"/>
                    <a:gd name="connsiteY0" fmla="*/ 1053988 h 1487547"/>
                    <a:gd name="connsiteX1" fmla="*/ 605092 w 1192373"/>
                    <a:gd name="connsiteY1" fmla="*/ 1487547 h 1487547"/>
                    <a:gd name="connsiteX2" fmla="*/ 0 w 1192373"/>
                    <a:gd name="connsiteY2" fmla="*/ 1034084 h 1487547"/>
                    <a:gd name="connsiteX3" fmla="*/ 0 w 1192373"/>
                    <a:gd name="connsiteY3" fmla="*/ 997980 h 1487547"/>
                    <a:gd name="connsiteX4" fmla="*/ 160722 w 1192373"/>
                    <a:gd name="connsiteY4" fmla="*/ 997980 h 1487547"/>
                    <a:gd name="connsiteX5" fmla="*/ 160722 w 1192373"/>
                    <a:gd name="connsiteY5" fmla="*/ 1034084 h 1487547"/>
                    <a:gd name="connsiteX6" fmla="*/ 605092 w 1192373"/>
                    <a:gd name="connsiteY6" fmla="*/ 1338898 h 1487547"/>
                    <a:gd name="connsiteX7" fmla="*/ 1035468 w 1192373"/>
                    <a:gd name="connsiteY7" fmla="*/ 1053988 h 1487547"/>
                    <a:gd name="connsiteX8" fmla="*/ 803556 w 1192373"/>
                    <a:gd name="connsiteY8" fmla="*/ 796023 h 1487547"/>
                    <a:gd name="connsiteX9" fmla="*/ 379647 w 1192373"/>
                    <a:gd name="connsiteY9" fmla="*/ 786865 h 1487547"/>
                    <a:gd name="connsiteX10" fmla="*/ 14524 w 1192373"/>
                    <a:gd name="connsiteY10" fmla="*/ 415772 h 1487547"/>
                    <a:gd name="connsiteX11" fmla="*/ 605092 w 1192373"/>
                    <a:gd name="connsiteY11" fmla="*/ 0 h 1487547"/>
                    <a:gd name="connsiteX12" fmla="*/ 1174032 w 1192373"/>
                    <a:gd name="connsiteY12" fmla="*/ 430859 h 1487547"/>
                    <a:gd name="connsiteX13" fmla="*/ 1174563 w 1192373"/>
                    <a:gd name="connsiteY13" fmla="*/ 444888 h 1487547"/>
                    <a:gd name="connsiteX14" fmla="*/ 1013841 w 1192373"/>
                    <a:gd name="connsiteY14" fmla="*/ 444888 h 1487547"/>
                    <a:gd name="connsiteX15" fmla="*/ 1013311 w 1192373"/>
                    <a:gd name="connsiteY15" fmla="*/ 431971 h 1487547"/>
                    <a:gd name="connsiteX16" fmla="*/ 605039 w 1192373"/>
                    <a:gd name="connsiteY16" fmla="*/ 148702 h 1487547"/>
                    <a:gd name="connsiteX17" fmla="*/ 170899 w 1192373"/>
                    <a:gd name="connsiteY17" fmla="*/ 415825 h 1487547"/>
                    <a:gd name="connsiteX18" fmla="*/ 381767 w 1192373"/>
                    <a:gd name="connsiteY18" fmla="*/ 626940 h 1487547"/>
                    <a:gd name="connsiteX19" fmla="*/ 805676 w 1192373"/>
                    <a:gd name="connsiteY19" fmla="*/ 636098 h 1487547"/>
                    <a:gd name="connsiteX20" fmla="*/ 1192373 w 1192373"/>
                    <a:gd name="connsiteY20" fmla="*/ 1054041 h 1487547"/>
                    <a:gd name="connsiteX21" fmla="*/ 1192373 w 1192373"/>
                    <a:gd name="connsiteY21" fmla="*/ 1054041 h 1487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192373" h="1487547">
                      <a:moveTo>
                        <a:pt x="1192373" y="1053988"/>
                      </a:moveTo>
                      <a:cubicBezTo>
                        <a:pt x="1192373" y="1345886"/>
                        <a:pt x="1000377" y="1487547"/>
                        <a:pt x="605092" y="1487547"/>
                      </a:cubicBezTo>
                      <a:cubicBezTo>
                        <a:pt x="181183" y="1487547"/>
                        <a:pt x="0" y="1352345"/>
                        <a:pt x="0" y="1034084"/>
                      </a:cubicBezTo>
                      <a:lnTo>
                        <a:pt x="0" y="997980"/>
                      </a:lnTo>
                      <a:lnTo>
                        <a:pt x="160722" y="997980"/>
                      </a:lnTo>
                      <a:lnTo>
                        <a:pt x="160722" y="1034084"/>
                      </a:lnTo>
                      <a:cubicBezTo>
                        <a:pt x="160722" y="1267803"/>
                        <a:pt x="264831" y="1338898"/>
                        <a:pt x="605092" y="1338898"/>
                      </a:cubicBezTo>
                      <a:cubicBezTo>
                        <a:pt x="983149" y="1338898"/>
                        <a:pt x="1035468" y="1202108"/>
                        <a:pt x="1035468" y="1053988"/>
                      </a:cubicBezTo>
                      <a:cubicBezTo>
                        <a:pt x="1035468" y="874106"/>
                        <a:pt x="968041" y="799252"/>
                        <a:pt x="803556" y="796023"/>
                      </a:cubicBezTo>
                      <a:lnTo>
                        <a:pt x="379647" y="786865"/>
                      </a:lnTo>
                      <a:cubicBezTo>
                        <a:pt x="133740" y="780936"/>
                        <a:pt x="14524" y="659762"/>
                        <a:pt x="14524" y="415772"/>
                      </a:cubicBezTo>
                      <a:cubicBezTo>
                        <a:pt x="14577" y="124403"/>
                        <a:pt x="191467" y="0"/>
                        <a:pt x="605092" y="0"/>
                      </a:cubicBezTo>
                      <a:cubicBezTo>
                        <a:pt x="970215" y="0"/>
                        <a:pt x="1161628" y="145420"/>
                        <a:pt x="1174032" y="430859"/>
                      </a:cubicBezTo>
                      <a:lnTo>
                        <a:pt x="1174563" y="444888"/>
                      </a:lnTo>
                      <a:lnTo>
                        <a:pt x="1013841" y="444888"/>
                      </a:lnTo>
                      <a:lnTo>
                        <a:pt x="1013311" y="431971"/>
                      </a:lnTo>
                      <a:cubicBezTo>
                        <a:pt x="1003610" y="197140"/>
                        <a:pt x="842888" y="148702"/>
                        <a:pt x="605039" y="148702"/>
                      </a:cubicBezTo>
                      <a:cubicBezTo>
                        <a:pt x="238326" y="148702"/>
                        <a:pt x="170899" y="238643"/>
                        <a:pt x="170899" y="415825"/>
                      </a:cubicBezTo>
                      <a:cubicBezTo>
                        <a:pt x="170899" y="593007"/>
                        <a:pt x="232919" y="623711"/>
                        <a:pt x="381767" y="626940"/>
                      </a:cubicBezTo>
                      <a:lnTo>
                        <a:pt x="805676" y="636098"/>
                      </a:lnTo>
                      <a:cubicBezTo>
                        <a:pt x="1058633" y="641498"/>
                        <a:pt x="1192373" y="785806"/>
                        <a:pt x="1192373" y="1054041"/>
                      </a:cubicBezTo>
                      <a:lnTo>
                        <a:pt x="1192373" y="1054041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200"/>
                </a:p>
              </p:txBody>
            </p:sp>
          </p:grpSp>
          <p:sp>
            <p:nvSpPr>
              <p:cNvPr id="15" name="Полилиния 14">
                <a:extLst>
                  <a:ext uri="{FF2B5EF4-FFF2-40B4-BE49-F238E27FC236}">
                    <a16:creationId xmlns:a16="http://schemas.microsoft.com/office/drawing/2014/main" id="{426C0A8D-D200-9B5E-DE81-63CCB23992C3}"/>
                  </a:ext>
                </a:extLst>
              </p:cNvPr>
              <p:cNvSpPr/>
              <p:nvPr/>
            </p:nvSpPr>
            <p:spPr>
              <a:xfrm>
                <a:off x="9196128" y="3261224"/>
                <a:ext cx="851740" cy="1441279"/>
              </a:xfrm>
              <a:custGeom>
                <a:avLst/>
                <a:gdLst>
                  <a:gd name="connsiteX0" fmla="*/ 851741 w 851740"/>
                  <a:gd name="connsiteY0" fmla="*/ 0 h 1441279"/>
                  <a:gd name="connsiteX1" fmla="*/ 161146 w 851740"/>
                  <a:gd name="connsiteY1" fmla="*/ 1441280 h 1441279"/>
                  <a:gd name="connsiteX2" fmla="*/ 0 w 851740"/>
                  <a:gd name="connsiteY2" fmla="*/ 1441280 h 1441279"/>
                  <a:gd name="connsiteX3" fmla="*/ 690595 w 851740"/>
                  <a:gd name="connsiteY3" fmla="*/ 0 h 1441279"/>
                  <a:gd name="connsiteX4" fmla="*/ 851741 w 851740"/>
                  <a:gd name="connsiteY4" fmla="*/ 0 h 1441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1740" h="1441279">
                    <a:moveTo>
                      <a:pt x="851741" y="0"/>
                    </a:moveTo>
                    <a:lnTo>
                      <a:pt x="161146" y="1441280"/>
                    </a:lnTo>
                    <a:lnTo>
                      <a:pt x="0" y="1441280"/>
                    </a:lnTo>
                    <a:lnTo>
                      <a:pt x="690595" y="0"/>
                    </a:lnTo>
                    <a:lnTo>
                      <a:pt x="851741" y="0"/>
                    </a:lnTo>
                    <a:close/>
                  </a:path>
                </a:pathLst>
              </a:custGeom>
              <a:gradFill>
                <a:gsLst>
                  <a:gs pos="0">
                    <a:srgbClr val="2EEAEF"/>
                  </a:gs>
                  <a:gs pos="20000">
                    <a:srgbClr val="2EE5EE"/>
                  </a:gs>
                  <a:gs pos="41000">
                    <a:srgbClr val="2ED9EE"/>
                  </a:gs>
                  <a:gs pos="62000">
                    <a:srgbClr val="2EC4EE"/>
                  </a:gs>
                  <a:gs pos="83000">
                    <a:srgbClr val="2EA7ED"/>
                  </a:gs>
                  <a:gs pos="100000">
                    <a:srgbClr val="2F8AED"/>
                  </a:gs>
                </a:gsLst>
                <a:lin ang="6907745" scaled="1"/>
              </a:gra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200"/>
              </a:p>
            </p:txBody>
          </p:sp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AA6D197-F4AC-06D4-CE4C-CBE3CC719934}"/>
              </a:ext>
            </a:extLst>
          </p:cNvPr>
          <p:cNvSpPr txBox="1"/>
          <p:nvPr/>
        </p:nvSpPr>
        <p:spPr>
          <a:xfrm>
            <a:off x="435293" y="1435282"/>
            <a:ext cx="6096000" cy="4924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lIns="0" tIns="0" rIns="0" bIns="0">
            <a:noAutofit/>
          </a:bodyPr>
          <a:lstStyle/>
          <a:p>
            <a:pPr marL="0" indent="0"/>
            <a:r>
              <a:rPr lang="ru-RU" sz="2000" b="0" dirty="0">
                <a:latin typeface="Verdana" panose="020B0604030504040204" pitchFamily="34" charset="0"/>
                <a:ea typeface="Verdana" panose="020B0604030504040204" pitchFamily="34" charset="0"/>
                <a:cs typeface="SB Sans Text Semibold" panose="020B0503040504020204" pitchFamily="34" charset="0"/>
                <a:sym typeface="Verdana" panose="020B0604030504040204" pitchFamily="34" charset="0"/>
              </a:rPr>
              <a:t>Контакты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7850912" y="2102985"/>
            <a:ext cx="3428710" cy="580534"/>
            <a:chOff x="7850912" y="2102985"/>
            <a:chExt cx="3428710" cy="580534"/>
          </a:xfrm>
        </p:grpSpPr>
        <p:sp>
          <p:nvSpPr>
            <p:cNvPr id="21" name="Прямоугольник 20"/>
            <p:cNvSpPr>
              <a:spLocks/>
            </p:cNvSpPr>
            <p:nvPr/>
          </p:nvSpPr>
          <p:spPr>
            <a:xfrm>
              <a:off x="7850912" y="2102985"/>
              <a:ext cx="1443216" cy="395869"/>
            </a:xfrm>
            <a:prstGeom prst="rect">
              <a:avLst/>
            </a:prstGeom>
          </p:spPr>
          <p:txBody>
            <a:bodyPr wrap="none" tIns="72000">
              <a:spAutoFit/>
            </a:bodyPr>
            <a:lstStyle/>
            <a:p>
              <a:pPr algn="ctr" defTabSz="610845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n-US" sz="1800" spc="0" baseline="0" dirty="0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strategy.ru</a:t>
              </a:r>
              <a:endParaRPr lang="ru-RU" sz="1800" spc="0" baseline="0" dirty="0"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693847" y="2102985"/>
              <a:ext cx="1585775" cy="580534"/>
            </a:xfrm>
            <a:prstGeom prst="rect">
              <a:avLst/>
            </a:prstGeom>
          </p:spPr>
          <p:txBody>
            <a:bodyPr wrap="square" tIns="72000">
              <a:spAutoFit/>
            </a:bodyPr>
            <a:lstStyle/>
            <a:p>
              <a:pPr defTabSz="610845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n-US" sz="1500" dirty="0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t.me/</a:t>
              </a:r>
              <a:r>
                <a:rPr lang="en-US" sz="1500" dirty="0" err="1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strategypartners</a:t>
              </a:r>
              <a:endParaRPr lang="ru-RU" sz="1500" dirty="0"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6CDF8E49-BF2D-56AB-2CE5-49CC484DF1C9}"/>
              </a:ext>
            </a:extLst>
          </p:cNvPr>
          <p:cNvSpPr txBox="1"/>
          <p:nvPr/>
        </p:nvSpPr>
        <p:spPr bwMode="auto">
          <a:xfrm>
            <a:off x="5987482" y="5861806"/>
            <a:ext cx="5161505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Aft>
                <a:spcPts val="300"/>
              </a:spcAft>
            </a:pPr>
            <a:r>
              <a:rPr lang="ru-RU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121099, г. Москва, ул. Композиторская, д. 17</a:t>
            </a:r>
          </a:p>
          <a:p>
            <a:pPr algn="r" defTabSz="610845">
              <a:lnSpc>
                <a:spcPct val="100000"/>
              </a:lnSpc>
              <a:spcAft>
                <a:spcPts val="300"/>
              </a:spcAft>
              <a:defRPr/>
            </a:pPr>
            <a:r>
              <a:rPr lang="en-US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+7 (495) 730-77-47</a:t>
            </a:r>
            <a:r>
              <a:rPr lang="ru-RU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>
                <a:solidFill>
                  <a:schemeClr val="tx1">
                    <a:alpha val="7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|</a:t>
            </a:r>
            <a:r>
              <a:rPr lang="ru-RU" sz="1200" dirty="0">
                <a:solidFill>
                  <a:schemeClr val="tx1">
                    <a:alpha val="7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 </a:t>
            </a:r>
            <a:r>
              <a:rPr lang="en-US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inbox@strategy.ru</a:t>
            </a:r>
            <a:r>
              <a:rPr lang="ru-RU" sz="120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 </a:t>
            </a:r>
          </a:p>
        </p:txBody>
      </p:sp>
      <p:grpSp>
        <p:nvGrpSpPr>
          <p:cNvPr id="29" name="Рисунок 4">
            <a:extLst>
              <a:ext uri="{FF2B5EF4-FFF2-40B4-BE49-F238E27FC236}">
                <a16:creationId xmlns:a16="http://schemas.microsoft.com/office/drawing/2014/main" id="{94082320-2525-B04E-C59B-FF0C15071698}"/>
              </a:ext>
            </a:extLst>
          </p:cNvPr>
          <p:cNvGrpSpPr/>
          <p:nvPr/>
        </p:nvGrpSpPr>
        <p:grpSpPr>
          <a:xfrm>
            <a:off x="9804398" y="813331"/>
            <a:ext cx="1248411" cy="1243681"/>
            <a:chOff x="6450353" y="2684481"/>
            <a:chExt cx="1473380" cy="1467798"/>
          </a:xfrm>
          <a:solidFill>
            <a:schemeClr val="bg1"/>
          </a:solidFill>
        </p:grpSpPr>
        <p:sp>
          <p:nvSpPr>
            <p:cNvPr id="30" name="Полилиния 29">
              <a:extLst>
                <a:ext uri="{FF2B5EF4-FFF2-40B4-BE49-F238E27FC236}">
                  <a16:creationId xmlns:a16="http://schemas.microsoft.com/office/drawing/2014/main" id="{26574203-C9FF-56CB-BD05-E58149F2AFB7}"/>
                </a:ext>
              </a:extLst>
            </p:cNvPr>
            <p:cNvSpPr/>
            <p:nvPr/>
          </p:nvSpPr>
          <p:spPr>
            <a:xfrm>
              <a:off x="6852106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A24D71F8-4027-5A39-55F7-A699BF43CB5E}"/>
                </a:ext>
              </a:extLst>
            </p:cNvPr>
            <p:cNvSpPr/>
            <p:nvPr/>
          </p:nvSpPr>
          <p:spPr>
            <a:xfrm>
              <a:off x="6941480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8DCB951D-1CD9-E835-FCA1-486D5405A754}"/>
                </a:ext>
              </a:extLst>
            </p:cNvPr>
            <p:cNvSpPr/>
            <p:nvPr/>
          </p:nvSpPr>
          <p:spPr>
            <a:xfrm>
              <a:off x="720931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45DFA8A6-3340-9D3D-0913-1EA19FA4C0E2}"/>
                </a:ext>
              </a:extLst>
            </p:cNvPr>
            <p:cNvSpPr/>
            <p:nvPr/>
          </p:nvSpPr>
          <p:spPr>
            <a:xfrm>
              <a:off x="725395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B0939566-AB1C-DC69-898D-3FD5A715A56C}"/>
                </a:ext>
              </a:extLst>
            </p:cNvPr>
            <p:cNvSpPr/>
            <p:nvPr/>
          </p:nvSpPr>
          <p:spPr>
            <a:xfrm>
              <a:off x="7298594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AFDC0A9B-E544-484B-E16E-1B9EBC827860}"/>
                </a:ext>
              </a:extLst>
            </p:cNvPr>
            <p:cNvSpPr/>
            <p:nvPr/>
          </p:nvSpPr>
          <p:spPr>
            <a:xfrm>
              <a:off x="738787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 35">
              <a:extLst>
                <a:ext uri="{FF2B5EF4-FFF2-40B4-BE49-F238E27FC236}">
                  <a16:creationId xmlns:a16="http://schemas.microsoft.com/office/drawing/2014/main" id="{54462312-B083-431E-5531-3F09386D2B4D}"/>
                </a:ext>
              </a:extLst>
            </p:cNvPr>
            <p:cNvSpPr/>
            <p:nvPr/>
          </p:nvSpPr>
          <p:spPr>
            <a:xfrm>
              <a:off x="743251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 36">
              <a:extLst>
                <a:ext uri="{FF2B5EF4-FFF2-40B4-BE49-F238E27FC236}">
                  <a16:creationId xmlns:a16="http://schemas.microsoft.com/office/drawing/2014/main" id="{BFCC57CD-4211-AB20-A66D-3865E654A0B2}"/>
                </a:ext>
              </a:extLst>
            </p:cNvPr>
            <p:cNvSpPr/>
            <p:nvPr/>
          </p:nvSpPr>
          <p:spPr>
            <a:xfrm>
              <a:off x="752188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9E2AC277-DE9E-E328-33A1-5E4739B1E0C6}"/>
                </a:ext>
              </a:extLst>
            </p:cNvPr>
            <p:cNvSpPr/>
            <p:nvPr/>
          </p:nvSpPr>
          <p:spPr>
            <a:xfrm>
              <a:off x="680746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13D4CB15-F2E3-3500-2B98-B4C6DA0BB557}"/>
                </a:ext>
              </a:extLst>
            </p:cNvPr>
            <p:cNvSpPr/>
            <p:nvPr/>
          </p:nvSpPr>
          <p:spPr>
            <a:xfrm>
              <a:off x="6986119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CD618E06-45DA-E5AE-12E4-3BF006655DAB}"/>
                </a:ext>
              </a:extLst>
            </p:cNvPr>
            <p:cNvSpPr/>
            <p:nvPr/>
          </p:nvSpPr>
          <p:spPr>
            <a:xfrm>
              <a:off x="712003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FDD141A2-5F70-6E73-AAE0-D7AE720DACEC}"/>
                </a:ext>
              </a:extLst>
            </p:cNvPr>
            <p:cNvSpPr/>
            <p:nvPr/>
          </p:nvSpPr>
          <p:spPr>
            <a:xfrm>
              <a:off x="720931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7FF78871-7679-EA3B-4C37-F8FB0CB7F74C}"/>
                </a:ext>
              </a:extLst>
            </p:cNvPr>
            <p:cNvSpPr/>
            <p:nvPr/>
          </p:nvSpPr>
          <p:spPr>
            <a:xfrm>
              <a:off x="725395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89544812-BDE0-EF1B-AFA2-56B5DE5069FB}"/>
                </a:ext>
              </a:extLst>
            </p:cNvPr>
            <p:cNvSpPr/>
            <p:nvPr/>
          </p:nvSpPr>
          <p:spPr>
            <a:xfrm>
              <a:off x="7298594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043617E0-5897-290C-5684-42666AB367DF}"/>
                </a:ext>
              </a:extLst>
            </p:cNvPr>
            <p:cNvSpPr/>
            <p:nvPr/>
          </p:nvSpPr>
          <p:spPr>
            <a:xfrm>
              <a:off x="7432512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3B0771E8-3887-9710-981A-01C72364DAEB}"/>
                </a:ext>
              </a:extLst>
            </p:cNvPr>
            <p:cNvSpPr/>
            <p:nvPr/>
          </p:nvSpPr>
          <p:spPr>
            <a:xfrm>
              <a:off x="680746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08139889-98BB-E336-01DA-4F85AF887AFF}"/>
                </a:ext>
              </a:extLst>
            </p:cNvPr>
            <p:cNvSpPr/>
            <p:nvPr/>
          </p:nvSpPr>
          <p:spPr>
            <a:xfrm>
              <a:off x="703075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B3DF69F5-AE01-7319-629F-6A17D1FEA8EB}"/>
                </a:ext>
              </a:extLst>
            </p:cNvPr>
            <p:cNvSpPr/>
            <p:nvPr/>
          </p:nvSpPr>
          <p:spPr>
            <a:xfrm>
              <a:off x="707539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57F32FC1-C8C1-C479-A6EE-FF10C94105EC}"/>
                </a:ext>
              </a:extLst>
            </p:cNvPr>
            <p:cNvSpPr/>
            <p:nvPr/>
          </p:nvSpPr>
          <p:spPr>
            <a:xfrm>
              <a:off x="712003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4A50B605-D0F8-BA8D-FEE0-F999843EF2AF}"/>
                </a:ext>
              </a:extLst>
            </p:cNvPr>
            <p:cNvSpPr/>
            <p:nvPr/>
          </p:nvSpPr>
          <p:spPr>
            <a:xfrm>
              <a:off x="720931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12EEBEB4-FCF2-F580-73C4-40EF76EF17CE}"/>
                </a:ext>
              </a:extLst>
            </p:cNvPr>
            <p:cNvSpPr/>
            <p:nvPr/>
          </p:nvSpPr>
          <p:spPr>
            <a:xfrm>
              <a:off x="725395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D2960D56-2087-2605-4994-3F2AFE199C36}"/>
                </a:ext>
              </a:extLst>
            </p:cNvPr>
            <p:cNvSpPr/>
            <p:nvPr/>
          </p:nvSpPr>
          <p:spPr>
            <a:xfrm>
              <a:off x="7298594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439FB4E0-FEB3-6B91-1133-CDB50749328E}"/>
                </a:ext>
              </a:extLst>
            </p:cNvPr>
            <p:cNvSpPr/>
            <p:nvPr/>
          </p:nvSpPr>
          <p:spPr>
            <a:xfrm>
              <a:off x="7343233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FF0B7FAA-9A11-AEF9-80FA-36A0923C7953}"/>
                </a:ext>
              </a:extLst>
            </p:cNvPr>
            <p:cNvSpPr/>
            <p:nvPr/>
          </p:nvSpPr>
          <p:spPr>
            <a:xfrm>
              <a:off x="738787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9397A71B-BD8B-8C1E-2CDC-765A7EDB0256}"/>
                </a:ext>
              </a:extLst>
            </p:cNvPr>
            <p:cNvSpPr/>
            <p:nvPr/>
          </p:nvSpPr>
          <p:spPr>
            <a:xfrm>
              <a:off x="743251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D58D2E34-7BBA-AE37-6E52-2B8F274074A7}"/>
                </a:ext>
              </a:extLst>
            </p:cNvPr>
            <p:cNvSpPr/>
            <p:nvPr/>
          </p:nvSpPr>
          <p:spPr>
            <a:xfrm>
              <a:off x="752188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4E8C5E1C-7CA5-A040-AC11-7D9473213E77}"/>
                </a:ext>
              </a:extLst>
            </p:cNvPr>
            <p:cNvSpPr/>
            <p:nvPr/>
          </p:nvSpPr>
          <p:spPr>
            <a:xfrm>
              <a:off x="6807467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49156D91-5FCB-E601-5552-6B15DAEA94AD}"/>
                </a:ext>
              </a:extLst>
            </p:cNvPr>
            <p:cNvSpPr/>
            <p:nvPr/>
          </p:nvSpPr>
          <p:spPr>
            <a:xfrm>
              <a:off x="689684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 57">
              <a:extLst>
                <a:ext uri="{FF2B5EF4-FFF2-40B4-BE49-F238E27FC236}">
                  <a16:creationId xmlns:a16="http://schemas.microsoft.com/office/drawing/2014/main" id="{F73A94B4-B222-3A5C-102A-2E368D4BBF55}"/>
                </a:ext>
              </a:extLst>
            </p:cNvPr>
            <p:cNvSpPr/>
            <p:nvPr/>
          </p:nvSpPr>
          <p:spPr>
            <a:xfrm>
              <a:off x="6986119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 58">
              <a:extLst>
                <a:ext uri="{FF2B5EF4-FFF2-40B4-BE49-F238E27FC236}">
                  <a16:creationId xmlns:a16="http://schemas.microsoft.com/office/drawing/2014/main" id="{343DD0CB-72E6-4563-AD20-CFC0E37F933A}"/>
                </a:ext>
              </a:extLst>
            </p:cNvPr>
            <p:cNvSpPr/>
            <p:nvPr/>
          </p:nvSpPr>
          <p:spPr>
            <a:xfrm>
              <a:off x="703075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 59">
              <a:extLst>
                <a:ext uri="{FF2B5EF4-FFF2-40B4-BE49-F238E27FC236}">
                  <a16:creationId xmlns:a16="http://schemas.microsoft.com/office/drawing/2014/main" id="{5BFA067A-3F9C-DF66-9DD0-C39740F49EC5}"/>
                </a:ext>
              </a:extLst>
            </p:cNvPr>
            <p:cNvSpPr/>
            <p:nvPr/>
          </p:nvSpPr>
          <p:spPr>
            <a:xfrm>
              <a:off x="707539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Полилиния 60">
              <a:extLst>
                <a:ext uri="{FF2B5EF4-FFF2-40B4-BE49-F238E27FC236}">
                  <a16:creationId xmlns:a16="http://schemas.microsoft.com/office/drawing/2014/main" id="{900F1D90-0A05-5AC8-EC7F-3AAAB532877B}"/>
                </a:ext>
              </a:extLst>
            </p:cNvPr>
            <p:cNvSpPr/>
            <p:nvPr/>
          </p:nvSpPr>
          <p:spPr>
            <a:xfrm>
              <a:off x="7164676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 61">
              <a:extLst>
                <a:ext uri="{FF2B5EF4-FFF2-40B4-BE49-F238E27FC236}">
                  <a16:creationId xmlns:a16="http://schemas.microsoft.com/office/drawing/2014/main" id="{F4018580-6F9A-9282-0961-FD05523841E3}"/>
                </a:ext>
              </a:extLst>
            </p:cNvPr>
            <p:cNvSpPr/>
            <p:nvPr/>
          </p:nvSpPr>
          <p:spPr>
            <a:xfrm>
              <a:off x="720931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 62">
              <a:extLst>
                <a:ext uri="{FF2B5EF4-FFF2-40B4-BE49-F238E27FC236}">
                  <a16:creationId xmlns:a16="http://schemas.microsoft.com/office/drawing/2014/main" id="{F8A929BC-8BBB-683B-7213-AA48184F5DDE}"/>
                </a:ext>
              </a:extLst>
            </p:cNvPr>
            <p:cNvSpPr/>
            <p:nvPr/>
          </p:nvSpPr>
          <p:spPr>
            <a:xfrm>
              <a:off x="725395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 63">
              <a:extLst>
                <a:ext uri="{FF2B5EF4-FFF2-40B4-BE49-F238E27FC236}">
                  <a16:creationId xmlns:a16="http://schemas.microsoft.com/office/drawing/2014/main" id="{23E492E5-8828-CF44-91CD-32CEE2B80ED3}"/>
                </a:ext>
              </a:extLst>
            </p:cNvPr>
            <p:cNvSpPr/>
            <p:nvPr/>
          </p:nvSpPr>
          <p:spPr>
            <a:xfrm>
              <a:off x="7298594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" name="Полилиния 64">
              <a:extLst>
                <a:ext uri="{FF2B5EF4-FFF2-40B4-BE49-F238E27FC236}">
                  <a16:creationId xmlns:a16="http://schemas.microsoft.com/office/drawing/2014/main" id="{89B43AF3-3CCA-FFA6-06BF-A8C57D235C6B}"/>
                </a:ext>
              </a:extLst>
            </p:cNvPr>
            <p:cNvSpPr/>
            <p:nvPr/>
          </p:nvSpPr>
          <p:spPr>
            <a:xfrm>
              <a:off x="738787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" name="Полилиния 65">
              <a:extLst>
                <a:ext uri="{FF2B5EF4-FFF2-40B4-BE49-F238E27FC236}">
                  <a16:creationId xmlns:a16="http://schemas.microsoft.com/office/drawing/2014/main" id="{48570E47-8F8F-82AD-0690-1C5F725D3127}"/>
                </a:ext>
              </a:extLst>
            </p:cNvPr>
            <p:cNvSpPr/>
            <p:nvPr/>
          </p:nvSpPr>
          <p:spPr>
            <a:xfrm>
              <a:off x="743251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" name="Полилиния 66">
              <a:extLst>
                <a:ext uri="{FF2B5EF4-FFF2-40B4-BE49-F238E27FC236}">
                  <a16:creationId xmlns:a16="http://schemas.microsoft.com/office/drawing/2014/main" id="{30362F07-BABC-F9B6-3B05-D102D5CCFD8F}"/>
                </a:ext>
              </a:extLst>
            </p:cNvPr>
            <p:cNvSpPr/>
            <p:nvPr/>
          </p:nvSpPr>
          <p:spPr>
            <a:xfrm>
              <a:off x="747715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" name="Полилиния 67">
              <a:extLst>
                <a:ext uri="{FF2B5EF4-FFF2-40B4-BE49-F238E27FC236}">
                  <a16:creationId xmlns:a16="http://schemas.microsoft.com/office/drawing/2014/main" id="{39E7C827-7D01-0129-F198-6A108365296E}"/>
                </a:ext>
              </a:extLst>
            </p:cNvPr>
            <p:cNvSpPr/>
            <p:nvPr/>
          </p:nvSpPr>
          <p:spPr>
            <a:xfrm>
              <a:off x="680746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" name="Полилиния 68">
              <a:extLst>
                <a:ext uri="{FF2B5EF4-FFF2-40B4-BE49-F238E27FC236}">
                  <a16:creationId xmlns:a16="http://schemas.microsoft.com/office/drawing/2014/main" id="{6D7E14D3-449F-40E8-C861-EC2831D8046B}"/>
                </a:ext>
              </a:extLst>
            </p:cNvPr>
            <p:cNvSpPr/>
            <p:nvPr/>
          </p:nvSpPr>
          <p:spPr>
            <a:xfrm>
              <a:off x="6852106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 69">
              <a:extLst>
                <a:ext uri="{FF2B5EF4-FFF2-40B4-BE49-F238E27FC236}">
                  <a16:creationId xmlns:a16="http://schemas.microsoft.com/office/drawing/2014/main" id="{5107E61F-6D09-9C35-F812-257C24E39FA7}"/>
                </a:ext>
              </a:extLst>
            </p:cNvPr>
            <p:cNvSpPr/>
            <p:nvPr/>
          </p:nvSpPr>
          <p:spPr>
            <a:xfrm>
              <a:off x="689684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C77735BA-988C-D444-DA7C-5116C93D4E54}"/>
                </a:ext>
              </a:extLst>
            </p:cNvPr>
            <p:cNvSpPr/>
            <p:nvPr/>
          </p:nvSpPr>
          <p:spPr>
            <a:xfrm>
              <a:off x="7030758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904F7A52-69E1-7222-132C-BF255B891B3D}"/>
                </a:ext>
              </a:extLst>
            </p:cNvPr>
            <p:cNvSpPr/>
            <p:nvPr/>
          </p:nvSpPr>
          <p:spPr>
            <a:xfrm>
              <a:off x="712003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80A7EB9A-512F-C4F4-C437-99CB238A8340}"/>
                </a:ext>
              </a:extLst>
            </p:cNvPr>
            <p:cNvSpPr/>
            <p:nvPr/>
          </p:nvSpPr>
          <p:spPr>
            <a:xfrm>
              <a:off x="720931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72C492C5-5A1F-63D1-6453-800AEACC690C}"/>
                </a:ext>
              </a:extLst>
            </p:cNvPr>
            <p:cNvSpPr/>
            <p:nvPr/>
          </p:nvSpPr>
          <p:spPr>
            <a:xfrm>
              <a:off x="725395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07DF7846-D1A3-BE76-A43A-81AA108E332B}"/>
                </a:ext>
              </a:extLst>
            </p:cNvPr>
            <p:cNvSpPr/>
            <p:nvPr/>
          </p:nvSpPr>
          <p:spPr>
            <a:xfrm>
              <a:off x="7387872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E782FFEB-14BC-03D7-E2EB-7387666481BA}"/>
                </a:ext>
              </a:extLst>
            </p:cNvPr>
            <p:cNvSpPr/>
            <p:nvPr/>
          </p:nvSpPr>
          <p:spPr>
            <a:xfrm>
              <a:off x="747715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6201762F-DDE4-04BC-FB83-5BBA33D00210}"/>
                </a:ext>
              </a:extLst>
            </p:cNvPr>
            <p:cNvSpPr/>
            <p:nvPr/>
          </p:nvSpPr>
          <p:spPr>
            <a:xfrm>
              <a:off x="680746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40B280E3-D6AC-E5E1-F97C-8A3296DCB85A}"/>
                </a:ext>
              </a:extLst>
            </p:cNvPr>
            <p:cNvSpPr/>
            <p:nvPr/>
          </p:nvSpPr>
          <p:spPr>
            <a:xfrm>
              <a:off x="689684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1C5593EB-1260-61B3-70BA-122160EBA894}"/>
                </a:ext>
              </a:extLst>
            </p:cNvPr>
            <p:cNvSpPr/>
            <p:nvPr/>
          </p:nvSpPr>
          <p:spPr>
            <a:xfrm>
              <a:off x="6941480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29395AC3-D72F-2E2A-3950-F9791DCF5750}"/>
                </a:ext>
              </a:extLst>
            </p:cNvPr>
            <p:cNvSpPr/>
            <p:nvPr/>
          </p:nvSpPr>
          <p:spPr>
            <a:xfrm>
              <a:off x="7075398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A9552098-6A7D-AAF4-FADE-5A359FDD77A6}"/>
                </a:ext>
              </a:extLst>
            </p:cNvPr>
            <p:cNvSpPr/>
            <p:nvPr/>
          </p:nvSpPr>
          <p:spPr>
            <a:xfrm>
              <a:off x="712003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FF0DA03E-4A16-08F1-61AE-4A9C343C37AF}"/>
                </a:ext>
              </a:extLst>
            </p:cNvPr>
            <p:cNvSpPr/>
            <p:nvPr/>
          </p:nvSpPr>
          <p:spPr>
            <a:xfrm>
              <a:off x="7164676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71A28393-CB8B-7BD2-3A45-E9823927332A}"/>
                </a:ext>
              </a:extLst>
            </p:cNvPr>
            <p:cNvSpPr/>
            <p:nvPr/>
          </p:nvSpPr>
          <p:spPr>
            <a:xfrm>
              <a:off x="7387872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7CD4909D-9AB0-964A-45E7-796DAF100769}"/>
                </a:ext>
              </a:extLst>
            </p:cNvPr>
            <p:cNvSpPr/>
            <p:nvPr/>
          </p:nvSpPr>
          <p:spPr>
            <a:xfrm>
              <a:off x="747715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485EFE18-1551-191B-03C5-14E6804D7180}"/>
                </a:ext>
              </a:extLst>
            </p:cNvPr>
            <p:cNvSpPr/>
            <p:nvPr/>
          </p:nvSpPr>
          <p:spPr>
            <a:xfrm>
              <a:off x="6807467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D2563A29-2FA5-B5B5-DCF7-FC45811983A2}"/>
                </a:ext>
              </a:extLst>
            </p:cNvPr>
            <p:cNvSpPr/>
            <p:nvPr/>
          </p:nvSpPr>
          <p:spPr>
            <a:xfrm>
              <a:off x="6896841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DD045CDE-24ED-979E-3546-F829E3714699}"/>
                </a:ext>
              </a:extLst>
            </p:cNvPr>
            <p:cNvSpPr/>
            <p:nvPr/>
          </p:nvSpPr>
          <p:spPr>
            <a:xfrm>
              <a:off x="6986119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685DEA47-FE37-B28A-0A31-57A7F7838021}"/>
                </a:ext>
              </a:extLst>
            </p:cNvPr>
            <p:cNvSpPr/>
            <p:nvPr/>
          </p:nvSpPr>
          <p:spPr>
            <a:xfrm>
              <a:off x="7075398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6CD824FA-B189-E68A-9F0C-5BD300678241}"/>
                </a:ext>
              </a:extLst>
            </p:cNvPr>
            <p:cNvSpPr/>
            <p:nvPr/>
          </p:nvSpPr>
          <p:spPr>
            <a:xfrm>
              <a:off x="7164676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A26A4093-61F3-7329-C236-2F5846E29D41}"/>
                </a:ext>
              </a:extLst>
            </p:cNvPr>
            <p:cNvSpPr/>
            <p:nvPr/>
          </p:nvSpPr>
          <p:spPr>
            <a:xfrm>
              <a:off x="725395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F13A0D70-7F42-6303-A5A7-DA70899354C2}"/>
                </a:ext>
              </a:extLst>
            </p:cNvPr>
            <p:cNvSpPr/>
            <p:nvPr/>
          </p:nvSpPr>
          <p:spPr>
            <a:xfrm>
              <a:off x="7343233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DAD0D5B3-C9E3-85B2-90D8-EE8A9B1E299F}"/>
                </a:ext>
              </a:extLst>
            </p:cNvPr>
            <p:cNvSpPr/>
            <p:nvPr/>
          </p:nvSpPr>
          <p:spPr>
            <a:xfrm>
              <a:off x="7432512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7527CFBA-F981-212B-8DF9-CA7C246C99DB}"/>
                </a:ext>
              </a:extLst>
            </p:cNvPr>
            <p:cNvSpPr/>
            <p:nvPr/>
          </p:nvSpPr>
          <p:spPr>
            <a:xfrm>
              <a:off x="752188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C633C890-FEA5-71AB-AE2C-7A1BFE914570}"/>
                </a:ext>
              </a:extLst>
            </p:cNvPr>
            <p:cNvSpPr/>
            <p:nvPr/>
          </p:nvSpPr>
          <p:spPr>
            <a:xfrm>
              <a:off x="685210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64F3635B-954C-B790-151B-515798854197}"/>
                </a:ext>
              </a:extLst>
            </p:cNvPr>
            <p:cNvSpPr/>
            <p:nvPr/>
          </p:nvSpPr>
          <p:spPr>
            <a:xfrm>
              <a:off x="689684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4688EFC3-7CB0-490F-7EC3-7C26CDC8638B}"/>
                </a:ext>
              </a:extLst>
            </p:cNvPr>
            <p:cNvSpPr/>
            <p:nvPr/>
          </p:nvSpPr>
          <p:spPr>
            <a:xfrm>
              <a:off x="7030758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0AE26F97-98D8-98CB-8FC9-332DDB825491}"/>
                </a:ext>
              </a:extLst>
            </p:cNvPr>
            <p:cNvSpPr/>
            <p:nvPr/>
          </p:nvSpPr>
          <p:spPr>
            <a:xfrm>
              <a:off x="716467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FD401CD6-8BEF-0D3D-90B8-1DE72EAE81F2}"/>
                </a:ext>
              </a:extLst>
            </p:cNvPr>
            <p:cNvSpPr/>
            <p:nvPr/>
          </p:nvSpPr>
          <p:spPr>
            <a:xfrm>
              <a:off x="747715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E965B668-DAC7-7FEF-EF26-71632A11900F}"/>
                </a:ext>
              </a:extLst>
            </p:cNvPr>
            <p:cNvSpPr/>
            <p:nvPr/>
          </p:nvSpPr>
          <p:spPr>
            <a:xfrm>
              <a:off x="7521885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176661F1-D8EB-FA6D-4DF5-6F491C89B86D}"/>
                </a:ext>
              </a:extLst>
            </p:cNvPr>
            <p:cNvSpPr/>
            <p:nvPr/>
          </p:nvSpPr>
          <p:spPr>
            <a:xfrm>
              <a:off x="653963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652D957F-FAC9-7FFC-B03A-98B3383FA630}"/>
                </a:ext>
              </a:extLst>
            </p:cNvPr>
            <p:cNvSpPr/>
            <p:nvPr/>
          </p:nvSpPr>
          <p:spPr>
            <a:xfrm>
              <a:off x="667354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5DC9D1A1-D776-66AC-D57B-302B297FAD1E}"/>
                </a:ext>
              </a:extLst>
            </p:cNvPr>
            <p:cNvSpPr/>
            <p:nvPr/>
          </p:nvSpPr>
          <p:spPr>
            <a:xfrm>
              <a:off x="671818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E8BFA029-8542-BBB5-5090-02FF7963C522}"/>
                </a:ext>
              </a:extLst>
            </p:cNvPr>
            <p:cNvSpPr/>
            <p:nvPr/>
          </p:nvSpPr>
          <p:spPr>
            <a:xfrm>
              <a:off x="676282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Полилиния 103">
              <a:extLst>
                <a:ext uri="{FF2B5EF4-FFF2-40B4-BE49-F238E27FC236}">
                  <a16:creationId xmlns:a16="http://schemas.microsoft.com/office/drawing/2014/main" id="{AB4AA159-6533-D322-C8CC-FC1F91B1EA44}"/>
                </a:ext>
              </a:extLst>
            </p:cNvPr>
            <p:cNvSpPr/>
            <p:nvPr/>
          </p:nvSpPr>
          <p:spPr>
            <a:xfrm>
              <a:off x="680746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" name="Полилиния 104">
              <a:extLst>
                <a:ext uri="{FF2B5EF4-FFF2-40B4-BE49-F238E27FC236}">
                  <a16:creationId xmlns:a16="http://schemas.microsoft.com/office/drawing/2014/main" id="{05BF4988-5D0C-6AF9-3AB1-9B74F64004B4}"/>
                </a:ext>
              </a:extLst>
            </p:cNvPr>
            <p:cNvSpPr/>
            <p:nvPr/>
          </p:nvSpPr>
          <p:spPr>
            <a:xfrm>
              <a:off x="689684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" name="Полилиния 105">
              <a:extLst>
                <a:ext uri="{FF2B5EF4-FFF2-40B4-BE49-F238E27FC236}">
                  <a16:creationId xmlns:a16="http://schemas.microsoft.com/office/drawing/2014/main" id="{754645E9-A58F-6E9A-1051-13322880A14A}"/>
                </a:ext>
              </a:extLst>
            </p:cNvPr>
            <p:cNvSpPr/>
            <p:nvPr/>
          </p:nvSpPr>
          <p:spPr>
            <a:xfrm>
              <a:off x="703075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" name="Полилиния 106">
              <a:extLst>
                <a:ext uri="{FF2B5EF4-FFF2-40B4-BE49-F238E27FC236}">
                  <a16:creationId xmlns:a16="http://schemas.microsoft.com/office/drawing/2014/main" id="{44AE3059-5919-62C4-144A-7201255FAA9B}"/>
                </a:ext>
              </a:extLst>
            </p:cNvPr>
            <p:cNvSpPr/>
            <p:nvPr/>
          </p:nvSpPr>
          <p:spPr>
            <a:xfrm>
              <a:off x="712003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" name="Полилиния 107">
              <a:extLst>
                <a:ext uri="{FF2B5EF4-FFF2-40B4-BE49-F238E27FC236}">
                  <a16:creationId xmlns:a16="http://schemas.microsoft.com/office/drawing/2014/main" id="{1BF1589F-676A-A714-78F6-3F22435DED82}"/>
                </a:ext>
              </a:extLst>
            </p:cNvPr>
            <p:cNvSpPr/>
            <p:nvPr/>
          </p:nvSpPr>
          <p:spPr>
            <a:xfrm>
              <a:off x="7164676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" name="Полилиния 108">
              <a:extLst>
                <a:ext uri="{FF2B5EF4-FFF2-40B4-BE49-F238E27FC236}">
                  <a16:creationId xmlns:a16="http://schemas.microsoft.com/office/drawing/2014/main" id="{E5D3A95E-D8CE-8B40-D5DA-CF1589EB2181}"/>
                </a:ext>
              </a:extLst>
            </p:cNvPr>
            <p:cNvSpPr/>
            <p:nvPr/>
          </p:nvSpPr>
          <p:spPr>
            <a:xfrm>
              <a:off x="720931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" name="Полилиния 109">
              <a:extLst>
                <a:ext uri="{FF2B5EF4-FFF2-40B4-BE49-F238E27FC236}">
                  <a16:creationId xmlns:a16="http://schemas.microsoft.com/office/drawing/2014/main" id="{20328D4E-9196-FC3D-94E9-7903317E2963}"/>
                </a:ext>
              </a:extLst>
            </p:cNvPr>
            <p:cNvSpPr/>
            <p:nvPr/>
          </p:nvSpPr>
          <p:spPr>
            <a:xfrm>
              <a:off x="725395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" name="Полилиния 110">
              <a:extLst>
                <a:ext uri="{FF2B5EF4-FFF2-40B4-BE49-F238E27FC236}">
                  <a16:creationId xmlns:a16="http://schemas.microsoft.com/office/drawing/2014/main" id="{05861AE1-98B2-D6DB-C1C4-26D298503A8A}"/>
                </a:ext>
              </a:extLst>
            </p:cNvPr>
            <p:cNvSpPr/>
            <p:nvPr/>
          </p:nvSpPr>
          <p:spPr>
            <a:xfrm>
              <a:off x="734323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" name="Полилиния 111">
              <a:extLst>
                <a:ext uri="{FF2B5EF4-FFF2-40B4-BE49-F238E27FC236}">
                  <a16:creationId xmlns:a16="http://schemas.microsoft.com/office/drawing/2014/main" id="{393C4112-AC62-934D-E668-AA1B5A4F3CCA}"/>
                </a:ext>
              </a:extLst>
            </p:cNvPr>
            <p:cNvSpPr/>
            <p:nvPr/>
          </p:nvSpPr>
          <p:spPr>
            <a:xfrm>
              <a:off x="7566524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" name="Полилиния 112">
              <a:extLst>
                <a:ext uri="{FF2B5EF4-FFF2-40B4-BE49-F238E27FC236}">
                  <a16:creationId xmlns:a16="http://schemas.microsoft.com/office/drawing/2014/main" id="{73A096AB-7010-FC80-ADB4-BB7ED2AD92C6}"/>
                </a:ext>
              </a:extLst>
            </p:cNvPr>
            <p:cNvSpPr/>
            <p:nvPr/>
          </p:nvSpPr>
          <p:spPr>
            <a:xfrm>
              <a:off x="765580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" name="Полилиния 113">
              <a:extLst>
                <a:ext uri="{FF2B5EF4-FFF2-40B4-BE49-F238E27FC236}">
                  <a16:creationId xmlns:a16="http://schemas.microsoft.com/office/drawing/2014/main" id="{3A785189-D0FB-B548-7393-F3D443FBECBB}"/>
                </a:ext>
              </a:extLst>
            </p:cNvPr>
            <p:cNvSpPr/>
            <p:nvPr/>
          </p:nvSpPr>
          <p:spPr>
            <a:xfrm>
              <a:off x="7700442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" name="Полилиния 114">
              <a:extLst>
                <a:ext uri="{FF2B5EF4-FFF2-40B4-BE49-F238E27FC236}">
                  <a16:creationId xmlns:a16="http://schemas.microsoft.com/office/drawing/2014/main" id="{8825FBE5-F988-15A5-9A99-291F74B3AA83}"/>
                </a:ext>
              </a:extLst>
            </p:cNvPr>
            <p:cNvSpPr/>
            <p:nvPr/>
          </p:nvSpPr>
          <p:spPr>
            <a:xfrm>
              <a:off x="774508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" name="Полилиния 115">
              <a:extLst>
                <a:ext uri="{FF2B5EF4-FFF2-40B4-BE49-F238E27FC236}">
                  <a16:creationId xmlns:a16="http://schemas.microsoft.com/office/drawing/2014/main" id="{A5FD7387-E0CC-4520-831A-B9A350370A5F}"/>
                </a:ext>
              </a:extLst>
            </p:cNvPr>
            <p:cNvSpPr/>
            <p:nvPr/>
          </p:nvSpPr>
          <p:spPr>
            <a:xfrm>
              <a:off x="778972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 116">
              <a:extLst>
                <a:ext uri="{FF2B5EF4-FFF2-40B4-BE49-F238E27FC236}">
                  <a16:creationId xmlns:a16="http://schemas.microsoft.com/office/drawing/2014/main" id="{E32EFB0C-E777-DCD7-1910-5BBEEEF748DC}"/>
                </a:ext>
              </a:extLst>
            </p:cNvPr>
            <p:cNvSpPr/>
            <p:nvPr/>
          </p:nvSpPr>
          <p:spPr>
            <a:xfrm>
              <a:off x="7834360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" name="Полилиния 117">
              <a:extLst>
                <a:ext uri="{FF2B5EF4-FFF2-40B4-BE49-F238E27FC236}">
                  <a16:creationId xmlns:a16="http://schemas.microsoft.com/office/drawing/2014/main" id="{A37C3103-445F-76E7-C110-DE718BA7886B}"/>
                </a:ext>
              </a:extLst>
            </p:cNvPr>
            <p:cNvSpPr/>
            <p:nvPr/>
          </p:nvSpPr>
          <p:spPr>
            <a:xfrm>
              <a:off x="649499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" name="Полилиния 118">
              <a:extLst>
                <a:ext uri="{FF2B5EF4-FFF2-40B4-BE49-F238E27FC236}">
                  <a16:creationId xmlns:a16="http://schemas.microsoft.com/office/drawing/2014/main" id="{E91CDF4B-5DF0-FA59-05CA-4CA9E998E1F1}"/>
                </a:ext>
              </a:extLst>
            </p:cNvPr>
            <p:cNvSpPr/>
            <p:nvPr/>
          </p:nvSpPr>
          <p:spPr>
            <a:xfrm>
              <a:off x="653963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" name="Полилиния 119">
              <a:extLst>
                <a:ext uri="{FF2B5EF4-FFF2-40B4-BE49-F238E27FC236}">
                  <a16:creationId xmlns:a16="http://schemas.microsoft.com/office/drawing/2014/main" id="{96AC3E34-BE5F-DBB9-202B-A09BE2AC5C01}"/>
                </a:ext>
              </a:extLst>
            </p:cNvPr>
            <p:cNvSpPr/>
            <p:nvPr/>
          </p:nvSpPr>
          <p:spPr>
            <a:xfrm>
              <a:off x="667354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" name="Полилиния 120">
              <a:extLst>
                <a:ext uri="{FF2B5EF4-FFF2-40B4-BE49-F238E27FC236}">
                  <a16:creationId xmlns:a16="http://schemas.microsoft.com/office/drawing/2014/main" id="{253BCCA3-44D5-A068-3D46-CB5803C037D7}"/>
                </a:ext>
              </a:extLst>
            </p:cNvPr>
            <p:cNvSpPr/>
            <p:nvPr/>
          </p:nvSpPr>
          <p:spPr>
            <a:xfrm>
              <a:off x="6852106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" name="Полилиния 121">
              <a:extLst>
                <a:ext uri="{FF2B5EF4-FFF2-40B4-BE49-F238E27FC236}">
                  <a16:creationId xmlns:a16="http://schemas.microsoft.com/office/drawing/2014/main" id="{10DCEF63-1601-EE77-F159-2CE408E2806F}"/>
                </a:ext>
              </a:extLst>
            </p:cNvPr>
            <p:cNvSpPr/>
            <p:nvPr/>
          </p:nvSpPr>
          <p:spPr>
            <a:xfrm>
              <a:off x="6941480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" name="Полилиния 122">
              <a:extLst>
                <a:ext uri="{FF2B5EF4-FFF2-40B4-BE49-F238E27FC236}">
                  <a16:creationId xmlns:a16="http://schemas.microsoft.com/office/drawing/2014/main" id="{348BEF39-51CE-A449-ECC2-B1FCBC670624}"/>
                </a:ext>
              </a:extLst>
            </p:cNvPr>
            <p:cNvSpPr/>
            <p:nvPr/>
          </p:nvSpPr>
          <p:spPr>
            <a:xfrm>
              <a:off x="7030758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" name="Полилиния 123">
              <a:extLst>
                <a:ext uri="{FF2B5EF4-FFF2-40B4-BE49-F238E27FC236}">
                  <a16:creationId xmlns:a16="http://schemas.microsoft.com/office/drawing/2014/main" id="{16DA196F-990D-46F0-0C51-12A205B6D812}"/>
                </a:ext>
              </a:extLst>
            </p:cNvPr>
            <p:cNvSpPr/>
            <p:nvPr/>
          </p:nvSpPr>
          <p:spPr>
            <a:xfrm>
              <a:off x="720931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" name="Полилиния 124">
              <a:extLst>
                <a:ext uri="{FF2B5EF4-FFF2-40B4-BE49-F238E27FC236}">
                  <a16:creationId xmlns:a16="http://schemas.microsoft.com/office/drawing/2014/main" id="{973A7080-9CB8-511A-3629-1A598831CA67}"/>
                </a:ext>
              </a:extLst>
            </p:cNvPr>
            <p:cNvSpPr/>
            <p:nvPr/>
          </p:nvSpPr>
          <p:spPr>
            <a:xfrm>
              <a:off x="725395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" name="Полилиния 125">
              <a:extLst>
                <a:ext uri="{FF2B5EF4-FFF2-40B4-BE49-F238E27FC236}">
                  <a16:creationId xmlns:a16="http://schemas.microsoft.com/office/drawing/2014/main" id="{09DBBB45-6442-C72B-377C-C5EEB2BF4056}"/>
                </a:ext>
              </a:extLst>
            </p:cNvPr>
            <p:cNvSpPr/>
            <p:nvPr/>
          </p:nvSpPr>
          <p:spPr>
            <a:xfrm>
              <a:off x="729859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" name="Полилиния 126">
              <a:extLst>
                <a:ext uri="{FF2B5EF4-FFF2-40B4-BE49-F238E27FC236}">
                  <a16:creationId xmlns:a16="http://schemas.microsoft.com/office/drawing/2014/main" id="{764C86E6-FD18-658E-E880-54AC0A02F78E}"/>
                </a:ext>
              </a:extLst>
            </p:cNvPr>
            <p:cNvSpPr/>
            <p:nvPr/>
          </p:nvSpPr>
          <p:spPr>
            <a:xfrm>
              <a:off x="7432512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" name="Полилиния 127">
              <a:extLst>
                <a:ext uri="{FF2B5EF4-FFF2-40B4-BE49-F238E27FC236}">
                  <a16:creationId xmlns:a16="http://schemas.microsoft.com/office/drawing/2014/main" id="{7E5A7A40-4D81-DA7A-4E1C-8026F6387F47}"/>
                </a:ext>
              </a:extLst>
            </p:cNvPr>
            <p:cNvSpPr/>
            <p:nvPr/>
          </p:nvSpPr>
          <p:spPr>
            <a:xfrm>
              <a:off x="747715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" name="Полилиния 128">
              <a:extLst>
                <a:ext uri="{FF2B5EF4-FFF2-40B4-BE49-F238E27FC236}">
                  <a16:creationId xmlns:a16="http://schemas.microsoft.com/office/drawing/2014/main" id="{55B36C43-9698-6F50-A863-ED38BB763E7D}"/>
                </a:ext>
              </a:extLst>
            </p:cNvPr>
            <p:cNvSpPr/>
            <p:nvPr/>
          </p:nvSpPr>
          <p:spPr>
            <a:xfrm>
              <a:off x="752188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" name="Полилиния 129">
              <a:extLst>
                <a:ext uri="{FF2B5EF4-FFF2-40B4-BE49-F238E27FC236}">
                  <a16:creationId xmlns:a16="http://schemas.microsoft.com/office/drawing/2014/main" id="{CB4C7803-5557-AC36-671F-DC6A81D56931}"/>
                </a:ext>
              </a:extLst>
            </p:cNvPr>
            <p:cNvSpPr/>
            <p:nvPr/>
          </p:nvSpPr>
          <p:spPr>
            <a:xfrm>
              <a:off x="756652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" name="Полилиния 130">
              <a:extLst>
                <a:ext uri="{FF2B5EF4-FFF2-40B4-BE49-F238E27FC236}">
                  <a16:creationId xmlns:a16="http://schemas.microsoft.com/office/drawing/2014/main" id="{CF4CE090-C845-C874-368D-FE01F9E6F8B5}"/>
                </a:ext>
              </a:extLst>
            </p:cNvPr>
            <p:cNvSpPr/>
            <p:nvPr/>
          </p:nvSpPr>
          <p:spPr>
            <a:xfrm>
              <a:off x="761116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" name="Полилиния 131">
              <a:extLst>
                <a:ext uri="{FF2B5EF4-FFF2-40B4-BE49-F238E27FC236}">
                  <a16:creationId xmlns:a16="http://schemas.microsoft.com/office/drawing/2014/main" id="{C32CA1FA-831E-BE25-8768-98F393AAE0E0}"/>
                </a:ext>
              </a:extLst>
            </p:cNvPr>
            <p:cNvSpPr/>
            <p:nvPr/>
          </p:nvSpPr>
          <p:spPr>
            <a:xfrm>
              <a:off x="765580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" name="Полилиния 132">
              <a:extLst>
                <a:ext uri="{FF2B5EF4-FFF2-40B4-BE49-F238E27FC236}">
                  <a16:creationId xmlns:a16="http://schemas.microsoft.com/office/drawing/2014/main" id="{EFFF860C-07B2-655D-B89C-40B69A1D58D4}"/>
                </a:ext>
              </a:extLst>
            </p:cNvPr>
            <p:cNvSpPr/>
            <p:nvPr/>
          </p:nvSpPr>
          <p:spPr>
            <a:xfrm>
              <a:off x="774508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" name="Полилиния 133">
              <a:extLst>
                <a:ext uri="{FF2B5EF4-FFF2-40B4-BE49-F238E27FC236}">
                  <a16:creationId xmlns:a16="http://schemas.microsoft.com/office/drawing/2014/main" id="{8D2F1159-D070-1DBA-4217-AC5FC8011E1F}"/>
                </a:ext>
              </a:extLst>
            </p:cNvPr>
            <p:cNvSpPr/>
            <p:nvPr/>
          </p:nvSpPr>
          <p:spPr>
            <a:xfrm>
              <a:off x="787899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" name="Полилиния 134">
              <a:extLst>
                <a:ext uri="{FF2B5EF4-FFF2-40B4-BE49-F238E27FC236}">
                  <a16:creationId xmlns:a16="http://schemas.microsoft.com/office/drawing/2014/main" id="{3C5E7457-133E-48B3-1809-CA1914EC9FE6}"/>
                </a:ext>
              </a:extLst>
            </p:cNvPr>
            <p:cNvSpPr/>
            <p:nvPr/>
          </p:nvSpPr>
          <p:spPr>
            <a:xfrm>
              <a:off x="671818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" name="Полилиния 135">
              <a:extLst>
                <a:ext uri="{FF2B5EF4-FFF2-40B4-BE49-F238E27FC236}">
                  <a16:creationId xmlns:a16="http://schemas.microsoft.com/office/drawing/2014/main" id="{62BAFD93-6172-D4AD-7A5B-E2226CEAAF83}"/>
                </a:ext>
              </a:extLst>
            </p:cNvPr>
            <p:cNvSpPr/>
            <p:nvPr/>
          </p:nvSpPr>
          <p:spPr>
            <a:xfrm>
              <a:off x="676282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" name="Полилиния 136">
              <a:extLst>
                <a:ext uri="{FF2B5EF4-FFF2-40B4-BE49-F238E27FC236}">
                  <a16:creationId xmlns:a16="http://schemas.microsoft.com/office/drawing/2014/main" id="{D9064AD5-686E-9D90-C412-1A71E0383775}"/>
                </a:ext>
              </a:extLst>
            </p:cNvPr>
            <p:cNvSpPr/>
            <p:nvPr/>
          </p:nvSpPr>
          <p:spPr>
            <a:xfrm>
              <a:off x="685210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" name="Полилиния 137">
              <a:extLst>
                <a:ext uri="{FF2B5EF4-FFF2-40B4-BE49-F238E27FC236}">
                  <a16:creationId xmlns:a16="http://schemas.microsoft.com/office/drawing/2014/main" id="{E2DEF5D6-4CD9-5544-B9C9-3FABB37F010F}"/>
                </a:ext>
              </a:extLst>
            </p:cNvPr>
            <p:cNvSpPr/>
            <p:nvPr/>
          </p:nvSpPr>
          <p:spPr>
            <a:xfrm>
              <a:off x="694148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" name="Полилиния 138">
              <a:extLst>
                <a:ext uri="{FF2B5EF4-FFF2-40B4-BE49-F238E27FC236}">
                  <a16:creationId xmlns:a16="http://schemas.microsoft.com/office/drawing/2014/main" id="{259D6511-F9C6-003E-2023-D73419BF80FD}"/>
                </a:ext>
              </a:extLst>
            </p:cNvPr>
            <p:cNvSpPr/>
            <p:nvPr/>
          </p:nvSpPr>
          <p:spPr>
            <a:xfrm>
              <a:off x="703075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" name="Полилиния 139">
              <a:extLst>
                <a:ext uri="{FF2B5EF4-FFF2-40B4-BE49-F238E27FC236}">
                  <a16:creationId xmlns:a16="http://schemas.microsoft.com/office/drawing/2014/main" id="{5C280713-6F1D-7334-EC09-D3FF77246591}"/>
                </a:ext>
              </a:extLst>
            </p:cNvPr>
            <p:cNvSpPr/>
            <p:nvPr/>
          </p:nvSpPr>
          <p:spPr>
            <a:xfrm>
              <a:off x="707539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" name="Полилиния 140">
              <a:extLst>
                <a:ext uri="{FF2B5EF4-FFF2-40B4-BE49-F238E27FC236}">
                  <a16:creationId xmlns:a16="http://schemas.microsoft.com/office/drawing/2014/main" id="{3DCD2A8D-DA55-4594-39A4-9DF3F549B20B}"/>
                </a:ext>
              </a:extLst>
            </p:cNvPr>
            <p:cNvSpPr/>
            <p:nvPr/>
          </p:nvSpPr>
          <p:spPr>
            <a:xfrm>
              <a:off x="7120037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" name="Полилиния 141">
              <a:extLst>
                <a:ext uri="{FF2B5EF4-FFF2-40B4-BE49-F238E27FC236}">
                  <a16:creationId xmlns:a16="http://schemas.microsoft.com/office/drawing/2014/main" id="{0B207389-5281-F539-B275-E23EE298D212}"/>
                </a:ext>
              </a:extLst>
            </p:cNvPr>
            <p:cNvSpPr/>
            <p:nvPr/>
          </p:nvSpPr>
          <p:spPr>
            <a:xfrm>
              <a:off x="716467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" name="Полилиния 142">
              <a:extLst>
                <a:ext uri="{FF2B5EF4-FFF2-40B4-BE49-F238E27FC236}">
                  <a16:creationId xmlns:a16="http://schemas.microsoft.com/office/drawing/2014/main" id="{7CCC54D2-A69E-3C17-EEC4-20295B08E67A}"/>
                </a:ext>
              </a:extLst>
            </p:cNvPr>
            <p:cNvSpPr/>
            <p:nvPr/>
          </p:nvSpPr>
          <p:spPr>
            <a:xfrm>
              <a:off x="7209315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" name="Полилиния 143">
              <a:extLst>
                <a:ext uri="{FF2B5EF4-FFF2-40B4-BE49-F238E27FC236}">
                  <a16:creationId xmlns:a16="http://schemas.microsoft.com/office/drawing/2014/main" id="{96723457-89AB-7D31-6532-E6E4A0A09E53}"/>
                </a:ext>
              </a:extLst>
            </p:cNvPr>
            <p:cNvSpPr/>
            <p:nvPr/>
          </p:nvSpPr>
          <p:spPr>
            <a:xfrm>
              <a:off x="729859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" name="Полилиния 144">
              <a:extLst>
                <a:ext uri="{FF2B5EF4-FFF2-40B4-BE49-F238E27FC236}">
                  <a16:creationId xmlns:a16="http://schemas.microsoft.com/office/drawing/2014/main" id="{BE2E41EE-92C0-26B6-1A1D-A67469F6CA07}"/>
                </a:ext>
              </a:extLst>
            </p:cNvPr>
            <p:cNvSpPr/>
            <p:nvPr/>
          </p:nvSpPr>
          <p:spPr>
            <a:xfrm>
              <a:off x="734323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" name="Полилиния 145">
              <a:extLst>
                <a:ext uri="{FF2B5EF4-FFF2-40B4-BE49-F238E27FC236}">
                  <a16:creationId xmlns:a16="http://schemas.microsoft.com/office/drawing/2014/main" id="{EEE8C9D9-940C-BE11-6B66-EC63A2552D1E}"/>
                </a:ext>
              </a:extLst>
            </p:cNvPr>
            <p:cNvSpPr/>
            <p:nvPr/>
          </p:nvSpPr>
          <p:spPr>
            <a:xfrm>
              <a:off x="738787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" name="Полилиния 146">
              <a:extLst>
                <a:ext uri="{FF2B5EF4-FFF2-40B4-BE49-F238E27FC236}">
                  <a16:creationId xmlns:a16="http://schemas.microsoft.com/office/drawing/2014/main" id="{E8734CF1-4B40-7CF9-839A-A2BCCD170D7C}"/>
                </a:ext>
              </a:extLst>
            </p:cNvPr>
            <p:cNvSpPr/>
            <p:nvPr/>
          </p:nvSpPr>
          <p:spPr>
            <a:xfrm>
              <a:off x="743251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" name="Полилиния 147">
              <a:extLst>
                <a:ext uri="{FF2B5EF4-FFF2-40B4-BE49-F238E27FC236}">
                  <a16:creationId xmlns:a16="http://schemas.microsoft.com/office/drawing/2014/main" id="{CBBDA2C7-75F2-9026-D0DB-B86E0DE8EE50}"/>
                </a:ext>
              </a:extLst>
            </p:cNvPr>
            <p:cNvSpPr/>
            <p:nvPr/>
          </p:nvSpPr>
          <p:spPr>
            <a:xfrm>
              <a:off x="747715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" name="Полилиния 148">
              <a:extLst>
                <a:ext uri="{FF2B5EF4-FFF2-40B4-BE49-F238E27FC236}">
                  <a16:creationId xmlns:a16="http://schemas.microsoft.com/office/drawing/2014/main" id="{81372B50-8191-3C5C-D661-2850D30F97F9}"/>
                </a:ext>
              </a:extLst>
            </p:cNvPr>
            <p:cNvSpPr/>
            <p:nvPr/>
          </p:nvSpPr>
          <p:spPr>
            <a:xfrm>
              <a:off x="761116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" name="Полилиния 149">
              <a:extLst>
                <a:ext uri="{FF2B5EF4-FFF2-40B4-BE49-F238E27FC236}">
                  <a16:creationId xmlns:a16="http://schemas.microsoft.com/office/drawing/2014/main" id="{CE656A6A-FF10-F2FD-7834-8D42DA052BDF}"/>
                </a:ext>
              </a:extLst>
            </p:cNvPr>
            <p:cNvSpPr/>
            <p:nvPr/>
          </p:nvSpPr>
          <p:spPr>
            <a:xfrm>
              <a:off x="765580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Полилиния 150">
              <a:extLst>
                <a:ext uri="{FF2B5EF4-FFF2-40B4-BE49-F238E27FC236}">
                  <a16:creationId xmlns:a16="http://schemas.microsoft.com/office/drawing/2014/main" id="{EE30700B-6F07-D0F1-FEBA-D9E97AB0F7D8}"/>
                </a:ext>
              </a:extLst>
            </p:cNvPr>
            <p:cNvSpPr/>
            <p:nvPr/>
          </p:nvSpPr>
          <p:spPr>
            <a:xfrm>
              <a:off x="770044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" name="Полилиния 151">
              <a:extLst>
                <a:ext uri="{FF2B5EF4-FFF2-40B4-BE49-F238E27FC236}">
                  <a16:creationId xmlns:a16="http://schemas.microsoft.com/office/drawing/2014/main" id="{AFBF9584-C0A9-42AE-54AA-76B4E56113B2}"/>
                </a:ext>
              </a:extLst>
            </p:cNvPr>
            <p:cNvSpPr/>
            <p:nvPr/>
          </p:nvSpPr>
          <p:spPr>
            <a:xfrm>
              <a:off x="774508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" name="Полилиния 152">
              <a:extLst>
                <a:ext uri="{FF2B5EF4-FFF2-40B4-BE49-F238E27FC236}">
                  <a16:creationId xmlns:a16="http://schemas.microsoft.com/office/drawing/2014/main" id="{D807A1C6-14FF-A588-A2F4-FD15632908FE}"/>
                </a:ext>
              </a:extLst>
            </p:cNvPr>
            <p:cNvSpPr/>
            <p:nvPr/>
          </p:nvSpPr>
          <p:spPr>
            <a:xfrm>
              <a:off x="778972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" name="Полилиния 153">
              <a:extLst>
                <a:ext uri="{FF2B5EF4-FFF2-40B4-BE49-F238E27FC236}">
                  <a16:creationId xmlns:a16="http://schemas.microsoft.com/office/drawing/2014/main" id="{50465C9A-6C0A-07C2-FB7D-B7CFF99E326A}"/>
                </a:ext>
              </a:extLst>
            </p:cNvPr>
            <p:cNvSpPr/>
            <p:nvPr/>
          </p:nvSpPr>
          <p:spPr>
            <a:xfrm>
              <a:off x="783436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" name="Полилиния 154">
              <a:extLst>
                <a:ext uri="{FF2B5EF4-FFF2-40B4-BE49-F238E27FC236}">
                  <a16:creationId xmlns:a16="http://schemas.microsoft.com/office/drawing/2014/main" id="{5776D4D3-D8E6-0199-4A4B-320287057ED4}"/>
                </a:ext>
              </a:extLst>
            </p:cNvPr>
            <p:cNvSpPr/>
            <p:nvPr/>
          </p:nvSpPr>
          <p:spPr>
            <a:xfrm>
              <a:off x="787899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" name="Полилиния 155">
              <a:extLst>
                <a:ext uri="{FF2B5EF4-FFF2-40B4-BE49-F238E27FC236}">
                  <a16:creationId xmlns:a16="http://schemas.microsoft.com/office/drawing/2014/main" id="{75C68EF0-4EC5-B389-532C-4E61E12C39AB}"/>
                </a:ext>
              </a:extLst>
            </p:cNvPr>
            <p:cNvSpPr/>
            <p:nvPr/>
          </p:nvSpPr>
          <p:spPr>
            <a:xfrm>
              <a:off x="649499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" name="Полилиния 156">
              <a:extLst>
                <a:ext uri="{FF2B5EF4-FFF2-40B4-BE49-F238E27FC236}">
                  <a16:creationId xmlns:a16="http://schemas.microsoft.com/office/drawing/2014/main" id="{4C6B3290-0827-6358-B2E3-5ABB5083497C}"/>
                </a:ext>
              </a:extLst>
            </p:cNvPr>
            <p:cNvSpPr/>
            <p:nvPr/>
          </p:nvSpPr>
          <p:spPr>
            <a:xfrm>
              <a:off x="653963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" name="Полилиния 157">
              <a:extLst>
                <a:ext uri="{FF2B5EF4-FFF2-40B4-BE49-F238E27FC236}">
                  <a16:creationId xmlns:a16="http://schemas.microsoft.com/office/drawing/2014/main" id="{92C7A409-0A61-C89C-9CF9-ED189AD0E729}"/>
                </a:ext>
              </a:extLst>
            </p:cNvPr>
            <p:cNvSpPr/>
            <p:nvPr/>
          </p:nvSpPr>
          <p:spPr>
            <a:xfrm>
              <a:off x="6628910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" name="Полилиния 158">
              <a:extLst>
                <a:ext uri="{FF2B5EF4-FFF2-40B4-BE49-F238E27FC236}">
                  <a16:creationId xmlns:a16="http://schemas.microsoft.com/office/drawing/2014/main" id="{D9C9FDBA-AA64-E084-00D0-F6342BEADF89}"/>
                </a:ext>
              </a:extLst>
            </p:cNvPr>
            <p:cNvSpPr/>
            <p:nvPr/>
          </p:nvSpPr>
          <p:spPr>
            <a:xfrm>
              <a:off x="667354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" name="Полилиния 159">
              <a:extLst>
                <a:ext uri="{FF2B5EF4-FFF2-40B4-BE49-F238E27FC236}">
                  <a16:creationId xmlns:a16="http://schemas.microsoft.com/office/drawing/2014/main" id="{D00AFAA6-1353-2B8B-9DD9-1E80436376E0}"/>
                </a:ext>
              </a:extLst>
            </p:cNvPr>
            <p:cNvSpPr/>
            <p:nvPr/>
          </p:nvSpPr>
          <p:spPr>
            <a:xfrm>
              <a:off x="685210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" name="Полилиния 160">
              <a:extLst>
                <a:ext uri="{FF2B5EF4-FFF2-40B4-BE49-F238E27FC236}">
                  <a16:creationId xmlns:a16="http://schemas.microsoft.com/office/drawing/2014/main" id="{F0D4895A-059E-87BB-DA9D-51711FB07321}"/>
                </a:ext>
              </a:extLst>
            </p:cNvPr>
            <p:cNvSpPr/>
            <p:nvPr/>
          </p:nvSpPr>
          <p:spPr>
            <a:xfrm>
              <a:off x="698611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" name="Полилиния 161">
              <a:extLst>
                <a:ext uri="{FF2B5EF4-FFF2-40B4-BE49-F238E27FC236}">
                  <a16:creationId xmlns:a16="http://schemas.microsoft.com/office/drawing/2014/main" id="{96B6FBDB-23B2-4930-5AF6-C4886BF9A64C}"/>
                </a:ext>
              </a:extLst>
            </p:cNvPr>
            <p:cNvSpPr/>
            <p:nvPr/>
          </p:nvSpPr>
          <p:spPr>
            <a:xfrm>
              <a:off x="7030758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" name="Полилиния 162">
              <a:extLst>
                <a:ext uri="{FF2B5EF4-FFF2-40B4-BE49-F238E27FC236}">
                  <a16:creationId xmlns:a16="http://schemas.microsoft.com/office/drawing/2014/main" id="{C0976B56-8B08-DFE9-3B98-CDD511FC4D61}"/>
                </a:ext>
              </a:extLst>
            </p:cNvPr>
            <p:cNvSpPr/>
            <p:nvPr/>
          </p:nvSpPr>
          <p:spPr>
            <a:xfrm>
              <a:off x="716467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" name="Полилиния 163">
              <a:extLst>
                <a:ext uri="{FF2B5EF4-FFF2-40B4-BE49-F238E27FC236}">
                  <a16:creationId xmlns:a16="http://schemas.microsoft.com/office/drawing/2014/main" id="{10BE8E9D-E8A1-27A0-8389-9801B5F9CB01}"/>
                </a:ext>
              </a:extLst>
            </p:cNvPr>
            <p:cNvSpPr/>
            <p:nvPr/>
          </p:nvSpPr>
          <p:spPr>
            <a:xfrm>
              <a:off x="720931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" name="Полилиния 164">
              <a:extLst>
                <a:ext uri="{FF2B5EF4-FFF2-40B4-BE49-F238E27FC236}">
                  <a16:creationId xmlns:a16="http://schemas.microsoft.com/office/drawing/2014/main" id="{1B402CEA-4A6A-828E-15E8-F5AE47126653}"/>
                </a:ext>
              </a:extLst>
            </p:cNvPr>
            <p:cNvSpPr/>
            <p:nvPr/>
          </p:nvSpPr>
          <p:spPr>
            <a:xfrm>
              <a:off x="725395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" name="Полилиния 165">
              <a:extLst>
                <a:ext uri="{FF2B5EF4-FFF2-40B4-BE49-F238E27FC236}">
                  <a16:creationId xmlns:a16="http://schemas.microsoft.com/office/drawing/2014/main" id="{86739307-9909-7B0D-F70D-BBE108EA8043}"/>
                </a:ext>
              </a:extLst>
            </p:cNvPr>
            <p:cNvSpPr/>
            <p:nvPr/>
          </p:nvSpPr>
          <p:spPr>
            <a:xfrm>
              <a:off x="729859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" name="Полилиния 166">
              <a:extLst>
                <a:ext uri="{FF2B5EF4-FFF2-40B4-BE49-F238E27FC236}">
                  <a16:creationId xmlns:a16="http://schemas.microsoft.com/office/drawing/2014/main" id="{2136FBEE-CEAC-986A-6BC7-002A8A5FD3F1}"/>
                </a:ext>
              </a:extLst>
            </p:cNvPr>
            <p:cNvSpPr/>
            <p:nvPr/>
          </p:nvSpPr>
          <p:spPr>
            <a:xfrm>
              <a:off x="734323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8" name="Полилиния 167">
              <a:extLst>
                <a:ext uri="{FF2B5EF4-FFF2-40B4-BE49-F238E27FC236}">
                  <a16:creationId xmlns:a16="http://schemas.microsoft.com/office/drawing/2014/main" id="{3378F68C-26DB-7C6A-5774-88DAD5766CEC}"/>
                </a:ext>
              </a:extLst>
            </p:cNvPr>
            <p:cNvSpPr/>
            <p:nvPr/>
          </p:nvSpPr>
          <p:spPr>
            <a:xfrm>
              <a:off x="7432512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9" name="Полилиния 168">
              <a:extLst>
                <a:ext uri="{FF2B5EF4-FFF2-40B4-BE49-F238E27FC236}">
                  <a16:creationId xmlns:a16="http://schemas.microsoft.com/office/drawing/2014/main" id="{4FB8F570-72EC-A69B-F910-92E7AC6766E3}"/>
                </a:ext>
              </a:extLst>
            </p:cNvPr>
            <p:cNvSpPr/>
            <p:nvPr/>
          </p:nvSpPr>
          <p:spPr>
            <a:xfrm>
              <a:off x="756652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0" name="Полилиния 169">
              <a:extLst>
                <a:ext uri="{FF2B5EF4-FFF2-40B4-BE49-F238E27FC236}">
                  <a16:creationId xmlns:a16="http://schemas.microsoft.com/office/drawing/2014/main" id="{93D006B0-B519-9D18-F4D6-5D7FF9344161}"/>
                </a:ext>
              </a:extLst>
            </p:cNvPr>
            <p:cNvSpPr/>
            <p:nvPr/>
          </p:nvSpPr>
          <p:spPr>
            <a:xfrm>
              <a:off x="765580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1" name="Полилиния 170">
              <a:extLst>
                <a:ext uri="{FF2B5EF4-FFF2-40B4-BE49-F238E27FC236}">
                  <a16:creationId xmlns:a16="http://schemas.microsoft.com/office/drawing/2014/main" id="{E1688A47-6600-9AEB-E2C3-BAFF46A44712}"/>
                </a:ext>
              </a:extLst>
            </p:cNvPr>
            <p:cNvSpPr/>
            <p:nvPr/>
          </p:nvSpPr>
          <p:spPr>
            <a:xfrm>
              <a:off x="774508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2" name="Полилиния 171">
              <a:extLst>
                <a:ext uri="{FF2B5EF4-FFF2-40B4-BE49-F238E27FC236}">
                  <a16:creationId xmlns:a16="http://schemas.microsoft.com/office/drawing/2014/main" id="{DFB65C79-1E28-80D7-C064-9E020E53E321}"/>
                </a:ext>
              </a:extLst>
            </p:cNvPr>
            <p:cNvSpPr/>
            <p:nvPr/>
          </p:nvSpPr>
          <p:spPr>
            <a:xfrm>
              <a:off x="649499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3" name="Полилиния 172">
              <a:extLst>
                <a:ext uri="{FF2B5EF4-FFF2-40B4-BE49-F238E27FC236}">
                  <a16:creationId xmlns:a16="http://schemas.microsoft.com/office/drawing/2014/main" id="{5688806E-EFD3-5F2E-E3CF-53381C13CCA8}"/>
                </a:ext>
              </a:extLst>
            </p:cNvPr>
            <p:cNvSpPr/>
            <p:nvPr/>
          </p:nvSpPr>
          <p:spPr>
            <a:xfrm>
              <a:off x="658427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4" name="Полилиния 173">
              <a:extLst>
                <a:ext uri="{FF2B5EF4-FFF2-40B4-BE49-F238E27FC236}">
                  <a16:creationId xmlns:a16="http://schemas.microsoft.com/office/drawing/2014/main" id="{0387C885-C534-4237-4187-F58D1384350D}"/>
                </a:ext>
              </a:extLst>
            </p:cNvPr>
            <p:cNvSpPr/>
            <p:nvPr/>
          </p:nvSpPr>
          <p:spPr>
            <a:xfrm>
              <a:off x="662891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5" name="Полилиния 174">
              <a:extLst>
                <a:ext uri="{FF2B5EF4-FFF2-40B4-BE49-F238E27FC236}">
                  <a16:creationId xmlns:a16="http://schemas.microsoft.com/office/drawing/2014/main" id="{F2B5746E-2410-BA3D-C160-AC1E49574E69}"/>
                </a:ext>
              </a:extLst>
            </p:cNvPr>
            <p:cNvSpPr/>
            <p:nvPr/>
          </p:nvSpPr>
          <p:spPr>
            <a:xfrm>
              <a:off x="667354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6" name="Полилиния 175">
              <a:extLst>
                <a:ext uri="{FF2B5EF4-FFF2-40B4-BE49-F238E27FC236}">
                  <a16:creationId xmlns:a16="http://schemas.microsoft.com/office/drawing/2014/main" id="{F96CC817-B386-74DF-25EE-8A26276681A7}"/>
                </a:ext>
              </a:extLst>
            </p:cNvPr>
            <p:cNvSpPr/>
            <p:nvPr/>
          </p:nvSpPr>
          <p:spPr>
            <a:xfrm>
              <a:off x="671818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7" name="Полилиния 176">
              <a:extLst>
                <a:ext uri="{FF2B5EF4-FFF2-40B4-BE49-F238E27FC236}">
                  <a16:creationId xmlns:a16="http://schemas.microsoft.com/office/drawing/2014/main" id="{958DDC3F-3485-E5A9-8461-52EEF2425AFE}"/>
                </a:ext>
              </a:extLst>
            </p:cNvPr>
            <p:cNvSpPr/>
            <p:nvPr/>
          </p:nvSpPr>
          <p:spPr>
            <a:xfrm>
              <a:off x="676282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8" name="Полилиния 177">
              <a:extLst>
                <a:ext uri="{FF2B5EF4-FFF2-40B4-BE49-F238E27FC236}">
                  <a16:creationId xmlns:a16="http://schemas.microsoft.com/office/drawing/2014/main" id="{099B7DB0-1D9F-2455-26A4-208B86B1C0FC}"/>
                </a:ext>
              </a:extLst>
            </p:cNvPr>
            <p:cNvSpPr/>
            <p:nvPr/>
          </p:nvSpPr>
          <p:spPr>
            <a:xfrm>
              <a:off x="694148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9" name="Полилиния 178">
              <a:extLst>
                <a:ext uri="{FF2B5EF4-FFF2-40B4-BE49-F238E27FC236}">
                  <a16:creationId xmlns:a16="http://schemas.microsoft.com/office/drawing/2014/main" id="{F4C67200-5C16-776D-60DA-9F88193DD135}"/>
                </a:ext>
              </a:extLst>
            </p:cNvPr>
            <p:cNvSpPr/>
            <p:nvPr/>
          </p:nvSpPr>
          <p:spPr>
            <a:xfrm>
              <a:off x="698611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0" name="Полилиния 179">
              <a:extLst>
                <a:ext uri="{FF2B5EF4-FFF2-40B4-BE49-F238E27FC236}">
                  <a16:creationId xmlns:a16="http://schemas.microsoft.com/office/drawing/2014/main" id="{FE98A9B2-1D99-81D2-91E7-40F21262215A}"/>
                </a:ext>
              </a:extLst>
            </p:cNvPr>
            <p:cNvSpPr/>
            <p:nvPr/>
          </p:nvSpPr>
          <p:spPr>
            <a:xfrm>
              <a:off x="703075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1" name="Полилиния 180">
              <a:extLst>
                <a:ext uri="{FF2B5EF4-FFF2-40B4-BE49-F238E27FC236}">
                  <a16:creationId xmlns:a16="http://schemas.microsoft.com/office/drawing/2014/main" id="{7A5CBED9-D735-B5DB-A2E4-0B0FD287FFC0}"/>
                </a:ext>
              </a:extLst>
            </p:cNvPr>
            <p:cNvSpPr/>
            <p:nvPr/>
          </p:nvSpPr>
          <p:spPr>
            <a:xfrm>
              <a:off x="7120037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2" name="Полилиния 181">
              <a:extLst>
                <a:ext uri="{FF2B5EF4-FFF2-40B4-BE49-F238E27FC236}">
                  <a16:creationId xmlns:a16="http://schemas.microsoft.com/office/drawing/2014/main" id="{4BC307EE-7B7A-C215-8ADF-16D50069D92C}"/>
                </a:ext>
              </a:extLst>
            </p:cNvPr>
            <p:cNvSpPr/>
            <p:nvPr/>
          </p:nvSpPr>
          <p:spPr>
            <a:xfrm>
              <a:off x="7209315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" name="Полилиния 182">
              <a:extLst>
                <a:ext uri="{FF2B5EF4-FFF2-40B4-BE49-F238E27FC236}">
                  <a16:creationId xmlns:a16="http://schemas.microsoft.com/office/drawing/2014/main" id="{62791FB7-B328-928E-BAB0-B2385B632B1B}"/>
                </a:ext>
              </a:extLst>
            </p:cNvPr>
            <p:cNvSpPr/>
            <p:nvPr/>
          </p:nvSpPr>
          <p:spPr>
            <a:xfrm>
              <a:off x="738787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4" name="Полилиния 183">
              <a:extLst>
                <a:ext uri="{FF2B5EF4-FFF2-40B4-BE49-F238E27FC236}">
                  <a16:creationId xmlns:a16="http://schemas.microsoft.com/office/drawing/2014/main" id="{5170AB40-2AC5-1869-911A-FBAF3825A98F}"/>
                </a:ext>
              </a:extLst>
            </p:cNvPr>
            <p:cNvSpPr/>
            <p:nvPr/>
          </p:nvSpPr>
          <p:spPr>
            <a:xfrm>
              <a:off x="743251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5" name="Полилиния 184">
              <a:extLst>
                <a:ext uri="{FF2B5EF4-FFF2-40B4-BE49-F238E27FC236}">
                  <a16:creationId xmlns:a16="http://schemas.microsoft.com/office/drawing/2014/main" id="{E8D5B912-58A6-178E-3429-701406F9A2EC}"/>
                </a:ext>
              </a:extLst>
            </p:cNvPr>
            <p:cNvSpPr/>
            <p:nvPr/>
          </p:nvSpPr>
          <p:spPr>
            <a:xfrm>
              <a:off x="747715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6" name="Полилиния 185">
              <a:extLst>
                <a:ext uri="{FF2B5EF4-FFF2-40B4-BE49-F238E27FC236}">
                  <a16:creationId xmlns:a16="http://schemas.microsoft.com/office/drawing/2014/main" id="{D0B5AB8C-F821-F204-CAB4-556807F376A9}"/>
                </a:ext>
              </a:extLst>
            </p:cNvPr>
            <p:cNvSpPr/>
            <p:nvPr/>
          </p:nvSpPr>
          <p:spPr>
            <a:xfrm>
              <a:off x="756652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7" name="Полилиния 186">
              <a:extLst>
                <a:ext uri="{FF2B5EF4-FFF2-40B4-BE49-F238E27FC236}">
                  <a16:creationId xmlns:a16="http://schemas.microsoft.com/office/drawing/2014/main" id="{3B7E88F4-32A1-0DC9-7E3E-74C577AFEB76}"/>
                </a:ext>
              </a:extLst>
            </p:cNvPr>
            <p:cNvSpPr/>
            <p:nvPr/>
          </p:nvSpPr>
          <p:spPr>
            <a:xfrm>
              <a:off x="761116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8" name="Полилиния 187">
              <a:extLst>
                <a:ext uri="{FF2B5EF4-FFF2-40B4-BE49-F238E27FC236}">
                  <a16:creationId xmlns:a16="http://schemas.microsoft.com/office/drawing/2014/main" id="{A1E7C260-F29F-62AD-9D55-5D2FCE3AB39F}"/>
                </a:ext>
              </a:extLst>
            </p:cNvPr>
            <p:cNvSpPr/>
            <p:nvPr/>
          </p:nvSpPr>
          <p:spPr>
            <a:xfrm>
              <a:off x="765580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9" name="Полилиния 188">
              <a:extLst>
                <a:ext uri="{FF2B5EF4-FFF2-40B4-BE49-F238E27FC236}">
                  <a16:creationId xmlns:a16="http://schemas.microsoft.com/office/drawing/2014/main" id="{C8AB9071-2C5E-ED43-760D-CD0877B16A2C}"/>
                </a:ext>
              </a:extLst>
            </p:cNvPr>
            <p:cNvSpPr/>
            <p:nvPr/>
          </p:nvSpPr>
          <p:spPr>
            <a:xfrm>
              <a:off x="770044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0" name="Полилиния 189">
              <a:extLst>
                <a:ext uri="{FF2B5EF4-FFF2-40B4-BE49-F238E27FC236}">
                  <a16:creationId xmlns:a16="http://schemas.microsoft.com/office/drawing/2014/main" id="{9EE3B8F9-8C3B-998C-7B3B-58BAB27238E5}"/>
                </a:ext>
              </a:extLst>
            </p:cNvPr>
            <p:cNvSpPr/>
            <p:nvPr/>
          </p:nvSpPr>
          <p:spPr>
            <a:xfrm>
              <a:off x="774508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1" name="Полилиния 190">
              <a:extLst>
                <a:ext uri="{FF2B5EF4-FFF2-40B4-BE49-F238E27FC236}">
                  <a16:creationId xmlns:a16="http://schemas.microsoft.com/office/drawing/2014/main" id="{0524E18B-DACE-13DB-8215-C3E6CAA68700}"/>
                </a:ext>
              </a:extLst>
            </p:cNvPr>
            <p:cNvSpPr/>
            <p:nvPr/>
          </p:nvSpPr>
          <p:spPr>
            <a:xfrm>
              <a:off x="787899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2" name="Полилиния 191">
              <a:extLst>
                <a:ext uri="{FF2B5EF4-FFF2-40B4-BE49-F238E27FC236}">
                  <a16:creationId xmlns:a16="http://schemas.microsoft.com/office/drawing/2014/main" id="{4BC13619-8F22-BE47-7356-7B2A479A5E83}"/>
                </a:ext>
              </a:extLst>
            </p:cNvPr>
            <p:cNvSpPr/>
            <p:nvPr/>
          </p:nvSpPr>
          <p:spPr>
            <a:xfrm>
              <a:off x="645035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3" name="Полилиния 192">
              <a:extLst>
                <a:ext uri="{FF2B5EF4-FFF2-40B4-BE49-F238E27FC236}">
                  <a16:creationId xmlns:a16="http://schemas.microsoft.com/office/drawing/2014/main" id="{57BAA716-0CF8-ABCD-AFD1-05AF0C52475A}"/>
                </a:ext>
              </a:extLst>
            </p:cNvPr>
            <p:cNvSpPr/>
            <p:nvPr/>
          </p:nvSpPr>
          <p:spPr>
            <a:xfrm>
              <a:off x="6941480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4" name="Полилиния 193">
              <a:extLst>
                <a:ext uri="{FF2B5EF4-FFF2-40B4-BE49-F238E27FC236}">
                  <a16:creationId xmlns:a16="http://schemas.microsoft.com/office/drawing/2014/main" id="{AE173D05-DFE5-A8A2-C267-494C3A33120D}"/>
                </a:ext>
              </a:extLst>
            </p:cNvPr>
            <p:cNvSpPr/>
            <p:nvPr/>
          </p:nvSpPr>
          <p:spPr>
            <a:xfrm>
              <a:off x="698611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5" name="Полилиния 194">
              <a:extLst>
                <a:ext uri="{FF2B5EF4-FFF2-40B4-BE49-F238E27FC236}">
                  <a16:creationId xmlns:a16="http://schemas.microsoft.com/office/drawing/2014/main" id="{2F77A747-A8B2-3493-D4E7-CFC26E8D6D63}"/>
                </a:ext>
              </a:extLst>
            </p:cNvPr>
            <p:cNvSpPr/>
            <p:nvPr/>
          </p:nvSpPr>
          <p:spPr>
            <a:xfrm>
              <a:off x="703075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6" name="Полилиния 195">
              <a:extLst>
                <a:ext uri="{FF2B5EF4-FFF2-40B4-BE49-F238E27FC236}">
                  <a16:creationId xmlns:a16="http://schemas.microsoft.com/office/drawing/2014/main" id="{7ABA9A1D-FD0C-83DF-1CFB-9AF56148AC5B}"/>
                </a:ext>
              </a:extLst>
            </p:cNvPr>
            <p:cNvSpPr/>
            <p:nvPr/>
          </p:nvSpPr>
          <p:spPr>
            <a:xfrm>
              <a:off x="707539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7" name="Полилиния 196">
              <a:extLst>
                <a:ext uri="{FF2B5EF4-FFF2-40B4-BE49-F238E27FC236}">
                  <a16:creationId xmlns:a16="http://schemas.microsoft.com/office/drawing/2014/main" id="{AFFF6306-7B4E-D27B-3445-1CA9796C8FAB}"/>
                </a:ext>
              </a:extLst>
            </p:cNvPr>
            <p:cNvSpPr/>
            <p:nvPr/>
          </p:nvSpPr>
          <p:spPr>
            <a:xfrm>
              <a:off x="7164676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8" name="Полилиния 197">
              <a:extLst>
                <a:ext uri="{FF2B5EF4-FFF2-40B4-BE49-F238E27FC236}">
                  <a16:creationId xmlns:a16="http://schemas.microsoft.com/office/drawing/2014/main" id="{21D1D9BB-3C00-1496-5A0A-CB3AA4259DAB}"/>
                </a:ext>
              </a:extLst>
            </p:cNvPr>
            <p:cNvSpPr/>
            <p:nvPr/>
          </p:nvSpPr>
          <p:spPr>
            <a:xfrm>
              <a:off x="720931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9" name="Полилиния 198">
              <a:extLst>
                <a:ext uri="{FF2B5EF4-FFF2-40B4-BE49-F238E27FC236}">
                  <a16:creationId xmlns:a16="http://schemas.microsoft.com/office/drawing/2014/main" id="{AB5F44F0-D14E-1EA2-D582-BE3521EA184D}"/>
                </a:ext>
              </a:extLst>
            </p:cNvPr>
            <p:cNvSpPr/>
            <p:nvPr/>
          </p:nvSpPr>
          <p:spPr>
            <a:xfrm>
              <a:off x="725395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0" name="Полилиния 199">
              <a:extLst>
                <a:ext uri="{FF2B5EF4-FFF2-40B4-BE49-F238E27FC236}">
                  <a16:creationId xmlns:a16="http://schemas.microsoft.com/office/drawing/2014/main" id="{BAA31D16-D3C9-B4A7-9BBE-EB8CCBE1F3AD}"/>
                </a:ext>
              </a:extLst>
            </p:cNvPr>
            <p:cNvSpPr/>
            <p:nvPr/>
          </p:nvSpPr>
          <p:spPr>
            <a:xfrm>
              <a:off x="729859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1" name="Полилиния 200">
              <a:extLst>
                <a:ext uri="{FF2B5EF4-FFF2-40B4-BE49-F238E27FC236}">
                  <a16:creationId xmlns:a16="http://schemas.microsoft.com/office/drawing/2014/main" id="{D320B377-FB95-9CFB-A59B-3EACF448868D}"/>
                </a:ext>
              </a:extLst>
            </p:cNvPr>
            <p:cNvSpPr/>
            <p:nvPr/>
          </p:nvSpPr>
          <p:spPr>
            <a:xfrm>
              <a:off x="734323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2" name="Полилиния 201">
              <a:extLst>
                <a:ext uri="{FF2B5EF4-FFF2-40B4-BE49-F238E27FC236}">
                  <a16:creationId xmlns:a16="http://schemas.microsoft.com/office/drawing/2014/main" id="{D2505CC1-F467-B3A5-5E38-A17570D73E7A}"/>
                </a:ext>
              </a:extLst>
            </p:cNvPr>
            <p:cNvSpPr/>
            <p:nvPr/>
          </p:nvSpPr>
          <p:spPr>
            <a:xfrm>
              <a:off x="738787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3" name="Полилиния 202">
              <a:extLst>
                <a:ext uri="{FF2B5EF4-FFF2-40B4-BE49-F238E27FC236}">
                  <a16:creationId xmlns:a16="http://schemas.microsoft.com/office/drawing/2014/main" id="{77FB350B-F9BF-4AE9-EE46-F8E493C89E64}"/>
                </a:ext>
              </a:extLst>
            </p:cNvPr>
            <p:cNvSpPr/>
            <p:nvPr/>
          </p:nvSpPr>
          <p:spPr>
            <a:xfrm>
              <a:off x="743251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4" name="Полилиния 203">
              <a:extLst>
                <a:ext uri="{FF2B5EF4-FFF2-40B4-BE49-F238E27FC236}">
                  <a16:creationId xmlns:a16="http://schemas.microsoft.com/office/drawing/2014/main" id="{C6862E07-936E-8B31-C006-703535E17B04}"/>
                </a:ext>
              </a:extLst>
            </p:cNvPr>
            <p:cNvSpPr/>
            <p:nvPr/>
          </p:nvSpPr>
          <p:spPr>
            <a:xfrm>
              <a:off x="747715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5" name="Полилиния 204">
              <a:extLst>
                <a:ext uri="{FF2B5EF4-FFF2-40B4-BE49-F238E27FC236}">
                  <a16:creationId xmlns:a16="http://schemas.microsoft.com/office/drawing/2014/main" id="{4D75FB46-5A81-2B71-75C2-E8175B811925}"/>
                </a:ext>
              </a:extLst>
            </p:cNvPr>
            <p:cNvSpPr/>
            <p:nvPr/>
          </p:nvSpPr>
          <p:spPr>
            <a:xfrm>
              <a:off x="752188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6" name="Полилиния 205">
              <a:extLst>
                <a:ext uri="{FF2B5EF4-FFF2-40B4-BE49-F238E27FC236}">
                  <a16:creationId xmlns:a16="http://schemas.microsoft.com/office/drawing/2014/main" id="{5E58B157-12E1-E818-74E3-0FB3E755938F}"/>
                </a:ext>
              </a:extLst>
            </p:cNvPr>
            <p:cNvSpPr/>
            <p:nvPr/>
          </p:nvSpPr>
          <p:spPr>
            <a:xfrm>
              <a:off x="761116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7" name="Полилиния 206">
              <a:extLst>
                <a:ext uri="{FF2B5EF4-FFF2-40B4-BE49-F238E27FC236}">
                  <a16:creationId xmlns:a16="http://schemas.microsoft.com/office/drawing/2014/main" id="{EA6CAEF7-D3CC-3976-5F18-EF4492EE96B7}"/>
                </a:ext>
              </a:extLst>
            </p:cNvPr>
            <p:cNvSpPr/>
            <p:nvPr/>
          </p:nvSpPr>
          <p:spPr>
            <a:xfrm>
              <a:off x="774508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8" name="Полилиния 207">
              <a:extLst>
                <a:ext uri="{FF2B5EF4-FFF2-40B4-BE49-F238E27FC236}">
                  <a16:creationId xmlns:a16="http://schemas.microsoft.com/office/drawing/2014/main" id="{DABB295D-A09A-40BC-EC16-535B48EF16B2}"/>
                </a:ext>
              </a:extLst>
            </p:cNvPr>
            <p:cNvSpPr/>
            <p:nvPr/>
          </p:nvSpPr>
          <p:spPr>
            <a:xfrm>
              <a:off x="787899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9" name="Полилиния 208">
              <a:extLst>
                <a:ext uri="{FF2B5EF4-FFF2-40B4-BE49-F238E27FC236}">
                  <a16:creationId xmlns:a16="http://schemas.microsoft.com/office/drawing/2014/main" id="{44C01F2C-778B-FBFA-CE29-FCFE94BA8F8C}"/>
                </a:ext>
              </a:extLst>
            </p:cNvPr>
            <p:cNvSpPr/>
            <p:nvPr/>
          </p:nvSpPr>
          <p:spPr>
            <a:xfrm>
              <a:off x="649499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0" name="Полилиния 209">
              <a:extLst>
                <a:ext uri="{FF2B5EF4-FFF2-40B4-BE49-F238E27FC236}">
                  <a16:creationId xmlns:a16="http://schemas.microsoft.com/office/drawing/2014/main" id="{BEA11414-7F52-47D7-3A22-65631170CF9A}"/>
                </a:ext>
              </a:extLst>
            </p:cNvPr>
            <p:cNvSpPr/>
            <p:nvPr/>
          </p:nvSpPr>
          <p:spPr>
            <a:xfrm>
              <a:off x="653963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1" name="Полилиния 210">
              <a:extLst>
                <a:ext uri="{FF2B5EF4-FFF2-40B4-BE49-F238E27FC236}">
                  <a16:creationId xmlns:a16="http://schemas.microsoft.com/office/drawing/2014/main" id="{72407101-2706-A001-A664-E3E4EF8ED531}"/>
                </a:ext>
              </a:extLst>
            </p:cNvPr>
            <p:cNvSpPr/>
            <p:nvPr/>
          </p:nvSpPr>
          <p:spPr>
            <a:xfrm>
              <a:off x="658427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2" name="Полилиния 211">
              <a:extLst>
                <a:ext uri="{FF2B5EF4-FFF2-40B4-BE49-F238E27FC236}">
                  <a16:creationId xmlns:a16="http://schemas.microsoft.com/office/drawing/2014/main" id="{43FB7881-681B-251C-8C82-999532E04E8A}"/>
                </a:ext>
              </a:extLst>
            </p:cNvPr>
            <p:cNvSpPr/>
            <p:nvPr/>
          </p:nvSpPr>
          <p:spPr>
            <a:xfrm>
              <a:off x="6628910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3" name="Полилиния 212">
              <a:extLst>
                <a:ext uri="{FF2B5EF4-FFF2-40B4-BE49-F238E27FC236}">
                  <a16:creationId xmlns:a16="http://schemas.microsoft.com/office/drawing/2014/main" id="{26511C41-5B94-F6F7-337B-5CD00E85475E}"/>
                </a:ext>
              </a:extLst>
            </p:cNvPr>
            <p:cNvSpPr/>
            <p:nvPr/>
          </p:nvSpPr>
          <p:spPr>
            <a:xfrm>
              <a:off x="671818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4" name="Полилиния 213">
              <a:extLst>
                <a:ext uri="{FF2B5EF4-FFF2-40B4-BE49-F238E27FC236}">
                  <a16:creationId xmlns:a16="http://schemas.microsoft.com/office/drawing/2014/main" id="{D334D12A-5AA5-DCA2-559D-8D5EC664B5C1}"/>
                </a:ext>
              </a:extLst>
            </p:cNvPr>
            <p:cNvSpPr/>
            <p:nvPr/>
          </p:nvSpPr>
          <p:spPr>
            <a:xfrm>
              <a:off x="676282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5" name="Полилиния 214">
              <a:extLst>
                <a:ext uri="{FF2B5EF4-FFF2-40B4-BE49-F238E27FC236}">
                  <a16:creationId xmlns:a16="http://schemas.microsoft.com/office/drawing/2014/main" id="{A0D3FA9F-6399-2545-2331-BDCE16DBED84}"/>
                </a:ext>
              </a:extLst>
            </p:cNvPr>
            <p:cNvSpPr/>
            <p:nvPr/>
          </p:nvSpPr>
          <p:spPr>
            <a:xfrm>
              <a:off x="698611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6" name="Полилиния 215">
              <a:extLst>
                <a:ext uri="{FF2B5EF4-FFF2-40B4-BE49-F238E27FC236}">
                  <a16:creationId xmlns:a16="http://schemas.microsoft.com/office/drawing/2014/main" id="{F5FD6456-158C-D169-0265-5A98B2329EA7}"/>
                </a:ext>
              </a:extLst>
            </p:cNvPr>
            <p:cNvSpPr/>
            <p:nvPr/>
          </p:nvSpPr>
          <p:spPr>
            <a:xfrm>
              <a:off x="707539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7" name="Полилиния 216">
              <a:extLst>
                <a:ext uri="{FF2B5EF4-FFF2-40B4-BE49-F238E27FC236}">
                  <a16:creationId xmlns:a16="http://schemas.microsoft.com/office/drawing/2014/main" id="{A8DB75FC-D3CB-2629-4538-7B08669A75ED}"/>
                </a:ext>
              </a:extLst>
            </p:cNvPr>
            <p:cNvSpPr/>
            <p:nvPr/>
          </p:nvSpPr>
          <p:spPr>
            <a:xfrm>
              <a:off x="7120037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8" name="Полилиния 217">
              <a:extLst>
                <a:ext uri="{FF2B5EF4-FFF2-40B4-BE49-F238E27FC236}">
                  <a16:creationId xmlns:a16="http://schemas.microsoft.com/office/drawing/2014/main" id="{9EECB70B-A297-E1C0-7BEE-CFDAEE5E3B0F}"/>
                </a:ext>
              </a:extLst>
            </p:cNvPr>
            <p:cNvSpPr/>
            <p:nvPr/>
          </p:nvSpPr>
          <p:spPr>
            <a:xfrm>
              <a:off x="7164676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9" name="Полилиния 218">
              <a:extLst>
                <a:ext uri="{FF2B5EF4-FFF2-40B4-BE49-F238E27FC236}">
                  <a16:creationId xmlns:a16="http://schemas.microsoft.com/office/drawing/2014/main" id="{D2CEC86A-F82F-5600-CCBC-F014003EAD16}"/>
                </a:ext>
              </a:extLst>
            </p:cNvPr>
            <p:cNvSpPr/>
            <p:nvPr/>
          </p:nvSpPr>
          <p:spPr>
            <a:xfrm>
              <a:off x="720931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0" name="Полилиния 219">
              <a:extLst>
                <a:ext uri="{FF2B5EF4-FFF2-40B4-BE49-F238E27FC236}">
                  <a16:creationId xmlns:a16="http://schemas.microsoft.com/office/drawing/2014/main" id="{344BF45B-1E00-7E5F-557D-DC1C1567405D}"/>
                </a:ext>
              </a:extLst>
            </p:cNvPr>
            <p:cNvSpPr/>
            <p:nvPr/>
          </p:nvSpPr>
          <p:spPr>
            <a:xfrm>
              <a:off x="725395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1" name="Полилиния 220">
              <a:extLst>
                <a:ext uri="{FF2B5EF4-FFF2-40B4-BE49-F238E27FC236}">
                  <a16:creationId xmlns:a16="http://schemas.microsoft.com/office/drawing/2014/main" id="{2EBBC00F-0C15-B376-B4CD-74126CB983DA}"/>
                </a:ext>
              </a:extLst>
            </p:cNvPr>
            <p:cNvSpPr/>
            <p:nvPr/>
          </p:nvSpPr>
          <p:spPr>
            <a:xfrm>
              <a:off x="734323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2" name="Полилиния 221">
              <a:extLst>
                <a:ext uri="{FF2B5EF4-FFF2-40B4-BE49-F238E27FC236}">
                  <a16:creationId xmlns:a16="http://schemas.microsoft.com/office/drawing/2014/main" id="{6AE8D584-DB17-7338-9A3E-F9887332999A}"/>
                </a:ext>
              </a:extLst>
            </p:cNvPr>
            <p:cNvSpPr/>
            <p:nvPr/>
          </p:nvSpPr>
          <p:spPr>
            <a:xfrm>
              <a:off x="747715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3" name="Полилиния 222">
              <a:extLst>
                <a:ext uri="{FF2B5EF4-FFF2-40B4-BE49-F238E27FC236}">
                  <a16:creationId xmlns:a16="http://schemas.microsoft.com/office/drawing/2014/main" id="{9DE64A35-9E19-8E73-0912-CB8902CC778F}"/>
                </a:ext>
              </a:extLst>
            </p:cNvPr>
            <p:cNvSpPr/>
            <p:nvPr/>
          </p:nvSpPr>
          <p:spPr>
            <a:xfrm>
              <a:off x="7566524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4" name="Полилиния 223">
              <a:extLst>
                <a:ext uri="{FF2B5EF4-FFF2-40B4-BE49-F238E27FC236}">
                  <a16:creationId xmlns:a16="http://schemas.microsoft.com/office/drawing/2014/main" id="{537C2437-9424-8F4B-9E04-D6F93B67B757}"/>
                </a:ext>
              </a:extLst>
            </p:cNvPr>
            <p:cNvSpPr/>
            <p:nvPr/>
          </p:nvSpPr>
          <p:spPr>
            <a:xfrm>
              <a:off x="778972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5" name="Полилиния 224">
              <a:extLst>
                <a:ext uri="{FF2B5EF4-FFF2-40B4-BE49-F238E27FC236}">
                  <a16:creationId xmlns:a16="http://schemas.microsoft.com/office/drawing/2014/main" id="{104151B3-606E-EB61-EB87-7007923E1F56}"/>
                </a:ext>
              </a:extLst>
            </p:cNvPr>
            <p:cNvSpPr/>
            <p:nvPr/>
          </p:nvSpPr>
          <p:spPr>
            <a:xfrm>
              <a:off x="787899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6" name="Полилиния 225">
              <a:extLst>
                <a:ext uri="{FF2B5EF4-FFF2-40B4-BE49-F238E27FC236}">
                  <a16:creationId xmlns:a16="http://schemas.microsoft.com/office/drawing/2014/main" id="{E7ACC6BE-304E-15F9-D47A-9F53906C2829}"/>
                </a:ext>
              </a:extLst>
            </p:cNvPr>
            <p:cNvSpPr/>
            <p:nvPr/>
          </p:nvSpPr>
          <p:spPr>
            <a:xfrm>
              <a:off x="645035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7" name="Полилиния 226">
              <a:extLst>
                <a:ext uri="{FF2B5EF4-FFF2-40B4-BE49-F238E27FC236}">
                  <a16:creationId xmlns:a16="http://schemas.microsoft.com/office/drawing/2014/main" id="{AC6390AD-2178-ED39-173A-45845F7812BF}"/>
                </a:ext>
              </a:extLst>
            </p:cNvPr>
            <p:cNvSpPr/>
            <p:nvPr/>
          </p:nvSpPr>
          <p:spPr>
            <a:xfrm>
              <a:off x="649499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8" name="Полилиния 227">
              <a:extLst>
                <a:ext uri="{FF2B5EF4-FFF2-40B4-BE49-F238E27FC236}">
                  <a16:creationId xmlns:a16="http://schemas.microsoft.com/office/drawing/2014/main" id="{F95F8BE8-F25D-8FB9-3602-4882820B17D8}"/>
                </a:ext>
              </a:extLst>
            </p:cNvPr>
            <p:cNvSpPr/>
            <p:nvPr/>
          </p:nvSpPr>
          <p:spPr>
            <a:xfrm>
              <a:off x="653963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9" name="Полилиния 228">
              <a:extLst>
                <a:ext uri="{FF2B5EF4-FFF2-40B4-BE49-F238E27FC236}">
                  <a16:creationId xmlns:a16="http://schemas.microsoft.com/office/drawing/2014/main" id="{B756CF05-39D0-05C8-1D36-101F04C3E666}"/>
                </a:ext>
              </a:extLst>
            </p:cNvPr>
            <p:cNvSpPr/>
            <p:nvPr/>
          </p:nvSpPr>
          <p:spPr>
            <a:xfrm>
              <a:off x="658427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0" name="Полилиния 229">
              <a:extLst>
                <a:ext uri="{FF2B5EF4-FFF2-40B4-BE49-F238E27FC236}">
                  <a16:creationId xmlns:a16="http://schemas.microsoft.com/office/drawing/2014/main" id="{3B1B314B-E48F-6415-8273-E01F1BC4F9E7}"/>
                </a:ext>
              </a:extLst>
            </p:cNvPr>
            <p:cNvSpPr/>
            <p:nvPr/>
          </p:nvSpPr>
          <p:spPr>
            <a:xfrm>
              <a:off x="662891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1" name="Полилиния 230">
              <a:extLst>
                <a:ext uri="{FF2B5EF4-FFF2-40B4-BE49-F238E27FC236}">
                  <a16:creationId xmlns:a16="http://schemas.microsoft.com/office/drawing/2014/main" id="{ADE858D7-AB68-4E47-71A4-6B3EC4A1315F}"/>
                </a:ext>
              </a:extLst>
            </p:cNvPr>
            <p:cNvSpPr/>
            <p:nvPr/>
          </p:nvSpPr>
          <p:spPr>
            <a:xfrm>
              <a:off x="676282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2" name="Полилиния 231">
              <a:extLst>
                <a:ext uri="{FF2B5EF4-FFF2-40B4-BE49-F238E27FC236}">
                  <a16:creationId xmlns:a16="http://schemas.microsoft.com/office/drawing/2014/main" id="{2C6F10E5-6907-D466-6C97-C83C200949B4}"/>
                </a:ext>
              </a:extLst>
            </p:cNvPr>
            <p:cNvSpPr/>
            <p:nvPr/>
          </p:nvSpPr>
          <p:spPr>
            <a:xfrm>
              <a:off x="680746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3" name="Полилиния 232">
              <a:extLst>
                <a:ext uri="{FF2B5EF4-FFF2-40B4-BE49-F238E27FC236}">
                  <a16:creationId xmlns:a16="http://schemas.microsoft.com/office/drawing/2014/main" id="{CC2C53B7-95D4-F851-410E-7F702FBECEAB}"/>
                </a:ext>
              </a:extLst>
            </p:cNvPr>
            <p:cNvSpPr/>
            <p:nvPr/>
          </p:nvSpPr>
          <p:spPr>
            <a:xfrm>
              <a:off x="689684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4" name="Полилиния 233">
              <a:extLst>
                <a:ext uri="{FF2B5EF4-FFF2-40B4-BE49-F238E27FC236}">
                  <a16:creationId xmlns:a16="http://schemas.microsoft.com/office/drawing/2014/main" id="{AABA3CE8-B0A8-7488-2F1F-AF4B66C5DE6B}"/>
                </a:ext>
              </a:extLst>
            </p:cNvPr>
            <p:cNvSpPr/>
            <p:nvPr/>
          </p:nvSpPr>
          <p:spPr>
            <a:xfrm>
              <a:off x="703075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5" name="Полилиния 234">
              <a:extLst>
                <a:ext uri="{FF2B5EF4-FFF2-40B4-BE49-F238E27FC236}">
                  <a16:creationId xmlns:a16="http://schemas.microsoft.com/office/drawing/2014/main" id="{FD46958A-5172-FEAA-1B4D-C2CA64E4F8A2}"/>
                </a:ext>
              </a:extLst>
            </p:cNvPr>
            <p:cNvSpPr/>
            <p:nvPr/>
          </p:nvSpPr>
          <p:spPr>
            <a:xfrm>
              <a:off x="712003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6" name="Полилиния 235">
              <a:extLst>
                <a:ext uri="{FF2B5EF4-FFF2-40B4-BE49-F238E27FC236}">
                  <a16:creationId xmlns:a16="http://schemas.microsoft.com/office/drawing/2014/main" id="{4BBA19C9-F20B-D134-37C4-FCDDFECBD706}"/>
                </a:ext>
              </a:extLst>
            </p:cNvPr>
            <p:cNvSpPr/>
            <p:nvPr/>
          </p:nvSpPr>
          <p:spPr>
            <a:xfrm>
              <a:off x="720931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7" name="Полилиния 236">
              <a:extLst>
                <a:ext uri="{FF2B5EF4-FFF2-40B4-BE49-F238E27FC236}">
                  <a16:creationId xmlns:a16="http://schemas.microsoft.com/office/drawing/2014/main" id="{05B72AC1-8F03-000F-3E5C-8A2E43F73E9E}"/>
                </a:ext>
              </a:extLst>
            </p:cNvPr>
            <p:cNvSpPr/>
            <p:nvPr/>
          </p:nvSpPr>
          <p:spPr>
            <a:xfrm>
              <a:off x="725395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8" name="Полилиния 237">
              <a:extLst>
                <a:ext uri="{FF2B5EF4-FFF2-40B4-BE49-F238E27FC236}">
                  <a16:creationId xmlns:a16="http://schemas.microsoft.com/office/drawing/2014/main" id="{0500F979-8B20-9A42-1BAC-3A754A20A31B}"/>
                </a:ext>
              </a:extLst>
            </p:cNvPr>
            <p:cNvSpPr/>
            <p:nvPr/>
          </p:nvSpPr>
          <p:spPr>
            <a:xfrm>
              <a:off x="729859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9" name="Полилиния 238">
              <a:extLst>
                <a:ext uri="{FF2B5EF4-FFF2-40B4-BE49-F238E27FC236}">
                  <a16:creationId xmlns:a16="http://schemas.microsoft.com/office/drawing/2014/main" id="{B1DAFB58-A51F-DD05-1F51-46600EB34A57}"/>
                </a:ext>
              </a:extLst>
            </p:cNvPr>
            <p:cNvSpPr/>
            <p:nvPr/>
          </p:nvSpPr>
          <p:spPr>
            <a:xfrm>
              <a:off x="7432512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0" name="Полилиния 239">
              <a:extLst>
                <a:ext uri="{FF2B5EF4-FFF2-40B4-BE49-F238E27FC236}">
                  <a16:creationId xmlns:a16="http://schemas.microsoft.com/office/drawing/2014/main" id="{59273736-9760-79BD-11D8-6CBE219829DE}"/>
                </a:ext>
              </a:extLst>
            </p:cNvPr>
            <p:cNvSpPr/>
            <p:nvPr/>
          </p:nvSpPr>
          <p:spPr>
            <a:xfrm>
              <a:off x="747715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1" name="Полилиния 240">
              <a:extLst>
                <a:ext uri="{FF2B5EF4-FFF2-40B4-BE49-F238E27FC236}">
                  <a16:creationId xmlns:a16="http://schemas.microsoft.com/office/drawing/2014/main" id="{9732A1E7-E311-E12A-EB87-4EC3DCF60DC3}"/>
                </a:ext>
              </a:extLst>
            </p:cNvPr>
            <p:cNvSpPr/>
            <p:nvPr/>
          </p:nvSpPr>
          <p:spPr>
            <a:xfrm>
              <a:off x="756652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2" name="Полилиния 241">
              <a:extLst>
                <a:ext uri="{FF2B5EF4-FFF2-40B4-BE49-F238E27FC236}">
                  <a16:creationId xmlns:a16="http://schemas.microsoft.com/office/drawing/2014/main" id="{6B8B44D5-057B-F514-FA63-915572785A7B}"/>
                </a:ext>
              </a:extLst>
            </p:cNvPr>
            <p:cNvSpPr/>
            <p:nvPr/>
          </p:nvSpPr>
          <p:spPr>
            <a:xfrm>
              <a:off x="774508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3" name="Полилиния 242">
              <a:extLst>
                <a:ext uri="{FF2B5EF4-FFF2-40B4-BE49-F238E27FC236}">
                  <a16:creationId xmlns:a16="http://schemas.microsoft.com/office/drawing/2014/main" id="{EF46FAA5-BDFE-9459-C1D9-C43E96BC4C2E}"/>
                </a:ext>
              </a:extLst>
            </p:cNvPr>
            <p:cNvSpPr/>
            <p:nvPr/>
          </p:nvSpPr>
          <p:spPr>
            <a:xfrm>
              <a:off x="783436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4" name="Полилиния 243">
              <a:extLst>
                <a:ext uri="{FF2B5EF4-FFF2-40B4-BE49-F238E27FC236}">
                  <a16:creationId xmlns:a16="http://schemas.microsoft.com/office/drawing/2014/main" id="{7FD4A76F-6B11-91AA-216B-D60C1F084BE4}"/>
                </a:ext>
              </a:extLst>
            </p:cNvPr>
            <p:cNvSpPr/>
            <p:nvPr/>
          </p:nvSpPr>
          <p:spPr>
            <a:xfrm>
              <a:off x="653963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5" name="Полилиния 244">
              <a:extLst>
                <a:ext uri="{FF2B5EF4-FFF2-40B4-BE49-F238E27FC236}">
                  <a16:creationId xmlns:a16="http://schemas.microsoft.com/office/drawing/2014/main" id="{AF50FBF3-F5D6-AEA2-2752-E9E19BF93704}"/>
                </a:ext>
              </a:extLst>
            </p:cNvPr>
            <p:cNvSpPr/>
            <p:nvPr/>
          </p:nvSpPr>
          <p:spPr>
            <a:xfrm>
              <a:off x="6628910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6" name="Полилиния 245">
              <a:extLst>
                <a:ext uri="{FF2B5EF4-FFF2-40B4-BE49-F238E27FC236}">
                  <a16:creationId xmlns:a16="http://schemas.microsoft.com/office/drawing/2014/main" id="{4E7C4459-33DD-D2B3-DA7B-738EEEFA9D3A}"/>
                </a:ext>
              </a:extLst>
            </p:cNvPr>
            <p:cNvSpPr/>
            <p:nvPr/>
          </p:nvSpPr>
          <p:spPr>
            <a:xfrm>
              <a:off x="667354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7" name="Полилиния 246">
              <a:extLst>
                <a:ext uri="{FF2B5EF4-FFF2-40B4-BE49-F238E27FC236}">
                  <a16:creationId xmlns:a16="http://schemas.microsoft.com/office/drawing/2014/main" id="{059FCA12-EDEF-87F3-5BEC-5C22165C5C19}"/>
                </a:ext>
              </a:extLst>
            </p:cNvPr>
            <p:cNvSpPr/>
            <p:nvPr/>
          </p:nvSpPr>
          <p:spPr>
            <a:xfrm>
              <a:off x="671818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8" name="Полилиния 247">
              <a:extLst>
                <a:ext uri="{FF2B5EF4-FFF2-40B4-BE49-F238E27FC236}">
                  <a16:creationId xmlns:a16="http://schemas.microsoft.com/office/drawing/2014/main" id="{183983F3-014D-7AB7-41F7-6D02053AFABD}"/>
                </a:ext>
              </a:extLst>
            </p:cNvPr>
            <p:cNvSpPr/>
            <p:nvPr/>
          </p:nvSpPr>
          <p:spPr>
            <a:xfrm>
              <a:off x="6852106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35FC6A1E-7A44-DBE6-1D09-119454D1689E}"/>
                </a:ext>
              </a:extLst>
            </p:cNvPr>
            <p:cNvSpPr/>
            <p:nvPr/>
          </p:nvSpPr>
          <p:spPr>
            <a:xfrm>
              <a:off x="7253955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0" name="Полилиния 249">
              <a:extLst>
                <a:ext uri="{FF2B5EF4-FFF2-40B4-BE49-F238E27FC236}">
                  <a16:creationId xmlns:a16="http://schemas.microsoft.com/office/drawing/2014/main" id="{524126F1-325C-03D4-C1E7-15E695D3FD50}"/>
                </a:ext>
              </a:extLst>
            </p:cNvPr>
            <p:cNvSpPr/>
            <p:nvPr/>
          </p:nvSpPr>
          <p:spPr>
            <a:xfrm>
              <a:off x="7432512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1" name="Полилиния 250">
              <a:extLst>
                <a:ext uri="{FF2B5EF4-FFF2-40B4-BE49-F238E27FC236}">
                  <a16:creationId xmlns:a16="http://schemas.microsoft.com/office/drawing/2014/main" id="{7F41BAD4-779E-CC6F-1DD1-B5A7D32E03E2}"/>
                </a:ext>
              </a:extLst>
            </p:cNvPr>
            <p:cNvSpPr/>
            <p:nvPr/>
          </p:nvSpPr>
          <p:spPr>
            <a:xfrm>
              <a:off x="747715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2" name="Полилиния 251">
              <a:extLst>
                <a:ext uri="{FF2B5EF4-FFF2-40B4-BE49-F238E27FC236}">
                  <a16:creationId xmlns:a16="http://schemas.microsoft.com/office/drawing/2014/main" id="{60039CEB-D415-48F4-4D07-40617F9E4421}"/>
                </a:ext>
              </a:extLst>
            </p:cNvPr>
            <p:cNvSpPr/>
            <p:nvPr/>
          </p:nvSpPr>
          <p:spPr>
            <a:xfrm>
              <a:off x="7611164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3" name="Полилиния 252">
              <a:extLst>
                <a:ext uri="{FF2B5EF4-FFF2-40B4-BE49-F238E27FC236}">
                  <a16:creationId xmlns:a16="http://schemas.microsoft.com/office/drawing/2014/main" id="{AC065DEE-F192-D388-0A75-C476B546E838}"/>
                </a:ext>
              </a:extLst>
            </p:cNvPr>
            <p:cNvSpPr/>
            <p:nvPr/>
          </p:nvSpPr>
          <p:spPr>
            <a:xfrm>
              <a:off x="649499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90DC3D24-7D2A-8823-5C27-FD29AD5F7CB8}"/>
                </a:ext>
              </a:extLst>
            </p:cNvPr>
            <p:cNvSpPr/>
            <p:nvPr/>
          </p:nvSpPr>
          <p:spPr>
            <a:xfrm>
              <a:off x="6628910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5" name="Полилиния 254">
              <a:extLst>
                <a:ext uri="{FF2B5EF4-FFF2-40B4-BE49-F238E27FC236}">
                  <a16:creationId xmlns:a16="http://schemas.microsoft.com/office/drawing/2014/main" id="{E838DC94-DAB5-5842-0E5B-78E3C2BD8003}"/>
                </a:ext>
              </a:extLst>
            </p:cNvPr>
            <p:cNvSpPr/>
            <p:nvPr/>
          </p:nvSpPr>
          <p:spPr>
            <a:xfrm>
              <a:off x="667354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6" name="Полилиния 255">
              <a:extLst>
                <a:ext uri="{FF2B5EF4-FFF2-40B4-BE49-F238E27FC236}">
                  <a16:creationId xmlns:a16="http://schemas.microsoft.com/office/drawing/2014/main" id="{32E90591-8E35-C875-70BF-2E3F9EF5B07D}"/>
                </a:ext>
              </a:extLst>
            </p:cNvPr>
            <p:cNvSpPr/>
            <p:nvPr/>
          </p:nvSpPr>
          <p:spPr>
            <a:xfrm>
              <a:off x="685210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7" name="Полилиния 256">
              <a:extLst>
                <a:ext uri="{FF2B5EF4-FFF2-40B4-BE49-F238E27FC236}">
                  <a16:creationId xmlns:a16="http://schemas.microsoft.com/office/drawing/2014/main" id="{8DB18D4E-8564-E1C5-DD45-8475306F6598}"/>
                </a:ext>
              </a:extLst>
            </p:cNvPr>
            <p:cNvSpPr/>
            <p:nvPr/>
          </p:nvSpPr>
          <p:spPr>
            <a:xfrm>
              <a:off x="689684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8" name="Полилиния 257">
              <a:extLst>
                <a:ext uri="{FF2B5EF4-FFF2-40B4-BE49-F238E27FC236}">
                  <a16:creationId xmlns:a16="http://schemas.microsoft.com/office/drawing/2014/main" id="{51C197F2-EBE9-F6CB-64F8-9D67A411A151}"/>
                </a:ext>
              </a:extLst>
            </p:cNvPr>
            <p:cNvSpPr/>
            <p:nvPr/>
          </p:nvSpPr>
          <p:spPr>
            <a:xfrm>
              <a:off x="7075398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53458AC1-9D90-E5D2-1793-1367D89FB8E7}"/>
                </a:ext>
              </a:extLst>
            </p:cNvPr>
            <p:cNvSpPr/>
            <p:nvPr/>
          </p:nvSpPr>
          <p:spPr>
            <a:xfrm>
              <a:off x="716467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0" name="Полилиния 259">
              <a:extLst>
                <a:ext uri="{FF2B5EF4-FFF2-40B4-BE49-F238E27FC236}">
                  <a16:creationId xmlns:a16="http://schemas.microsoft.com/office/drawing/2014/main" id="{5A361043-605C-B74D-C8AE-FB873770DE41}"/>
                </a:ext>
              </a:extLst>
            </p:cNvPr>
            <p:cNvSpPr/>
            <p:nvPr/>
          </p:nvSpPr>
          <p:spPr>
            <a:xfrm>
              <a:off x="7209315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" name="Полилиния 260">
              <a:extLst>
                <a:ext uri="{FF2B5EF4-FFF2-40B4-BE49-F238E27FC236}">
                  <a16:creationId xmlns:a16="http://schemas.microsoft.com/office/drawing/2014/main" id="{7EECA926-E9C3-672F-D4F0-CB459F154CC0}"/>
                </a:ext>
              </a:extLst>
            </p:cNvPr>
            <p:cNvSpPr/>
            <p:nvPr/>
          </p:nvSpPr>
          <p:spPr>
            <a:xfrm>
              <a:off x="734323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" name="Полилиния 261">
              <a:extLst>
                <a:ext uri="{FF2B5EF4-FFF2-40B4-BE49-F238E27FC236}">
                  <a16:creationId xmlns:a16="http://schemas.microsoft.com/office/drawing/2014/main" id="{49E80F46-D50B-C3FF-EEDE-8B75CC37DE0E}"/>
                </a:ext>
              </a:extLst>
            </p:cNvPr>
            <p:cNvSpPr/>
            <p:nvPr/>
          </p:nvSpPr>
          <p:spPr>
            <a:xfrm>
              <a:off x="747715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" name="Полилиния 262">
              <a:extLst>
                <a:ext uri="{FF2B5EF4-FFF2-40B4-BE49-F238E27FC236}">
                  <a16:creationId xmlns:a16="http://schemas.microsoft.com/office/drawing/2014/main" id="{AE115DB8-056E-2D5C-76CE-5B3501CBB7A4}"/>
                </a:ext>
              </a:extLst>
            </p:cNvPr>
            <p:cNvSpPr/>
            <p:nvPr/>
          </p:nvSpPr>
          <p:spPr>
            <a:xfrm>
              <a:off x="7566524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" name="Полилиния 263">
              <a:extLst>
                <a:ext uri="{FF2B5EF4-FFF2-40B4-BE49-F238E27FC236}">
                  <a16:creationId xmlns:a16="http://schemas.microsoft.com/office/drawing/2014/main" id="{79E1BD6B-3691-990A-D8E4-43DF7B27ADB4}"/>
                </a:ext>
              </a:extLst>
            </p:cNvPr>
            <p:cNvSpPr/>
            <p:nvPr/>
          </p:nvSpPr>
          <p:spPr>
            <a:xfrm>
              <a:off x="765580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" name="Полилиния 264">
              <a:extLst>
                <a:ext uri="{FF2B5EF4-FFF2-40B4-BE49-F238E27FC236}">
                  <a16:creationId xmlns:a16="http://schemas.microsoft.com/office/drawing/2014/main" id="{85135A52-11C1-9032-AB41-49F1EFAD6FBE}"/>
                </a:ext>
              </a:extLst>
            </p:cNvPr>
            <p:cNvSpPr/>
            <p:nvPr/>
          </p:nvSpPr>
          <p:spPr>
            <a:xfrm>
              <a:off x="778972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" name="Полилиния 265">
              <a:extLst>
                <a:ext uri="{FF2B5EF4-FFF2-40B4-BE49-F238E27FC236}">
                  <a16:creationId xmlns:a16="http://schemas.microsoft.com/office/drawing/2014/main" id="{73BB7657-5F35-E3CC-3F90-1A53544B2211}"/>
                </a:ext>
              </a:extLst>
            </p:cNvPr>
            <p:cNvSpPr/>
            <p:nvPr/>
          </p:nvSpPr>
          <p:spPr>
            <a:xfrm>
              <a:off x="787899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" name="Полилиния 266">
              <a:extLst>
                <a:ext uri="{FF2B5EF4-FFF2-40B4-BE49-F238E27FC236}">
                  <a16:creationId xmlns:a16="http://schemas.microsoft.com/office/drawing/2014/main" id="{81C60136-6303-2E3B-1957-411F250B6BCB}"/>
                </a:ext>
              </a:extLst>
            </p:cNvPr>
            <p:cNvSpPr/>
            <p:nvPr/>
          </p:nvSpPr>
          <p:spPr>
            <a:xfrm>
              <a:off x="645035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" name="Полилиния 268">
              <a:extLst>
                <a:ext uri="{FF2B5EF4-FFF2-40B4-BE49-F238E27FC236}">
                  <a16:creationId xmlns:a16="http://schemas.microsoft.com/office/drawing/2014/main" id="{6E40ECCF-545A-6F8C-B6EE-5B16F682C98A}"/>
                </a:ext>
              </a:extLst>
            </p:cNvPr>
            <p:cNvSpPr/>
            <p:nvPr/>
          </p:nvSpPr>
          <p:spPr>
            <a:xfrm>
              <a:off x="653963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" name="Полилиния 269">
              <a:extLst>
                <a:ext uri="{FF2B5EF4-FFF2-40B4-BE49-F238E27FC236}">
                  <a16:creationId xmlns:a16="http://schemas.microsoft.com/office/drawing/2014/main" id="{2FE0B9DA-B7E1-B6D8-BA81-89420AC64F41}"/>
                </a:ext>
              </a:extLst>
            </p:cNvPr>
            <p:cNvSpPr/>
            <p:nvPr/>
          </p:nvSpPr>
          <p:spPr>
            <a:xfrm>
              <a:off x="658427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" name="Полилиния 270">
              <a:extLst>
                <a:ext uri="{FF2B5EF4-FFF2-40B4-BE49-F238E27FC236}">
                  <a16:creationId xmlns:a16="http://schemas.microsoft.com/office/drawing/2014/main" id="{5EAAFC26-E1C9-A55E-800A-69E941B5DD17}"/>
                </a:ext>
              </a:extLst>
            </p:cNvPr>
            <p:cNvSpPr/>
            <p:nvPr/>
          </p:nvSpPr>
          <p:spPr>
            <a:xfrm>
              <a:off x="662891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" name="Полилиния 271">
              <a:extLst>
                <a:ext uri="{FF2B5EF4-FFF2-40B4-BE49-F238E27FC236}">
                  <a16:creationId xmlns:a16="http://schemas.microsoft.com/office/drawing/2014/main" id="{E6FBDAD6-F532-A406-D2D4-370D1EEEA63C}"/>
                </a:ext>
              </a:extLst>
            </p:cNvPr>
            <p:cNvSpPr/>
            <p:nvPr/>
          </p:nvSpPr>
          <p:spPr>
            <a:xfrm>
              <a:off x="667354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3" name="Полилиния 272">
              <a:extLst>
                <a:ext uri="{FF2B5EF4-FFF2-40B4-BE49-F238E27FC236}">
                  <a16:creationId xmlns:a16="http://schemas.microsoft.com/office/drawing/2014/main" id="{C0A5DBDB-8510-4AC1-B8FB-D18EF5BDFCE3}"/>
                </a:ext>
              </a:extLst>
            </p:cNvPr>
            <p:cNvSpPr/>
            <p:nvPr/>
          </p:nvSpPr>
          <p:spPr>
            <a:xfrm>
              <a:off x="671818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" name="Полилиния 273">
              <a:extLst>
                <a:ext uri="{FF2B5EF4-FFF2-40B4-BE49-F238E27FC236}">
                  <a16:creationId xmlns:a16="http://schemas.microsoft.com/office/drawing/2014/main" id="{84D4ECA7-2A6F-4754-FC8C-6A19F5DA7D8A}"/>
                </a:ext>
              </a:extLst>
            </p:cNvPr>
            <p:cNvSpPr/>
            <p:nvPr/>
          </p:nvSpPr>
          <p:spPr>
            <a:xfrm>
              <a:off x="6762828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" name="Полилиния 274">
              <a:extLst>
                <a:ext uri="{FF2B5EF4-FFF2-40B4-BE49-F238E27FC236}">
                  <a16:creationId xmlns:a16="http://schemas.microsoft.com/office/drawing/2014/main" id="{45B9FFBA-5F8A-9238-D438-3608178154DC}"/>
                </a:ext>
              </a:extLst>
            </p:cNvPr>
            <p:cNvSpPr/>
            <p:nvPr/>
          </p:nvSpPr>
          <p:spPr>
            <a:xfrm>
              <a:off x="680746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" name="Полилиния 275">
              <a:extLst>
                <a:ext uri="{FF2B5EF4-FFF2-40B4-BE49-F238E27FC236}">
                  <a16:creationId xmlns:a16="http://schemas.microsoft.com/office/drawing/2014/main" id="{5F35FE0A-6CCD-BD53-F291-6D75D3534A95}"/>
                </a:ext>
              </a:extLst>
            </p:cNvPr>
            <p:cNvSpPr/>
            <p:nvPr/>
          </p:nvSpPr>
          <p:spPr>
            <a:xfrm>
              <a:off x="6852106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7" name="Полилиния 276">
              <a:extLst>
                <a:ext uri="{FF2B5EF4-FFF2-40B4-BE49-F238E27FC236}">
                  <a16:creationId xmlns:a16="http://schemas.microsoft.com/office/drawing/2014/main" id="{A388393E-E985-1853-0D1D-6CE8481CCFDE}"/>
                </a:ext>
              </a:extLst>
            </p:cNvPr>
            <p:cNvSpPr/>
            <p:nvPr/>
          </p:nvSpPr>
          <p:spPr>
            <a:xfrm>
              <a:off x="689684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8" name="Полилиния 277">
              <a:extLst>
                <a:ext uri="{FF2B5EF4-FFF2-40B4-BE49-F238E27FC236}">
                  <a16:creationId xmlns:a16="http://schemas.microsoft.com/office/drawing/2014/main" id="{CFD71F9A-1995-86A0-54E8-1BDA41362F4C}"/>
                </a:ext>
              </a:extLst>
            </p:cNvPr>
            <p:cNvSpPr/>
            <p:nvPr/>
          </p:nvSpPr>
          <p:spPr>
            <a:xfrm>
              <a:off x="694148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" name="Полилиния 278">
              <a:extLst>
                <a:ext uri="{FF2B5EF4-FFF2-40B4-BE49-F238E27FC236}">
                  <a16:creationId xmlns:a16="http://schemas.microsoft.com/office/drawing/2014/main" id="{E7D393AF-B993-F1AB-33AD-FA256DE5936B}"/>
                </a:ext>
              </a:extLst>
            </p:cNvPr>
            <p:cNvSpPr/>
            <p:nvPr/>
          </p:nvSpPr>
          <p:spPr>
            <a:xfrm>
              <a:off x="712003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" name="Полилиния 279">
              <a:extLst>
                <a:ext uri="{FF2B5EF4-FFF2-40B4-BE49-F238E27FC236}">
                  <a16:creationId xmlns:a16="http://schemas.microsoft.com/office/drawing/2014/main" id="{69D7C069-4768-D88B-C1E5-C5F5C70B141A}"/>
                </a:ext>
              </a:extLst>
            </p:cNvPr>
            <p:cNvSpPr/>
            <p:nvPr/>
          </p:nvSpPr>
          <p:spPr>
            <a:xfrm>
              <a:off x="734323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" name="Полилиния 280">
              <a:extLst>
                <a:ext uri="{FF2B5EF4-FFF2-40B4-BE49-F238E27FC236}">
                  <a16:creationId xmlns:a16="http://schemas.microsoft.com/office/drawing/2014/main" id="{3EC1055A-22D1-AB4D-5396-725649AC965A}"/>
                </a:ext>
              </a:extLst>
            </p:cNvPr>
            <p:cNvSpPr/>
            <p:nvPr/>
          </p:nvSpPr>
          <p:spPr>
            <a:xfrm>
              <a:off x="7432512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2" name="Полилиния 281">
              <a:extLst>
                <a:ext uri="{FF2B5EF4-FFF2-40B4-BE49-F238E27FC236}">
                  <a16:creationId xmlns:a16="http://schemas.microsoft.com/office/drawing/2014/main" id="{2E6BE152-02DF-4543-A164-E65F8BD5D4BE}"/>
                </a:ext>
              </a:extLst>
            </p:cNvPr>
            <p:cNvSpPr/>
            <p:nvPr/>
          </p:nvSpPr>
          <p:spPr>
            <a:xfrm>
              <a:off x="747715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3" name="Полилиния 282">
              <a:extLst>
                <a:ext uri="{FF2B5EF4-FFF2-40B4-BE49-F238E27FC236}">
                  <a16:creationId xmlns:a16="http://schemas.microsoft.com/office/drawing/2014/main" id="{0163304B-D849-C2C3-85F4-D89F649F75D5}"/>
                </a:ext>
              </a:extLst>
            </p:cNvPr>
            <p:cNvSpPr/>
            <p:nvPr/>
          </p:nvSpPr>
          <p:spPr>
            <a:xfrm>
              <a:off x="774508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" name="Полилиния 283">
              <a:extLst>
                <a:ext uri="{FF2B5EF4-FFF2-40B4-BE49-F238E27FC236}">
                  <a16:creationId xmlns:a16="http://schemas.microsoft.com/office/drawing/2014/main" id="{152DFD4B-A198-29DD-9B00-DBA612EC2F1A}"/>
                </a:ext>
              </a:extLst>
            </p:cNvPr>
            <p:cNvSpPr/>
            <p:nvPr/>
          </p:nvSpPr>
          <p:spPr>
            <a:xfrm>
              <a:off x="778972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" name="Полилиния 284">
              <a:extLst>
                <a:ext uri="{FF2B5EF4-FFF2-40B4-BE49-F238E27FC236}">
                  <a16:creationId xmlns:a16="http://schemas.microsoft.com/office/drawing/2014/main" id="{AD5697D2-95DD-12EF-160F-F6E1F3D5406E}"/>
                </a:ext>
              </a:extLst>
            </p:cNvPr>
            <p:cNvSpPr/>
            <p:nvPr/>
          </p:nvSpPr>
          <p:spPr>
            <a:xfrm>
              <a:off x="787899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" name="Полилиния 285">
              <a:extLst>
                <a:ext uri="{FF2B5EF4-FFF2-40B4-BE49-F238E27FC236}">
                  <a16:creationId xmlns:a16="http://schemas.microsoft.com/office/drawing/2014/main" id="{60C2B5A1-B702-61AE-2354-902612AB9B49}"/>
                </a:ext>
              </a:extLst>
            </p:cNvPr>
            <p:cNvSpPr/>
            <p:nvPr/>
          </p:nvSpPr>
          <p:spPr>
            <a:xfrm>
              <a:off x="649499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7" name="Полилиния 286">
              <a:extLst>
                <a:ext uri="{FF2B5EF4-FFF2-40B4-BE49-F238E27FC236}">
                  <a16:creationId xmlns:a16="http://schemas.microsoft.com/office/drawing/2014/main" id="{21C29BC4-81C2-0679-8AB6-087DCADE4BEB}"/>
                </a:ext>
              </a:extLst>
            </p:cNvPr>
            <p:cNvSpPr/>
            <p:nvPr/>
          </p:nvSpPr>
          <p:spPr>
            <a:xfrm>
              <a:off x="653963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8" name="Полилиния 287">
              <a:extLst>
                <a:ext uri="{FF2B5EF4-FFF2-40B4-BE49-F238E27FC236}">
                  <a16:creationId xmlns:a16="http://schemas.microsoft.com/office/drawing/2014/main" id="{22991EDE-592B-892D-80DB-16694D1FB74F}"/>
                </a:ext>
              </a:extLst>
            </p:cNvPr>
            <p:cNvSpPr/>
            <p:nvPr/>
          </p:nvSpPr>
          <p:spPr>
            <a:xfrm>
              <a:off x="667354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" name="Полилиния 288">
              <a:extLst>
                <a:ext uri="{FF2B5EF4-FFF2-40B4-BE49-F238E27FC236}">
                  <a16:creationId xmlns:a16="http://schemas.microsoft.com/office/drawing/2014/main" id="{17CA6753-ECF2-1545-31E6-75112DC5F3F3}"/>
                </a:ext>
              </a:extLst>
            </p:cNvPr>
            <p:cNvSpPr/>
            <p:nvPr/>
          </p:nvSpPr>
          <p:spPr>
            <a:xfrm>
              <a:off x="676282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" name="Полилиния 289">
              <a:extLst>
                <a:ext uri="{FF2B5EF4-FFF2-40B4-BE49-F238E27FC236}">
                  <a16:creationId xmlns:a16="http://schemas.microsoft.com/office/drawing/2014/main" id="{99CC0304-2A93-3D8A-46FE-6268A5929EE7}"/>
                </a:ext>
              </a:extLst>
            </p:cNvPr>
            <p:cNvSpPr/>
            <p:nvPr/>
          </p:nvSpPr>
          <p:spPr>
            <a:xfrm>
              <a:off x="689684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" name="Полилиния 290">
              <a:extLst>
                <a:ext uri="{FF2B5EF4-FFF2-40B4-BE49-F238E27FC236}">
                  <a16:creationId xmlns:a16="http://schemas.microsoft.com/office/drawing/2014/main" id="{C9B55BE2-33A5-8ACB-3A42-F4EAA316A4FC}"/>
                </a:ext>
              </a:extLst>
            </p:cNvPr>
            <p:cNvSpPr/>
            <p:nvPr/>
          </p:nvSpPr>
          <p:spPr>
            <a:xfrm>
              <a:off x="6941480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" name="Полилиния 291">
              <a:extLst>
                <a:ext uri="{FF2B5EF4-FFF2-40B4-BE49-F238E27FC236}">
                  <a16:creationId xmlns:a16="http://schemas.microsoft.com/office/drawing/2014/main" id="{2A7DBB42-4D3E-C3C5-C873-0750BE5CDF79}"/>
                </a:ext>
              </a:extLst>
            </p:cNvPr>
            <p:cNvSpPr/>
            <p:nvPr/>
          </p:nvSpPr>
          <p:spPr>
            <a:xfrm>
              <a:off x="707539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3" name="Полилиния 292">
              <a:extLst>
                <a:ext uri="{FF2B5EF4-FFF2-40B4-BE49-F238E27FC236}">
                  <a16:creationId xmlns:a16="http://schemas.microsoft.com/office/drawing/2014/main" id="{F976CED7-F5CF-5B71-6025-B17B79B7436C}"/>
                </a:ext>
              </a:extLst>
            </p:cNvPr>
            <p:cNvSpPr/>
            <p:nvPr/>
          </p:nvSpPr>
          <p:spPr>
            <a:xfrm>
              <a:off x="7120037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" name="Полилиния 293">
              <a:extLst>
                <a:ext uri="{FF2B5EF4-FFF2-40B4-BE49-F238E27FC236}">
                  <a16:creationId xmlns:a16="http://schemas.microsoft.com/office/drawing/2014/main" id="{13D6E029-BB33-3B26-3112-AC1F1DD8233E}"/>
                </a:ext>
              </a:extLst>
            </p:cNvPr>
            <p:cNvSpPr/>
            <p:nvPr/>
          </p:nvSpPr>
          <p:spPr>
            <a:xfrm>
              <a:off x="7209315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" name="Полилиния 294">
              <a:extLst>
                <a:ext uri="{FF2B5EF4-FFF2-40B4-BE49-F238E27FC236}">
                  <a16:creationId xmlns:a16="http://schemas.microsoft.com/office/drawing/2014/main" id="{FCFA5420-DF70-1189-D06A-D5451C4257E7}"/>
                </a:ext>
              </a:extLst>
            </p:cNvPr>
            <p:cNvSpPr/>
            <p:nvPr/>
          </p:nvSpPr>
          <p:spPr>
            <a:xfrm>
              <a:off x="734323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" name="Полилиния 295">
              <a:extLst>
                <a:ext uri="{FF2B5EF4-FFF2-40B4-BE49-F238E27FC236}">
                  <a16:creationId xmlns:a16="http://schemas.microsoft.com/office/drawing/2014/main" id="{047DF1E4-2A83-4CFB-8CEB-555EBA002D87}"/>
                </a:ext>
              </a:extLst>
            </p:cNvPr>
            <p:cNvSpPr/>
            <p:nvPr/>
          </p:nvSpPr>
          <p:spPr>
            <a:xfrm>
              <a:off x="747715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" name="Полилиния 296">
              <a:extLst>
                <a:ext uri="{FF2B5EF4-FFF2-40B4-BE49-F238E27FC236}">
                  <a16:creationId xmlns:a16="http://schemas.microsoft.com/office/drawing/2014/main" id="{531174F2-7A12-E986-CD67-5F59506F95B3}"/>
                </a:ext>
              </a:extLst>
            </p:cNvPr>
            <p:cNvSpPr/>
            <p:nvPr/>
          </p:nvSpPr>
          <p:spPr>
            <a:xfrm>
              <a:off x="7611164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" name="Полилиния 297">
              <a:extLst>
                <a:ext uri="{FF2B5EF4-FFF2-40B4-BE49-F238E27FC236}">
                  <a16:creationId xmlns:a16="http://schemas.microsoft.com/office/drawing/2014/main" id="{A95E30B6-7B6A-87D0-74BA-46C02616F307}"/>
                </a:ext>
              </a:extLst>
            </p:cNvPr>
            <p:cNvSpPr/>
            <p:nvPr/>
          </p:nvSpPr>
          <p:spPr>
            <a:xfrm>
              <a:off x="765580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" name="Полилиния 298">
              <a:extLst>
                <a:ext uri="{FF2B5EF4-FFF2-40B4-BE49-F238E27FC236}">
                  <a16:creationId xmlns:a16="http://schemas.microsoft.com/office/drawing/2014/main" id="{CD107D46-05A2-B366-3B34-921C34720A90}"/>
                </a:ext>
              </a:extLst>
            </p:cNvPr>
            <p:cNvSpPr/>
            <p:nvPr/>
          </p:nvSpPr>
          <p:spPr>
            <a:xfrm>
              <a:off x="774508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" name="Полилиния 299">
              <a:extLst>
                <a:ext uri="{FF2B5EF4-FFF2-40B4-BE49-F238E27FC236}">
                  <a16:creationId xmlns:a16="http://schemas.microsoft.com/office/drawing/2014/main" id="{6D8193DE-DE73-DAF5-01C2-73B9CEC34E06}"/>
                </a:ext>
              </a:extLst>
            </p:cNvPr>
            <p:cNvSpPr/>
            <p:nvPr/>
          </p:nvSpPr>
          <p:spPr>
            <a:xfrm>
              <a:off x="787899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" name="Полилиния 300">
              <a:extLst>
                <a:ext uri="{FF2B5EF4-FFF2-40B4-BE49-F238E27FC236}">
                  <a16:creationId xmlns:a16="http://schemas.microsoft.com/office/drawing/2014/main" id="{B9FB7AD4-D396-9277-9413-36336499C727}"/>
                </a:ext>
              </a:extLst>
            </p:cNvPr>
            <p:cNvSpPr/>
            <p:nvPr/>
          </p:nvSpPr>
          <p:spPr>
            <a:xfrm>
              <a:off x="645035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" name="Полилиния 301">
              <a:extLst>
                <a:ext uri="{FF2B5EF4-FFF2-40B4-BE49-F238E27FC236}">
                  <a16:creationId xmlns:a16="http://schemas.microsoft.com/office/drawing/2014/main" id="{CBCA8733-5354-C4DB-F412-7479A7E83432}"/>
                </a:ext>
              </a:extLst>
            </p:cNvPr>
            <p:cNvSpPr/>
            <p:nvPr/>
          </p:nvSpPr>
          <p:spPr>
            <a:xfrm>
              <a:off x="649499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" name="Полилиния 302">
              <a:extLst>
                <a:ext uri="{FF2B5EF4-FFF2-40B4-BE49-F238E27FC236}">
                  <a16:creationId xmlns:a16="http://schemas.microsoft.com/office/drawing/2014/main" id="{F67D543E-51F2-1FEC-5EB1-C97E43B2B74A}"/>
                </a:ext>
              </a:extLst>
            </p:cNvPr>
            <p:cNvSpPr/>
            <p:nvPr/>
          </p:nvSpPr>
          <p:spPr>
            <a:xfrm>
              <a:off x="658427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" name="Полилиния 303">
              <a:extLst>
                <a:ext uri="{FF2B5EF4-FFF2-40B4-BE49-F238E27FC236}">
                  <a16:creationId xmlns:a16="http://schemas.microsoft.com/office/drawing/2014/main" id="{98D01845-0925-1657-D5B6-F2EEC3DB2E75}"/>
                </a:ext>
              </a:extLst>
            </p:cNvPr>
            <p:cNvSpPr/>
            <p:nvPr/>
          </p:nvSpPr>
          <p:spPr>
            <a:xfrm>
              <a:off x="662891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" name="Полилиния 304">
              <a:extLst>
                <a:ext uri="{FF2B5EF4-FFF2-40B4-BE49-F238E27FC236}">
                  <a16:creationId xmlns:a16="http://schemas.microsoft.com/office/drawing/2014/main" id="{DF832845-A475-B3B0-21C4-745C1BF5E251}"/>
                </a:ext>
              </a:extLst>
            </p:cNvPr>
            <p:cNvSpPr/>
            <p:nvPr/>
          </p:nvSpPr>
          <p:spPr>
            <a:xfrm>
              <a:off x="667354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" name="Полилиния 305">
              <a:extLst>
                <a:ext uri="{FF2B5EF4-FFF2-40B4-BE49-F238E27FC236}">
                  <a16:creationId xmlns:a16="http://schemas.microsoft.com/office/drawing/2014/main" id="{5D492ADB-14B4-E2FF-9586-84B64F665DAF}"/>
                </a:ext>
              </a:extLst>
            </p:cNvPr>
            <p:cNvSpPr/>
            <p:nvPr/>
          </p:nvSpPr>
          <p:spPr>
            <a:xfrm>
              <a:off x="671818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" name="Полилиния 306">
              <a:extLst>
                <a:ext uri="{FF2B5EF4-FFF2-40B4-BE49-F238E27FC236}">
                  <a16:creationId xmlns:a16="http://schemas.microsoft.com/office/drawing/2014/main" id="{807693DE-4EED-1619-7112-78C59E94B6F3}"/>
                </a:ext>
              </a:extLst>
            </p:cNvPr>
            <p:cNvSpPr/>
            <p:nvPr/>
          </p:nvSpPr>
          <p:spPr>
            <a:xfrm>
              <a:off x="680746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" name="Полилиния 307">
              <a:extLst>
                <a:ext uri="{FF2B5EF4-FFF2-40B4-BE49-F238E27FC236}">
                  <a16:creationId xmlns:a16="http://schemas.microsoft.com/office/drawing/2014/main" id="{3034FD9F-2167-6065-A890-F63DFC2495C2}"/>
                </a:ext>
              </a:extLst>
            </p:cNvPr>
            <p:cNvSpPr/>
            <p:nvPr/>
          </p:nvSpPr>
          <p:spPr>
            <a:xfrm>
              <a:off x="689684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" name="Полилиния 308">
              <a:extLst>
                <a:ext uri="{FF2B5EF4-FFF2-40B4-BE49-F238E27FC236}">
                  <a16:creationId xmlns:a16="http://schemas.microsoft.com/office/drawing/2014/main" id="{B1A238E2-ACA8-0CF6-0508-BA65A8AF1DD8}"/>
                </a:ext>
              </a:extLst>
            </p:cNvPr>
            <p:cNvSpPr/>
            <p:nvPr/>
          </p:nvSpPr>
          <p:spPr>
            <a:xfrm>
              <a:off x="694148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" name="Полилиния 309">
              <a:extLst>
                <a:ext uri="{FF2B5EF4-FFF2-40B4-BE49-F238E27FC236}">
                  <a16:creationId xmlns:a16="http://schemas.microsoft.com/office/drawing/2014/main" id="{73384646-97A8-21BB-09D4-06E15B19C016}"/>
                </a:ext>
              </a:extLst>
            </p:cNvPr>
            <p:cNvSpPr/>
            <p:nvPr/>
          </p:nvSpPr>
          <p:spPr>
            <a:xfrm>
              <a:off x="7030758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" name="Полилиния 310">
              <a:extLst>
                <a:ext uri="{FF2B5EF4-FFF2-40B4-BE49-F238E27FC236}">
                  <a16:creationId xmlns:a16="http://schemas.microsoft.com/office/drawing/2014/main" id="{443670A1-57DD-30EE-51D2-8C324608873D}"/>
                </a:ext>
              </a:extLst>
            </p:cNvPr>
            <p:cNvSpPr/>
            <p:nvPr/>
          </p:nvSpPr>
          <p:spPr>
            <a:xfrm>
              <a:off x="712003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" name="Полилиния 311">
              <a:extLst>
                <a:ext uri="{FF2B5EF4-FFF2-40B4-BE49-F238E27FC236}">
                  <a16:creationId xmlns:a16="http://schemas.microsoft.com/office/drawing/2014/main" id="{BF05D027-10B4-A9DD-F31C-7BD77BAFA800}"/>
                </a:ext>
              </a:extLst>
            </p:cNvPr>
            <p:cNvSpPr/>
            <p:nvPr/>
          </p:nvSpPr>
          <p:spPr>
            <a:xfrm>
              <a:off x="7253955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" name="Полилиния 312">
              <a:extLst>
                <a:ext uri="{FF2B5EF4-FFF2-40B4-BE49-F238E27FC236}">
                  <a16:creationId xmlns:a16="http://schemas.microsoft.com/office/drawing/2014/main" id="{681F96B3-EC74-1A50-6FD5-95558101E376}"/>
                </a:ext>
              </a:extLst>
            </p:cNvPr>
            <p:cNvSpPr/>
            <p:nvPr/>
          </p:nvSpPr>
          <p:spPr>
            <a:xfrm>
              <a:off x="7298594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" name="Полилиния 313">
              <a:extLst>
                <a:ext uri="{FF2B5EF4-FFF2-40B4-BE49-F238E27FC236}">
                  <a16:creationId xmlns:a16="http://schemas.microsoft.com/office/drawing/2014/main" id="{4E324197-4564-6C30-B4D4-78560504C6C4}"/>
                </a:ext>
              </a:extLst>
            </p:cNvPr>
            <p:cNvSpPr/>
            <p:nvPr/>
          </p:nvSpPr>
          <p:spPr>
            <a:xfrm>
              <a:off x="734323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" name="Полилиния 314">
              <a:extLst>
                <a:ext uri="{FF2B5EF4-FFF2-40B4-BE49-F238E27FC236}">
                  <a16:creationId xmlns:a16="http://schemas.microsoft.com/office/drawing/2014/main" id="{F90F2086-7FB1-BF37-FC25-ED1F64ACE0EB}"/>
                </a:ext>
              </a:extLst>
            </p:cNvPr>
            <p:cNvSpPr/>
            <p:nvPr/>
          </p:nvSpPr>
          <p:spPr>
            <a:xfrm>
              <a:off x="747715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" name="Полилиния 315">
              <a:extLst>
                <a:ext uri="{FF2B5EF4-FFF2-40B4-BE49-F238E27FC236}">
                  <a16:creationId xmlns:a16="http://schemas.microsoft.com/office/drawing/2014/main" id="{A902C540-54A0-D19D-CE99-7DF900B61BDE}"/>
                </a:ext>
              </a:extLst>
            </p:cNvPr>
            <p:cNvSpPr/>
            <p:nvPr/>
          </p:nvSpPr>
          <p:spPr>
            <a:xfrm>
              <a:off x="765580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" name="Полилиния 316">
              <a:extLst>
                <a:ext uri="{FF2B5EF4-FFF2-40B4-BE49-F238E27FC236}">
                  <a16:creationId xmlns:a16="http://schemas.microsoft.com/office/drawing/2014/main" id="{394D5420-A563-14FA-63A6-639F7B8ED4AC}"/>
                </a:ext>
              </a:extLst>
            </p:cNvPr>
            <p:cNvSpPr/>
            <p:nvPr/>
          </p:nvSpPr>
          <p:spPr>
            <a:xfrm>
              <a:off x="649499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" name="Полилиния 317">
              <a:extLst>
                <a:ext uri="{FF2B5EF4-FFF2-40B4-BE49-F238E27FC236}">
                  <a16:creationId xmlns:a16="http://schemas.microsoft.com/office/drawing/2014/main" id="{EF7C7AEE-66AD-62AD-A4EA-91DC6B8F2154}"/>
                </a:ext>
              </a:extLst>
            </p:cNvPr>
            <p:cNvSpPr/>
            <p:nvPr/>
          </p:nvSpPr>
          <p:spPr>
            <a:xfrm>
              <a:off x="653963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" name="Полилиния 318">
              <a:extLst>
                <a:ext uri="{FF2B5EF4-FFF2-40B4-BE49-F238E27FC236}">
                  <a16:creationId xmlns:a16="http://schemas.microsoft.com/office/drawing/2014/main" id="{4E9897C5-5E83-C727-732E-A4BAC99C2449}"/>
                </a:ext>
              </a:extLst>
            </p:cNvPr>
            <p:cNvSpPr/>
            <p:nvPr/>
          </p:nvSpPr>
          <p:spPr>
            <a:xfrm>
              <a:off x="658427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" name="Полилиния 319">
              <a:extLst>
                <a:ext uri="{FF2B5EF4-FFF2-40B4-BE49-F238E27FC236}">
                  <a16:creationId xmlns:a16="http://schemas.microsoft.com/office/drawing/2014/main" id="{6587FBF1-6216-F1C9-90AD-566807CD375B}"/>
                </a:ext>
              </a:extLst>
            </p:cNvPr>
            <p:cNvSpPr/>
            <p:nvPr/>
          </p:nvSpPr>
          <p:spPr>
            <a:xfrm>
              <a:off x="667354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" name="Полилиния 320">
              <a:extLst>
                <a:ext uri="{FF2B5EF4-FFF2-40B4-BE49-F238E27FC236}">
                  <a16:creationId xmlns:a16="http://schemas.microsoft.com/office/drawing/2014/main" id="{02660714-21A6-A613-910A-57FA15EBF3A9}"/>
                </a:ext>
              </a:extLst>
            </p:cNvPr>
            <p:cNvSpPr/>
            <p:nvPr/>
          </p:nvSpPr>
          <p:spPr>
            <a:xfrm>
              <a:off x="676282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" name="Полилиния 321">
              <a:extLst>
                <a:ext uri="{FF2B5EF4-FFF2-40B4-BE49-F238E27FC236}">
                  <a16:creationId xmlns:a16="http://schemas.microsoft.com/office/drawing/2014/main" id="{2ECA0B2F-3FFB-2E56-A719-9AEF8D09C369}"/>
                </a:ext>
              </a:extLst>
            </p:cNvPr>
            <p:cNvSpPr/>
            <p:nvPr/>
          </p:nvSpPr>
          <p:spPr>
            <a:xfrm>
              <a:off x="6807467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" name="Полилиния 322">
              <a:extLst>
                <a:ext uri="{FF2B5EF4-FFF2-40B4-BE49-F238E27FC236}">
                  <a16:creationId xmlns:a16="http://schemas.microsoft.com/office/drawing/2014/main" id="{3E8FD7AE-BEBF-2CD9-7B1E-9E3E8A4D5DA3}"/>
                </a:ext>
              </a:extLst>
            </p:cNvPr>
            <p:cNvSpPr/>
            <p:nvPr/>
          </p:nvSpPr>
          <p:spPr>
            <a:xfrm>
              <a:off x="685210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" name="Полилиния 323">
              <a:extLst>
                <a:ext uri="{FF2B5EF4-FFF2-40B4-BE49-F238E27FC236}">
                  <a16:creationId xmlns:a16="http://schemas.microsoft.com/office/drawing/2014/main" id="{218E5B38-AE6D-1BB5-6C38-000EFA7535EA}"/>
                </a:ext>
              </a:extLst>
            </p:cNvPr>
            <p:cNvSpPr/>
            <p:nvPr/>
          </p:nvSpPr>
          <p:spPr>
            <a:xfrm>
              <a:off x="703075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" name="Полилиния 324">
              <a:extLst>
                <a:ext uri="{FF2B5EF4-FFF2-40B4-BE49-F238E27FC236}">
                  <a16:creationId xmlns:a16="http://schemas.microsoft.com/office/drawing/2014/main" id="{A0C4D864-0421-1C1E-577A-A08FBBF8D108}"/>
                </a:ext>
              </a:extLst>
            </p:cNvPr>
            <p:cNvSpPr/>
            <p:nvPr/>
          </p:nvSpPr>
          <p:spPr>
            <a:xfrm>
              <a:off x="707539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" name="Полилиния 325">
              <a:extLst>
                <a:ext uri="{FF2B5EF4-FFF2-40B4-BE49-F238E27FC236}">
                  <a16:creationId xmlns:a16="http://schemas.microsoft.com/office/drawing/2014/main" id="{EE443848-11C4-F80D-13D5-05448B9FEE95}"/>
                </a:ext>
              </a:extLst>
            </p:cNvPr>
            <p:cNvSpPr/>
            <p:nvPr/>
          </p:nvSpPr>
          <p:spPr>
            <a:xfrm>
              <a:off x="716467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" name="Полилиния 326">
              <a:extLst>
                <a:ext uri="{FF2B5EF4-FFF2-40B4-BE49-F238E27FC236}">
                  <a16:creationId xmlns:a16="http://schemas.microsoft.com/office/drawing/2014/main" id="{314501DA-B082-2549-7137-A1F1E9306AFE}"/>
                </a:ext>
              </a:extLst>
            </p:cNvPr>
            <p:cNvSpPr/>
            <p:nvPr/>
          </p:nvSpPr>
          <p:spPr>
            <a:xfrm>
              <a:off x="720931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" name="Полилиния 327">
              <a:extLst>
                <a:ext uri="{FF2B5EF4-FFF2-40B4-BE49-F238E27FC236}">
                  <a16:creationId xmlns:a16="http://schemas.microsoft.com/office/drawing/2014/main" id="{2012FEFE-BD26-BA99-B108-3736AE6CFF10}"/>
                </a:ext>
              </a:extLst>
            </p:cNvPr>
            <p:cNvSpPr/>
            <p:nvPr/>
          </p:nvSpPr>
          <p:spPr>
            <a:xfrm>
              <a:off x="725395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" name="Полилиния 328">
              <a:extLst>
                <a:ext uri="{FF2B5EF4-FFF2-40B4-BE49-F238E27FC236}">
                  <a16:creationId xmlns:a16="http://schemas.microsoft.com/office/drawing/2014/main" id="{CD0C4F9C-B916-7AE6-1FF5-FFE99DEB08E6}"/>
                </a:ext>
              </a:extLst>
            </p:cNvPr>
            <p:cNvSpPr/>
            <p:nvPr/>
          </p:nvSpPr>
          <p:spPr>
            <a:xfrm>
              <a:off x="765580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" name="Полилиния 329">
              <a:extLst>
                <a:ext uri="{FF2B5EF4-FFF2-40B4-BE49-F238E27FC236}">
                  <a16:creationId xmlns:a16="http://schemas.microsoft.com/office/drawing/2014/main" id="{43D048B3-9390-21FC-0A94-5F4D221CDA43}"/>
                </a:ext>
              </a:extLst>
            </p:cNvPr>
            <p:cNvSpPr/>
            <p:nvPr/>
          </p:nvSpPr>
          <p:spPr>
            <a:xfrm>
              <a:off x="774508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" name="Полилиния 330">
              <a:extLst>
                <a:ext uri="{FF2B5EF4-FFF2-40B4-BE49-F238E27FC236}">
                  <a16:creationId xmlns:a16="http://schemas.microsoft.com/office/drawing/2014/main" id="{B1C063D4-D982-5FC7-FDEC-268E79514ABE}"/>
                </a:ext>
              </a:extLst>
            </p:cNvPr>
            <p:cNvSpPr/>
            <p:nvPr/>
          </p:nvSpPr>
          <p:spPr>
            <a:xfrm>
              <a:off x="778972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" name="Полилиния 331">
              <a:extLst>
                <a:ext uri="{FF2B5EF4-FFF2-40B4-BE49-F238E27FC236}">
                  <a16:creationId xmlns:a16="http://schemas.microsoft.com/office/drawing/2014/main" id="{AEF038B3-025D-5779-611B-4E13B1A9B8CE}"/>
                </a:ext>
              </a:extLst>
            </p:cNvPr>
            <p:cNvSpPr/>
            <p:nvPr/>
          </p:nvSpPr>
          <p:spPr>
            <a:xfrm>
              <a:off x="7834360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" name="Полилиния 332">
              <a:extLst>
                <a:ext uri="{FF2B5EF4-FFF2-40B4-BE49-F238E27FC236}">
                  <a16:creationId xmlns:a16="http://schemas.microsoft.com/office/drawing/2014/main" id="{2DB6B9D0-5C2D-4D71-E3FC-F0D881A446E4}"/>
                </a:ext>
              </a:extLst>
            </p:cNvPr>
            <p:cNvSpPr/>
            <p:nvPr/>
          </p:nvSpPr>
          <p:spPr>
            <a:xfrm>
              <a:off x="787899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" name="Полилиния 333">
              <a:extLst>
                <a:ext uri="{FF2B5EF4-FFF2-40B4-BE49-F238E27FC236}">
                  <a16:creationId xmlns:a16="http://schemas.microsoft.com/office/drawing/2014/main" id="{41B367E5-4CE1-6BA6-D4F3-2FF9661E742A}"/>
                </a:ext>
              </a:extLst>
            </p:cNvPr>
            <p:cNvSpPr/>
            <p:nvPr/>
          </p:nvSpPr>
          <p:spPr>
            <a:xfrm>
              <a:off x="645035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" name="Полилиния 334">
              <a:extLst>
                <a:ext uri="{FF2B5EF4-FFF2-40B4-BE49-F238E27FC236}">
                  <a16:creationId xmlns:a16="http://schemas.microsoft.com/office/drawing/2014/main" id="{6E0B7A81-0D2B-1D37-6475-34E08304019B}"/>
                </a:ext>
              </a:extLst>
            </p:cNvPr>
            <p:cNvSpPr/>
            <p:nvPr/>
          </p:nvSpPr>
          <p:spPr>
            <a:xfrm>
              <a:off x="649499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" name="Полилиния 335">
              <a:extLst>
                <a:ext uri="{FF2B5EF4-FFF2-40B4-BE49-F238E27FC236}">
                  <a16:creationId xmlns:a16="http://schemas.microsoft.com/office/drawing/2014/main" id="{494AB906-EACA-A4C7-2861-2C93736D58F3}"/>
                </a:ext>
              </a:extLst>
            </p:cNvPr>
            <p:cNvSpPr/>
            <p:nvPr/>
          </p:nvSpPr>
          <p:spPr>
            <a:xfrm>
              <a:off x="658427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" name="Полилиния 336">
              <a:extLst>
                <a:ext uri="{FF2B5EF4-FFF2-40B4-BE49-F238E27FC236}">
                  <a16:creationId xmlns:a16="http://schemas.microsoft.com/office/drawing/2014/main" id="{E996BAD6-6E6C-AC78-6CBE-9ADC531329E1}"/>
                </a:ext>
              </a:extLst>
            </p:cNvPr>
            <p:cNvSpPr/>
            <p:nvPr/>
          </p:nvSpPr>
          <p:spPr>
            <a:xfrm>
              <a:off x="667354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" name="Полилиния 337">
              <a:extLst>
                <a:ext uri="{FF2B5EF4-FFF2-40B4-BE49-F238E27FC236}">
                  <a16:creationId xmlns:a16="http://schemas.microsoft.com/office/drawing/2014/main" id="{8047F53A-C018-BC98-D2C3-CF7404DD7654}"/>
                </a:ext>
              </a:extLst>
            </p:cNvPr>
            <p:cNvSpPr/>
            <p:nvPr/>
          </p:nvSpPr>
          <p:spPr>
            <a:xfrm>
              <a:off x="671818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" name="Полилиния 338">
              <a:extLst>
                <a:ext uri="{FF2B5EF4-FFF2-40B4-BE49-F238E27FC236}">
                  <a16:creationId xmlns:a16="http://schemas.microsoft.com/office/drawing/2014/main" id="{DDDA5FF5-845B-9934-2887-221D2E7F96CA}"/>
                </a:ext>
              </a:extLst>
            </p:cNvPr>
            <p:cNvSpPr/>
            <p:nvPr/>
          </p:nvSpPr>
          <p:spPr>
            <a:xfrm>
              <a:off x="685210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" name="Полилиния 339">
              <a:extLst>
                <a:ext uri="{FF2B5EF4-FFF2-40B4-BE49-F238E27FC236}">
                  <a16:creationId xmlns:a16="http://schemas.microsoft.com/office/drawing/2014/main" id="{D71998AF-51B1-B901-51AF-388C36D546DE}"/>
                </a:ext>
              </a:extLst>
            </p:cNvPr>
            <p:cNvSpPr/>
            <p:nvPr/>
          </p:nvSpPr>
          <p:spPr>
            <a:xfrm>
              <a:off x="689684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" name="Полилиния 340">
              <a:extLst>
                <a:ext uri="{FF2B5EF4-FFF2-40B4-BE49-F238E27FC236}">
                  <a16:creationId xmlns:a16="http://schemas.microsoft.com/office/drawing/2014/main" id="{8B02C068-9722-7C6A-DE8F-ACC6B55E2F8B}"/>
                </a:ext>
              </a:extLst>
            </p:cNvPr>
            <p:cNvSpPr/>
            <p:nvPr/>
          </p:nvSpPr>
          <p:spPr>
            <a:xfrm>
              <a:off x="716467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" name="Полилиния 341">
              <a:extLst>
                <a:ext uri="{FF2B5EF4-FFF2-40B4-BE49-F238E27FC236}">
                  <a16:creationId xmlns:a16="http://schemas.microsoft.com/office/drawing/2014/main" id="{5AEA93B7-F875-CE45-289C-0FDD7C7B7378}"/>
                </a:ext>
              </a:extLst>
            </p:cNvPr>
            <p:cNvSpPr/>
            <p:nvPr/>
          </p:nvSpPr>
          <p:spPr>
            <a:xfrm>
              <a:off x="7253955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" name="Полилиния 342">
              <a:extLst>
                <a:ext uri="{FF2B5EF4-FFF2-40B4-BE49-F238E27FC236}">
                  <a16:creationId xmlns:a16="http://schemas.microsoft.com/office/drawing/2014/main" id="{166620B7-DE1C-9DD8-D412-0E2807179B91}"/>
                </a:ext>
              </a:extLst>
            </p:cNvPr>
            <p:cNvSpPr/>
            <p:nvPr/>
          </p:nvSpPr>
          <p:spPr>
            <a:xfrm>
              <a:off x="734323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" name="Полилиния 343">
              <a:extLst>
                <a:ext uri="{FF2B5EF4-FFF2-40B4-BE49-F238E27FC236}">
                  <a16:creationId xmlns:a16="http://schemas.microsoft.com/office/drawing/2014/main" id="{D878C388-9103-E06F-81FA-B103825EE02A}"/>
                </a:ext>
              </a:extLst>
            </p:cNvPr>
            <p:cNvSpPr/>
            <p:nvPr/>
          </p:nvSpPr>
          <p:spPr>
            <a:xfrm>
              <a:off x="738787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" name="Полилиния 344">
              <a:extLst>
                <a:ext uri="{FF2B5EF4-FFF2-40B4-BE49-F238E27FC236}">
                  <a16:creationId xmlns:a16="http://schemas.microsoft.com/office/drawing/2014/main" id="{1C7DD5D7-B0EC-BDBE-BB81-03BC9E4C11E9}"/>
                </a:ext>
              </a:extLst>
            </p:cNvPr>
            <p:cNvSpPr/>
            <p:nvPr/>
          </p:nvSpPr>
          <p:spPr>
            <a:xfrm>
              <a:off x="747715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" name="Полилиния 345">
              <a:extLst>
                <a:ext uri="{FF2B5EF4-FFF2-40B4-BE49-F238E27FC236}">
                  <a16:creationId xmlns:a16="http://schemas.microsoft.com/office/drawing/2014/main" id="{36EE600D-E5AA-E647-24C5-3C4E9DC1F21E}"/>
                </a:ext>
              </a:extLst>
            </p:cNvPr>
            <p:cNvSpPr/>
            <p:nvPr/>
          </p:nvSpPr>
          <p:spPr>
            <a:xfrm>
              <a:off x="756652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" name="Полилиния 346">
              <a:extLst>
                <a:ext uri="{FF2B5EF4-FFF2-40B4-BE49-F238E27FC236}">
                  <a16:creationId xmlns:a16="http://schemas.microsoft.com/office/drawing/2014/main" id="{896E09F0-9F4B-E025-67A2-C37732EA536A}"/>
                </a:ext>
              </a:extLst>
            </p:cNvPr>
            <p:cNvSpPr/>
            <p:nvPr/>
          </p:nvSpPr>
          <p:spPr>
            <a:xfrm>
              <a:off x="761116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" name="Полилиния 347">
              <a:extLst>
                <a:ext uri="{FF2B5EF4-FFF2-40B4-BE49-F238E27FC236}">
                  <a16:creationId xmlns:a16="http://schemas.microsoft.com/office/drawing/2014/main" id="{B48046FA-20FC-BC59-7719-E8CBB83EE42E}"/>
                </a:ext>
              </a:extLst>
            </p:cNvPr>
            <p:cNvSpPr/>
            <p:nvPr/>
          </p:nvSpPr>
          <p:spPr>
            <a:xfrm>
              <a:off x="770044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" name="Полилиния 348">
              <a:extLst>
                <a:ext uri="{FF2B5EF4-FFF2-40B4-BE49-F238E27FC236}">
                  <a16:creationId xmlns:a16="http://schemas.microsoft.com/office/drawing/2014/main" id="{AA53CC91-FA1C-E222-3070-CC9F8B154BAD}"/>
                </a:ext>
              </a:extLst>
            </p:cNvPr>
            <p:cNvSpPr/>
            <p:nvPr/>
          </p:nvSpPr>
          <p:spPr>
            <a:xfrm>
              <a:off x="774508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" name="Полилиния 349">
              <a:extLst>
                <a:ext uri="{FF2B5EF4-FFF2-40B4-BE49-F238E27FC236}">
                  <a16:creationId xmlns:a16="http://schemas.microsoft.com/office/drawing/2014/main" id="{32A097AC-D2D9-7FFE-F8AC-6D057BCFC01D}"/>
                </a:ext>
              </a:extLst>
            </p:cNvPr>
            <p:cNvSpPr/>
            <p:nvPr/>
          </p:nvSpPr>
          <p:spPr>
            <a:xfrm>
              <a:off x="787899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" name="Полилиния 350">
              <a:extLst>
                <a:ext uri="{FF2B5EF4-FFF2-40B4-BE49-F238E27FC236}">
                  <a16:creationId xmlns:a16="http://schemas.microsoft.com/office/drawing/2014/main" id="{E0AED521-08F3-FEF2-CE07-DE29984916C5}"/>
                </a:ext>
              </a:extLst>
            </p:cNvPr>
            <p:cNvSpPr/>
            <p:nvPr/>
          </p:nvSpPr>
          <p:spPr>
            <a:xfrm>
              <a:off x="658427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" name="Полилиния 351">
              <a:extLst>
                <a:ext uri="{FF2B5EF4-FFF2-40B4-BE49-F238E27FC236}">
                  <a16:creationId xmlns:a16="http://schemas.microsoft.com/office/drawing/2014/main" id="{99EB6489-1222-C58A-1271-611BF657A822}"/>
                </a:ext>
              </a:extLst>
            </p:cNvPr>
            <p:cNvSpPr/>
            <p:nvPr/>
          </p:nvSpPr>
          <p:spPr>
            <a:xfrm>
              <a:off x="662891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" name="Полилиния 352">
              <a:extLst>
                <a:ext uri="{FF2B5EF4-FFF2-40B4-BE49-F238E27FC236}">
                  <a16:creationId xmlns:a16="http://schemas.microsoft.com/office/drawing/2014/main" id="{E4698306-7133-3553-2A53-0EE323123E40}"/>
                </a:ext>
              </a:extLst>
            </p:cNvPr>
            <p:cNvSpPr/>
            <p:nvPr/>
          </p:nvSpPr>
          <p:spPr>
            <a:xfrm>
              <a:off x="667354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" name="Полилиния 353">
              <a:extLst>
                <a:ext uri="{FF2B5EF4-FFF2-40B4-BE49-F238E27FC236}">
                  <a16:creationId xmlns:a16="http://schemas.microsoft.com/office/drawing/2014/main" id="{5FCC14CC-2B77-9323-1FA1-9DB6C321DD2C}"/>
                </a:ext>
              </a:extLst>
            </p:cNvPr>
            <p:cNvSpPr/>
            <p:nvPr/>
          </p:nvSpPr>
          <p:spPr>
            <a:xfrm>
              <a:off x="676282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" name="Полилиния 354">
              <a:extLst>
                <a:ext uri="{FF2B5EF4-FFF2-40B4-BE49-F238E27FC236}">
                  <a16:creationId xmlns:a16="http://schemas.microsoft.com/office/drawing/2014/main" id="{7570B6F6-E2BC-2E41-39DF-B1D70FA70237}"/>
                </a:ext>
              </a:extLst>
            </p:cNvPr>
            <p:cNvSpPr/>
            <p:nvPr/>
          </p:nvSpPr>
          <p:spPr>
            <a:xfrm>
              <a:off x="685210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" name="Полилиния 355">
              <a:extLst>
                <a:ext uri="{FF2B5EF4-FFF2-40B4-BE49-F238E27FC236}">
                  <a16:creationId xmlns:a16="http://schemas.microsoft.com/office/drawing/2014/main" id="{5901828D-70DC-B686-9803-AA3721253AFF}"/>
                </a:ext>
              </a:extLst>
            </p:cNvPr>
            <p:cNvSpPr/>
            <p:nvPr/>
          </p:nvSpPr>
          <p:spPr>
            <a:xfrm>
              <a:off x="694148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" name="Полилиния 356">
              <a:extLst>
                <a:ext uri="{FF2B5EF4-FFF2-40B4-BE49-F238E27FC236}">
                  <a16:creationId xmlns:a16="http://schemas.microsoft.com/office/drawing/2014/main" id="{D94CE48B-A278-6303-D34D-878DF1ABAF6A}"/>
                </a:ext>
              </a:extLst>
            </p:cNvPr>
            <p:cNvSpPr/>
            <p:nvPr/>
          </p:nvSpPr>
          <p:spPr>
            <a:xfrm>
              <a:off x="698611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" name="Полилиния 357">
              <a:extLst>
                <a:ext uri="{FF2B5EF4-FFF2-40B4-BE49-F238E27FC236}">
                  <a16:creationId xmlns:a16="http://schemas.microsoft.com/office/drawing/2014/main" id="{9BF8E8E3-19B2-DF1D-ABCB-AB85C2D080DB}"/>
                </a:ext>
              </a:extLst>
            </p:cNvPr>
            <p:cNvSpPr/>
            <p:nvPr/>
          </p:nvSpPr>
          <p:spPr>
            <a:xfrm>
              <a:off x="703075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" name="Полилиния 358">
              <a:extLst>
                <a:ext uri="{FF2B5EF4-FFF2-40B4-BE49-F238E27FC236}">
                  <a16:creationId xmlns:a16="http://schemas.microsoft.com/office/drawing/2014/main" id="{E1816DC2-578B-C588-E97E-4AE0AA0A797E}"/>
                </a:ext>
              </a:extLst>
            </p:cNvPr>
            <p:cNvSpPr/>
            <p:nvPr/>
          </p:nvSpPr>
          <p:spPr>
            <a:xfrm>
              <a:off x="707539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" name="Полилиния 359">
              <a:extLst>
                <a:ext uri="{FF2B5EF4-FFF2-40B4-BE49-F238E27FC236}">
                  <a16:creationId xmlns:a16="http://schemas.microsoft.com/office/drawing/2014/main" id="{E816D02B-79AE-A9C9-AFEC-7B6C4BB040D1}"/>
                </a:ext>
              </a:extLst>
            </p:cNvPr>
            <p:cNvSpPr/>
            <p:nvPr/>
          </p:nvSpPr>
          <p:spPr>
            <a:xfrm>
              <a:off x="7120037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" name="Полилиния 360">
              <a:extLst>
                <a:ext uri="{FF2B5EF4-FFF2-40B4-BE49-F238E27FC236}">
                  <a16:creationId xmlns:a16="http://schemas.microsoft.com/office/drawing/2014/main" id="{B4ACABDD-858B-152C-2B8D-9231867AB767}"/>
                </a:ext>
              </a:extLst>
            </p:cNvPr>
            <p:cNvSpPr/>
            <p:nvPr/>
          </p:nvSpPr>
          <p:spPr>
            <a:xfrm>
              <a:off x="716467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" name="Полилиния 361">
              <a:extLst>
                <a:ext uri="{FF2B5EF4-FFF2-40B4-BE49-F238E27FC236}">
                  <a16:creationId xmlns:a16="http://schemas.microsoft.com/office/drawing/2014/main" id="{AC7B1919-854F-28F3-5A93-B7F377999494}"/>
                </a:ext>
              </a:extLst>
            </p:cNvPr>
            <p:cNvSpPr/>
            <p:nvPr/>
          </p:nvSpPr>
          <p:spPr>
            <a:xfrm>
              <a:off x="7209315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" name="Полилиния 362">
              <a:extLst>
                <a:ext uri="{FF2B5EF4-FFF2-40B4-BE49-F238E27FC236}">
                  <a16:creationId xmlns:a16="http://schemas.microsoft.com/office/drawing/2014/main" id="{865D53BE-3423-936A-5853-A5116AB4FA06}"/>
                </a:ext>
              </a:extLst>
            </p:cNvPr>
            <p:cNvSpPr/>
            <p:nvPr/>
          </p:nvSpPr>
          <p:spPr>
            <a:xfrm>
              <a:off x="7298594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" name="Полилиния 363">
              <a:extLst>
                <a:ext uri="{FF2B5EF4-FFF2-40B4-BE49-F238E27FC236}">
                  <a16:creationId xmlns:a16="http://schemas.microsoft.com/office/drawing/2014/main" id="{978E287E-ED42-5532-61E9-41F166AEBE73}"/>
                </a:ext>
              </a:extLst>
            </p:cNvPr>
            <p:cNvSpPr/>
            <p:nvPr/>
          </p:nvSpPr>
          <p:spPr>
            <a:xfrm>
              <a:off x="7655803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" name="Полилиния 364">
              <a:extLst>
                <a:ext uri="{FF2B5EF4-FFF2-40B4-BE49-F238E27FC236}">
                  <a16:creationId xmlns:a16="http://schemas.microsoft.com/office/drawing/2014/main" id="{329B87C4-5F62-131F-E2DF-3B29750C68DC}"/>
                </a:ext>
              </a:extLst>
            </p:cNvPr>
            <p:cNvSpPr/>
            <p:nvPr/>
          </p:nvSpPr>
          <p:spPr>
            <a:xfrm>
              <a:off x="7700442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" name="Полилиния 365">
              <a:extLst>
                <a:ext uri="{FF2B5EF4-FFF2-40B4-BE49-F238E27FC236}">
                  <a16:creationId xmlns:a16="http://schemas.microsoft.com/office/drawing/2014/main" id="{F8F2B30F-C3C8-41D0-F89E-DDDD2E6E1515}"/>
                </a:ext>
              </a:extLst>
            </p:cNvPr>
            <p:cNvSpPr/>
            <p:nvPr/>
          </p:nvSpPr>
          <p:spPr>
            <a:xfrm>
              <a:off x="774508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" name="Полилиния 366">
              <a:extLst>
                <a:ext uri="{FF2B5EF4-FFF2-40B4-BE49-F238E27FC236}">
                  <a16:creationId xmlns:a16="http://schemas.microsoft.com/office/drawing/2014/main" id="{B1BA1014-91B3-6CAF-2250-C83ABE205740}"/>
                </a:ext>
              </a:extLst>
            </p:cNvPr>
            <p:cNvSpPr/>
            <p:nvPr/>
          </p:nvSpPr>
          <p:spPr>
            <a:xfrm>
              <a:off x="783436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" name="Полилиния 367">
              <a:extLst>
                <a:ext uri="{FF2B5EF4-FFF2-40B4-BE49-F238E27FC236}">
                  <a16:creationId xmlns:a16="http://schemas.microsoft.com/office/drawing/2014/main" id="{9F0C03A4-FD7A-8274-15F2-7D4839F658E0}"/>
                </a:ext>
              </a:extLst>
            </p:cNvPr>
            <p:cNvSpPr/>
            <p:nvPr/>
          </p:nvSpPr>
          <p:spPr>
            <a:xfrm>
              <a:off x="645035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" name="Полилиния 368">
              <a:extLst>
                <a:ext uri="{FF2B5EF4-FFF2-40B4-BE49-F238E27FC236}">
                  <a16:creationId xmlns:a16="http://schemas.microsoft.com/office/drawing/2014/main" id="{670BBCDC-2AE4-4740-DFB4-FD813B1289B7}"/>
                </a:ext>
              </a:extLst>
            </p:cNvPr>
            <p:cNvSpPr/>
            <p:nvPr/>
          </p:nvSpPr>
          <p:spPr>
            <a:xfrm>
              <a:off x="649499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" name="Полилиния 369">
              <a:extLst>
                <a:ext uri="{FF2B5EF4-FFF2-40B4-BE49-F238E27FC236}">
                  <a16:creationId xmlns:a16="http://schemas.microsoft.com/office/drawing/2014/main" id="{DA3DFCD5-FD22-7D08-E548-45D030BD57CF}"/>
                </a:ext>
              </a:extLst>
            </p:cNvPr>
            <p:cNvSpPr/>
            <p:nvPr/>
          </p:nvSpPr>
          <p:spPr>
            <a:xfrm>
              <a:off x="653963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" name="Полилиния 370">
              <a:extLst>
                <a:ext uri="{FF2B5EF4-FFF2-40B4-BE49-F238E27FC236}">
                  <a16:creationId xmlns:a16="http://schemas.microsoft.com/office/drawing/2014/main" id="{8BFDBA06-E4F1-67A7-CAF2-101FD3A8272C}"/>
                </a:ext>
              </a:extLst>
            </p:cNvPr>
            <p:cNvSpPr/>
            <p:nvPr/>
          </p:nvSpPr>
          <p:spPr>
            <a:xfrm>
              <a:off x="658427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" name="Полилиния 371">
              <a:extLst>
                <a:ext uri="{FF2B5EF4-FFF2-40B4-BE49-F238E27FC236}">
                  <a16:creationId xmlns:a16="http://schemas.microsoft.com/office/drawing/2014/main" id="{9EF1F016-659D-3A3E-2830-3936A883ECC8}"/>
                </a:ext>
              </a:extLst>
            </p:cNvPr>
            <p:cNvSpPr/>
            <p:nvPr/>
          </p:nvSpPr>
          <p:spPr>
            <a:xfrm>
              <a:off x="662891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" name="Полилиния 372">
              <a:extLst>
                <a:ext uri="{FF2B5EF4-FFF2-40B4-BE49-F238E27FC236}">
                  <a16:creationId xmlns:a16="http://schemas.microsoft.com/office/drawing/2014/main" id="{F2804DB5-445B-F2C1-9727-546BD51DD1E6}"/>
                </a:ext>
              </a:extLst>
            </p:cNvPr>
            <p:cNvSpPr/>
            <p:nvPr/>
          </p:nvSpPr>
          <p:spPr>
            <a:xfrm>
              <a:off x="671818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" name="Полилиния 373">
              <a:extLst>
                <a:ext uri="{FF2B5EF4-FFF2-40B4-BE49-F238E27FC236}">
                  <a16:creationId xmlns:a16="http://schemas.microsoft.com/office/drawing/2014/main" id="{6802C9D1-ED8D-DA60-635C-1E3AB009ECD1}"/>
                </a:ext>
              </a:extLst>
            </p:cNvPr>
            <p:cNvSpPr/>
            <p:nvPr/>
          </p:nvSpPr>
          <p:spPr>
            <a:xfrm>
              <a:off x="698611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" name="Полилиния 374">
              <a:extLst>
                <a:ext uri="{FF2B5EF4-FFF2-40B4-BE49-F238E27FC236}">
                  <a16:creationId xmlns:a16="http://schemas.microsoft.com/office/drawing/2014/main" id="{C651B77D-A241-209F-E96F-A30912741620}"/>
                </a:ext>
              </a:extLst>
            </p:cNvPr>
            <p:cNvSpPr/>
            <p:nvPr/>
          </p:nvSpPr>
          <p:spPr>
            <a:xfrm>
              <a:off x="7030758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" name="Полилиния 375">
              <a:extLst>
                <a:ext uri="{FF2B5EF4-FFF2-40B4-BE49-F238E27FC236}">
                  <a16:creationId xmlns:a16="http://schemas.microsoft.com/office/drawing/2014/main" id="{79C44ABC-582C-FF2F-B8F1-92C66754E9CB}"/>
                </a:ext>
              </a:extLst>
            </p:cNvPr>
            <p:cNvSpPr/>
            <p:nvPr/>
          </p:nvSpPr>
          <p:spPr>
            <a:xfrm>
              <a:off x="7120037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" name="Полилиния 376">
              <a:extLst>
                <a:ext uri="{FF2B5EF4-FFF2-40B4-BE49-F238E27FC236}">
                  <a16:creationId xmlns:a16="http://schemas.microsoft.com/office/drawing/2014/main" id="{260E2A8A-1420-D3B6-EB6B-23CABC1799AD}"/>
                </a:ext>
              </a:extLst>
            </p:cNvPr>
            <p:cNvSpPr/>
            <p:nvPr/>
          </p:nvSpPr>
          <p:spPr>
            <a:xfrm>
              <a:off x="725395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" name="Полилиния 377">
              <a:extLst>
                <a:ext uri="{FF2B5EF4-FFF2-40B4-BE49-F238E27FC236}">
                  <a16:creationId xmlns:a16="http://schemas.microsoft.com/office/drawing/2014/main" id="{17AADD70-3AE3-4659-2CFA-9D01A96AC036}"/>
                </a:ext>
              </a:extLst>
            </p:cNvPr>
            <p:cNvSpPr/>
            <p:nvPr/>
          </p:nvSpPr>
          <p:spPr>
            <a:xfrm>
              <a:off x="734323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" name="Полилиния 378">
              <a:extLst>
                <a:ext uri="{FF2B5EF4-FFF2-40B4-BE49-F238E27FC236}">
                  <a16:creationId xmlns:a16="http://schemas.microsoft.com/office/drawing/2014/main" id="{605FB15E-3E16-7AF4-358D-CE95542C9844}"/>
                </a:ext>
              </a:extLst>
            </p:cNvPr>
            <p:cNvSpPr/>
            <p:nvPr/>
          </p:nvSpPr>
          <p:spPr>
            <a:xfrm>
              <a:off x="747715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" name="Полилиния 379">
              <a:extLst>
                <a:ext uri="{FF2B5EF4-FFF2-40B4-BE49-F238E27FC236}">
                  <a16:creationId xmlns:a16="http://schemas.microsoft.com/office/drawing/2014/main" id="{7A4CB699-F012-AFF4-6CA3-CFC46A2F9864}"/>
                </a:ext>
              </a:extLst>
            </p:cNvPr>
            <p:cNvSpPr/>
            <p:nvPr/>
          </p:nvSpPr>
          <p:spPr>
            <a:xfrm>
              <a:off x="752188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" name="Полилиния 380">
              <a:extLst>
                <a:ext uri="{FF2B5EF4-FFF2-40B4-BE49-F238E27FC236}">
                  <a16:creationId xmlns:a16="http://schemas.microsoft.com/office/drawing/2014/main" id="{EAB6F394-27EE-7342-6AD4-5B1B3E7DFB15}"/>
                </a:ext>
              </a:extLst>
            </p:cNvPr>
            <p:cNvSpPr/>
            <p:nvPr/>
          </p:nvSpPr>
          <p:spPr>
            <a:xfrm>
              <a:off x="756652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" name="Полилиния 381">
              <a:extLst>
                <a:ext uri="{FF2B5EF4-FFF2-40B4-BE49-F238E27FC236}">
                  <a16:creationId xmlns:a16="http://schemas.microsoft.com/office/drawing/2014/main" id="{CE755D19-9C4F-E3AD-BD9F-5BC53CD13C47}"/>
                </a:ext>
              </a:extLst>
            </p:cNvPr>
            <p:cNvSpPr/>
            <p:nvPr/>
          </p:nvSpPr>
          <p:spPr>
            <a:xfrm>
              <a:off x="761116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" name="Полилиния 382">
              <a:extLst>
                <a:ext uri="{FF2B5EF4-FFF2-40B4-BE49-F238E27FC236}">
                  <a16:creationId xmlns:a16="http://schemas.microsoft.com/office/drawing/2014/main" id="{70F20424-5448-596F-CD56-418FB74CD75A}"/>
                </a:ext>
              </a:extLst>
            </p:cNvPr>
            <p:cNvSpPr/>
            <p:nvPr/>
          </p:nvSpPr>
          <p:spPr>
            <a:xfrm>
              <a:off x="765580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" name="Полилиния 383">
              <a:extLst>
                <a:ext uri="{FF2B5EF4-FFF2-40B4-BE49-F238E27FC236}">
                  <a16:creationId xmlns:a16="http://schemas.microsoft.com/office/drawing/2014/main" id="{64A18BAD-9CF0-C9DB-1CAD-9C4007FEC34A}"/>
                </a:ext>
              </a:extLst>
            </p:cNvPr>
            <p:cNvSpPr/>
            <p:nvPr/>
          </p:nvSpPr>
          <p:spPr>
            <a:xfrm>
              <a:off x="7700442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" name="Полилиния 384">
              <a:extLst>
                <a:ext uri="{FF2B5EF4-FFF2-40B4-BE49-F238E27FC236}">
                  <a16:creationId xmlns:a16="http://schemas.microsoft.com/office/drawing/2014/main" id="{7EE9647A-DC12-0AD6-3C99-39A764ABB04D}"/>
                </a:ext>
              </a:extLst>
            </p:cNvPr>
            <p:cNvSpPr/>
            <p:nvPr/>
          </p:nvSpPr>
          <p:spPr>
            <a:xfrm>
              <a:off x="774508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" name="Полилиния 385">
              <a:extLst>
                <a:ext uri="{FF2B5EF4-FFF2-40B4-BE49-F238E27FC236}">
                  <a16:creationId xmlns:a16="http://schemas.microsoft.com/office/drawing/2014/main" id="{652189F6-9F53-046A-EE95-E4471BA2450A}"/>
                </a:ext>
              </a:extLst>
            </p:cNvPr>
            <p:cNvSpPr/>
            <p:nvPr/>
          </p:nvSpPr>
          <p:spPr>
            <a:xfrm>
              <a:off x="783436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" name="Полилиния 386">
              <a:extLst>
                <a:ext uri="{FF2B5EF4-FFF2-40B4-BE49-F238E27FC236}">
                  <a16:creationId xmlns:a16="http://schemas.microsoft.com/office/drawing/2014/main" id="{C3884808-B9CA-74B7-D7E9-B81AED931E49}"/>
                </a:ext>
              </a:extLst>
            </p:cNvPr>
            <p:cNvSpPr/>
            <p:nvPr/>
          </p:nvSpPr>
          <p:spPr>
            <a:xfrm>
              <a:off x="787899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" name="Полилиния 387">
              <a:extLst>
                <a:ext uri="{FF2B5EF4-FFF2-40B4-BE49-F238E27FC236}">
                  <a16:creationId xmlns:a16="http://schemas.microsoft.com/office/drawing/2014/main" id="{038AA901-65D3-0763-7655-B178F29578FC}"/>
                </a:ext>
              </a:extLst>
            </p:cNvPr>
            <p:cNvSpPr/>
            <p:nvPr/>
          </p:nvSpPr>
          <p:spPr>
            <a:xfrm>
              <a:off x="6807467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" name="Полилиния 388">
              <a:extLst>
                <a:ext uri="{FF2B5EF4-FFF2-40B4-BE49-F238E27FC236}">
                  <a16:creationId xmlns:a16="http://schemas.microsoft.com/office/drawing/2014/main" id="{B4B46649-9D5E-7A46-0916-10993369531A}"/>
                </a:ext>
              </a:extLst>
            </p:cNvPr>
            <p:cNvSpPr/>
            <p:nvPr/>
          </p:nvSpPr>
          <p:spPr>
            <a:xfrm>
              <a:off x="7164676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" name="Полилиния 389">
              <a:extLst>
                <a:ext uri="{FF2B5EF4-FFF2-40B4-BE49-F238E27FC236}">
                  <a16:creationId xmlns:a16="http://schemas.microsoft.com/office/drawing/2014/main" id="{1859BE9E-DE29-C9E9-649B-D15E44BBDEC5}"/>
                </a:ext>
              </a:extLst>
            </p:cNvPr>
            <p:cNvSpPr/>
            <p:nvPr/>
          </p:nvSpPr>
          <p:spPr>
            <a:xfrm>
              <a:off x="720931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" name="Полилиния 390">
              <a:extLst>
                <a:ext uri="{FF2B5EF4-FFF2-40B4-BE49-F238E27FC236}">
                  <a16:creationId xmlns:a16="http://schemas.microsoft.com/office/drawing/2014/main" id="{4BDDB241-6507-488C-8386-E962C2C168EF}"/>
                </a:ext>
              </a:extLst>
            </p:cNvPr>
            <p:cNvSpPr/>
            <p:nvPr/>
          </p:nvSpPr>
          <p:spPr>
            <a:xfrm>
              <a:off x="738787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" name="Полилиния 391">
              <a:extLst>
                <a:ext uri="{FF2B5EF4-FFF2-40B4-BE49-F238E27FC236}">
                  <a16:creationId xmlns:a16="http://schemas.microsoft.com/office/drawing/2014/main" id="{FEF302F4-6473-D155-1E82-59934355FC52}"/>
                </a:ext>
              </a:extLst>
            </p:cNvPr>
            <p:cNvSpPr/>
            <p:nvPr/>
          </p:nvSpPr>
          <p:spPr>
            <a:xfrm>
              <a:off x="752188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" name="Полилиния 392">
              <a:extLst>
                <a:ext uri="{FF2B5EF4-FFF2-40B4-BE49-F238E27FC236}">
                  <a16:creationId xmlns:a16="http://schemas.microsoft.com/office/drawing/2014/main" id="{E7BD7EF4-0E23-50C8-2D21-E07CD2D55E9A}"/>
                </a:ext>
              </a:extLst>
            </p:cNvPr>
            <p:cNvSpPr/>
            <p:nvPr/>
          </p:nvSpPr>
          <p:spPr>
            <a:xfrm>
              <a:off x="770044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" name="Полилиния 393">
              <a:extLst>
                <a:ext uri="{FF2B5EF4-FFF2-40B4-BE49-F238E27FC236}">
                  <a16:creationId xmlns:a16="http://schemas.microsoft.com/office/drawing/2014/main" id="{D7AD064F-A458-0365-D15F-CC4CC180452A}"/>
                </a:ext>
              </a:extLst>
            </p:cNvPr>
            <p:cNvSpPr/>
            <p:nvPr/>
          </p:nvSpPr>
          <p:spPr>
            <a:xfrm>
              <a:off x="7745081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" name="Полилиния 394">
              <a:extLst>
                <a:ext uri="{FF2B5EF4-FFF2-40B4-BE49-F238E27FC236}">
                  <a16:creationId xmlns:a16="http://schemas.microsoft.com/office/drawing/2014/main" id="{319893DA-BA1F-D802-E882-6316120C7A6C}"/>
                </a:ext>
              </a:extLst>
            </p:cNvPr>
            <p:cNvSpPr/>
            <p:nvPr/>
          </p:nvSpPr>
          <p:spPr>
            <a:xfrm>
              <a:off x="7834360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" name="Полилиния 395">
              <a:extLst>
                <a:ext uri="{FF2B5EF4-FFF2-40B4-BE49-F238E27FC236}">
                  <a16:creationId xmlns:a16="http://schemas.microsoft.com/office/drawing/2014/main" id="{AE7905F5-E32C-A1DD-99DE-14ED7B8A0DE7}"/>
                </a:ext>
              </a:extLst>
            </p:cNvPr>
            <p:cNvSpPr/>
            <p:nvPr/>
          </p:nvSpPr>
          <p:spPr>
            <a:xfrm>
              <a:off x="7878999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" name="Полилиния 396">
              <a:extLst>
                <a:ext uri="{FF2B5EF4-FFF2-40B4-BE49-F238E27FC236}">
                  <a16:creationId xmlns:a16="http://schemas.microsoft.com/office/drawing/2014/main" id="{776B6160-8DF7-87B2-D776-7AD5ACDA06A4}"/>
                </a:ext>
              </a:extLst>
            </p:cNvPr>
            <p:cNvSpPr/>
            <p:nvPr/>
          </p:nvSpPr>
          <p:spPr>
            <a:xfrm>
              <a:off x="680746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" name="Полилиния 397">
              <a:extLst>
                <a:ext uri="{FF2B5EF4-FFF2-40B4-BE49-F238E27FC236}">
                  <a16:creationId xmlns:a16="http://schemas.microsoft.com/office/drawing/2014/main" id="{8A85AA49-31BF-4274-7D7F-F051958F371C}"/>
                </a:ext>
              </a:extLst>
            </p:cNvPr>
            <p:cNvSpPr/>
            <p:nvPr/>
          </p:nvSpPr>
          <p:spPr>
            <a:xfrm>
              <a:off x="685210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" name="Полилиния 398">
              <a:extLst>
                <a:ext uri="{FF2B5EF4-FFF2-40B4-BE49-F238E27FC236}">
                  <a16:creationId xmlns:a16="http://schemas.microsoft.com/office/drawing/2014/main" id="{E52382B0-EE47-9972-D9EC-2D56CE86E3D3}"/>
                </a:ext>
              </a:extLst>
            </p:cNvPr>
            <p:cNvSpPr/>
            <p:nvPr/>
          </p:nvSpPr>
          <p:spPr>
            <a:xfrm>
              <a:off x="689684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" name="Полилиния 399">
              <a:extLst>
                <a:ext uri="{FF2B5EF4-FFF2-40B4-BE49-F238E27FC236}">
                  <a16:creationId xmlns:a16="http://schemas.microsoft.com/office/drawing/2014/main" id="{439549FB-8CC5-9800-E7F9-523AD5D508E1}"/>
                </a:ext>
              </a:extLst>
            </p:cNvPr>
            <p:cNvSpPr/>
            <p:nvPr/>
          </p:nvSpPr>
          <p:spPr>
            <a:xfrm>
              <a:off x="703075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" name="Полилиния 400">
              <a:extLst>
                <a:ext uri="{FF2B5EF4-FFF2-40B4-BE49-F238E27FC236}">
                  <a16:creationId xmlns:a16="http://schemas.microsoft.com/office/drawing/2014/main" id="{A6D7376B-FEF8-C3E8-E02E-87C0479B01F9}"/>
                </a:ext>
              </a:extLst>
            </p:cNvPr>
            <p:cNvSpPr/>
            <p:nvPr/>
          </p:nvSpPr>
          <p:spPr>
            <a:xfrm>
              <a:off x="707539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" name="Полилиния 401">
              <a:extLst>
                <a:ext uri="{FF2B5EF4-FFF2-40B4-BE49-F238E27FC236}">
                  <a16:creationId xmlns:a16="http://schemas.microsoft.com/office/drawing/2014/main" id="{0A09FC0B-1E17-B9FB-6F45-13C4A06C9CAA}"/>
                </a:ext>
              </a:extLst>
            </p:cNvPr>
            <p:cNvSpPr/>
            <p:nvPr/>
          </p:nvSpPr>
          <p:spPr>
            <a:xfrm>
              <a:off x="712003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" name="Полилиния 402">
              <a:extLst>
                <a:ext uri="{FF2B5EF4-FFF2-40B4-BE49-F238E27FC236}">
                  <a16:creationId xmlns:a16="http://schemas.microsoft.com/office/drawing/2014/main" id="{819602DD-2592-9D91-1821-F5489D2A1DD9}"/>
                </a:ext>
              </a:extLst>
            </p:cNvPr>
            <p:cNvSpPr/>
            <p:nvPr/>
          </p:nvSpPr>
          <p:spPr>
            <a:xfrm>
              <a:off x="716467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" name="Полилиния 403">
              <a:extLst>
                <a:ext uri="{FF2B5EF4-FFF2-40B4-BE49-F238E27FC236}">
                  <a16:creationId xmlns:a16="http://schemas.microsoft.com/office/drawing/2014/main" id="{2CA12039-1DEC-83B3-705B-3C359F3CAD5C}"/>
                </a:ext>
              </a:extLst>
            </p:cNvPr>
            <p:cNvSpPr/>
            <p:nvPr/>
          </p:nvSpPr>
          <p:spPr>
            <a:xfrm>
              <a:off x="729859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" name="Полилиния 404">
              <a:extLst>
                <a:ext uri="{FF2B5EF4-FFF2-40B4-BE49-F238E27FC236}">
                  <a16:creationId xmlns:a16="http://schemas.microsoft.com/office/drawing/2014/main" id="{9D083FDB-98E6-4207-E3CA-66DE3A5604C0}"/>
                </a:ext>
              </a:extLst>
            </p:cNvPr>
            <p:cNvSpPr/>
            <p:nvPr/>
          </p:nvSpPr>
          <p:spPr>
            <a:xfrm>
              <a:off x="7343233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" name="Полилиния 405">
              <a:extLst>
                <a:ext uri="{FF2B5EF4-FFF2-40B4-BE49-F238E27FC236}">
                  <a16:creationId xmlns:a16="http://schemas.microsoft.com/office/drawing/2014/main" id="{D367BEE2-C170-6819-30AF-CA2EC40C5435}"/>
                </a:ext>
              </a:extLst>
            </p:cNvPr>
            <p:cNvSpPr/>
            <p:nvPr/>
          </p:nvSpPr>
          <p:spPr>
            <a:xfrm>
              <a:off x="7521885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" name="Полилиния 406">
              <a:extLst>
                <a:ext uri="{FF2B5EF4-FFF2-40B4-BE49-F238E27FC236}">
                  <a16:creationId xmlns:a16="http://schemas.microsoft.com/office/drawing/2014/main" id="{DF025C0D-E822-6797-92DD-2FE8265860A4}"/>
                </a:ext>
              </a:extLst>
            </p:cNvPr>
            <p:cNvSpPr/>
            <p:nvPr/>
          </p:nvSpPr>
          <p:spPr>
            <a:xfrm>
              <a:off x="761116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" name="Полилиния 407">
              <a:extLst>
                <a:ext uri="{FF2B5EF4-FFF2-40B4-BE49-F238E27FC236}">
                  <a16:creationId xmlns:a16="http://schemas.microsoft.com/office/drawing/2014/main" id="{6880CBCF-38D2-EEF1-2E66-CF7262395857}"/>
                </a:ext>
              </a:extLst>
            </p:cNvPr>
            <p:cNvSpPr/>
            <p:nvPr/>
          </p:nvSpPr>
          <p:spPr>
            <a:xfrm>
              <a:off x="7700442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" name="Полилиния 408">
              <a:extLst>
                <a:ext uri="{FF2B5EF4-FFF2-40B4-BE49-F238E27FC236}">
                  <a16:creationId xmlns:a16="http://schemas.microsoft.com/office/drawing/2014/main" id="{0CBABA19-3DAE-B73B-3C02-E8A30DFA3271}"/>
                </a:ext>
              </a:extLst>
            </p:cNvPr>
            <p:cNvSpPr/>
            <p:nvPr/>
          </p:nvSpPr>
          <p:spPr>
            <a:xfrm>
              <a:off x="778972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0" name="Полилиния 409">
              <a:extLst>
                <a:ext uri="{FF2B5EF4-FFF2-40B4-BE49-F238E27FC236}">
                  <a16:creationId xmlns:a16="http://schemas.microsoft.com/office/drawing/2014/main" id="{A72EA11E-D626-34A6-FCB5-6B62F3D8E185}"/>
                </a:ext>
              </a:extLst>
            </p:cNvPr>
            <p:cNvSpPr/>
            <p:nvPr/>
          </p:nvSpPr>
          <p:spPr>
            <a:xfrm>
              <a:off x="7878999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1" name="Полилиния 410">
              <a:extLst>
                <a:ext uri="{FF2B5EF4-FFF2-40B4-BE49-F238E27FC236}">
                  <a16:creationId xmlns:a16="http://schemas.microsoft.com/office/drawing/2014/main" id="{050BD28F-B4EF-659B-1134-A1BEAD55963F}"/>
                </a:ext>
              </a:extLst>
            </p:cNvPr>
            <p:cNvSpPr/>
            <p:nvPr/>
          </p:nvSpPr>
          <p:spPr>
            <a:xfrm>
              <a:off x="680746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2" name="Полилиния 411">
              <a:extLst>
                <a:ext uri="{FF2B5EF4-FFF2-40B4-BE49-F238E27FC236}">
                  <a16:creationId xmlns:a16="http://schemas.microsoft.com/office/drawing/2014/main" id="{B06EAEA4-AC02-6870-6B63-D123DAEC90D2}"/>
                </a:ext>
              </a:extLst>
            </p:cNvPr>
            <p:cNvSpPr/>
            <p:nvPr/>
          </p:nvSpPr>
          <p:spPr>
            <a:xfrm>
              <a:off x="689684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3" name="Полилиния 412">
              <a:extLst>
                <a:ext uri="{FF2B5EF4-FFF2-40B4-BE49-F238E27FC236}">
                  <a16:creationId xmlns:a16="http://schemas.microsoft.com/office/drawing/2014/main" id="{4C2C5E3B-80F1-CE29-576B-5C59E8264112}"/>
                </a:ext>
              </a:extLst>
            </p:cNvPr>
            <p:cNvSpPr/>
            <p:nvPr/>
          </p:nvSpPr>
          <p:spPr>
            <a:xfrm>
              <a:off x="694148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4" name="Полилиния 413">
              <a:extLst>
                <a:ext uri="{FF2B5EF4-FFF2-40B4-BE49-F238E27FC236}">
                  <a16:creationId xmlns:a16="http://schemas.microsoft.com/office/drawing/2014/main" id="{33CDB23F-3DD8-CB06-2FDB-350613FD6CC5}"/>
                </a:ext>
              </a:extLst>
            </p:cNvPr>
            <p:cNvSpPr/>
            <p:nvPr/>
          </p:nvSpPr>
          <p:spPr>
            <a:xfrm>
              <a:off x="698611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5" name="Полилиния 414">
              <a:extLst>
                <a:ext uri="{FF2B5EF4-FFF2-40B4-BE49-F238E27FC236}">
                  <a16:creationId xmlns:a16="http://schemas.microsoft.com/office/drawing/2014/main" id="{66FB0C7F-719B-11F0-ABD1-12BE99A98393}"/>
                </a:ext>
              </a:extLst>
            </p:cNvPr>
            <p:cNvSpPr/>
            <p:nvPr/>
          </p:nvSpPr>
          <p:spPr>
            <a:xfrm>
              <a:off x="712003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6" name="Полилиния 415">
              <a:extLst>
                <a:ext uri="{FF2B5EF4-FFF2-40B4-BE49-F238E27FC236}">
                  <a16:creationId xmlns:a16="http://schemas.microsoft.com/office/drawing/2014/main" id="{6414F5EE-9E6D-1E8C-C7CE-2B78548395B8}"/>
                </a:ext>
              </a:extLst>
            </p:cNvPr>
            <p:cNvSpPr/>
            <p:nvPr/>
          </p:nvSpPr>
          <p:spPr>
            <a:xfrm>
              <a:off x="720931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7" name="Полилиния 416">
              <a:extLst>
                <a:ext uri="{FF2B5EF4-FFF2-40B4-BE49-F238E27FC236}">
                  <a16:creationId xmlns:a16="http://schemas.microsoft.com/office/drawing/2014/main" id="{D1BC2701-9103-C24C-0303-7D3BDC02AF1A}"/>
                </a:ext>
              </a:extLst>
            </p:cNvPr>
            <p:cNvSpPr/>
            <p:nvPr/>
          </p:nvSpPr>
          <p:spPr>
            <a:xfrm>
              <a:off x="725395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8" name="Полилиния 417">
              <a:extLst>
                <a:ext uri="{FF2B5EF4-FFF2-40B4-BE49-F238E27FC236}">
                  <a16:creationId xmlns:a16="http://schemas.microsoft.com/office/drawing/2014/main" id="{B199777C-B4AF-9257-F00A-78EF4405C7EE}"/>
                </a:ext>
              </a:extLst>
            </p:cNvPr>
            <p:cNvSpPr/>
            <p:nvPr/>
          </p:nvSpPr>
          <p:spPr>
            <a:xfrm>
              <a:off x="738787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9" name="Полилиния 418">
              <a:extLst>
                <a:ext uri="{FF2B5EF4-FFF2-40B4-BE49-F238E27FC236}">
                  <a16:creationId xmlns:a16="http://schemas.microsoft.com/office/drawing/2014/main" id="{ADEA112B-0313-0B94-AA60-9ED222EBBAFB}"/>
                </a:ext>
              </a:extLst>
            </p:cNvPr>
            <p:cNvSpPr/>
            <p:nvPr/>
          </p:nvSpPr>
          <p:spPr>
            <a:xfrm>
              <a:off x="747715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0" name="Полилиния 419">
              <a:extLst>
                <a:ext uri="{FF2B5EF4-FFF2-40B4-BE49-F238E27FC236}">
                  <a16:creationId xmlns:a16="http://schemas.microsoft.com/office/drawing/2014/main" id="{469D89EE-E058-E3A2-A71A-B14A3F0828CA}"/>
                </a:ext>
              </a:extLst>
            </p:cNvPr>
            <p:cNvSpPr/>
            <p:nvPr/>
          </p:nvSpPr>
          <p:spPr>
            <a:xfrm>
              <a:off x="752188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1" name="Полилиния 420">
              <a:extLst>
                <a:ext uri="{FF2B5EF4-FFF2-40B4-BE49-F238E27FC236}">
                  <a16:creationId xmlns:a16="http://schemas.microsoft.com/office/drawing/2014/main" id="{69CA9596-02C2-9503-F66F-BF9CF9D8C64F}"/>
                </a:ext>
              </a:extLst>
            </p:cNvPr>
            <p:cNvSpPr/>
            <p:nvPr/>
          </p:nvSpPr>
          <p:spPr>
            <a:xfrm>
              <a:off x="770044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2" name="Полилиния 421">
              <a:extLst>
                <a:ext uri="{FF2B5EF4-FFF2-40B4-BE49-F238E27FC236}">
                  <a16:creationId xmlns:a16="http://schemas.microsoft.com/office/drawing/2014/main" id="{70683373-0B8D-5DD9-4A9F-4B648A6001C1}"/>
                </a:ext>
              </a:extLst>
            </p:cNvPr>
            <p:cNvSpPr/>
            <p:nvPr/>
          </p:nvSpPr>
          <p:spPr>
            <a:xfrm>
              <a:off x="774508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3" name="Полилиния 422">
              <a:extLst>
                <a:ext uri="{FF2B5EF4-FFF2-40B4-BE49-F238E27FC236}">
                  <a16:creationId xmlns:a16="http://schemas.microsoft.com/office/drawing/2014/main" id="{168E2A53-7613-3129-C17A-9D8177DAD904}"/>
                </a:ext>
              </a:extLst>
            </p:cNvPr>
            <p:cNvSpPr/>
            <p:nvPr/>
          </p:nvSpPr>
          <p:spPr>
            <a:xfrm>
              <a:off x="783436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4" name="Полилиния 423">
              <a:extLst>
                <a:ext uri="{FF2B5EF4-FFF2-40B4-BE49-F238E27FC236}">
                  <a16:creationId xmlns:a16="http://schemas.microsoft.com/office/drawing/2014/main" id="{2E717ABD-302A-4805-9723-30AFD208FE34}"/>
                </a:ext>
              </a:extLst>
            </p:cNvPr>
            <p:cNvSpPr/>
            <p:nvPr/>
          </p:nvSpPr>
          <p:spPr>
            <a:xfrm>
              <a:off x="787899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5" name="Полилиния 424">
              <a:extLst>
                <a:ext uri="{FF2B5EF4-FFF2-40B4-BE49-F238E27FC236}">
                  <a16:creationId xmlns:a16="http://schemas.microsoft.com/office/drawing/2014/main" id="{BC65A916-371F-6276-EB4D-6625E6E8F982}"/>
                </a:ext>
              </a:extLst>
            </p:cNvPr>
            <p:cNvSpPr/>
            <p:nvPr/>
          </p:nvSpPr>
          <p:spPr>
            <a:xfrm>
              <a:off x="689684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6" name="Полилиния 425">
              <a:extLst>
                <a:ext uri="{FF2B5EF4-FFF2-40B4-BE49-F238E27FC236}">
                  <a16:creationId xmlns:a16="http://schemas.microsoft.com/office/drawing/2014/main" id="{EF824ED3-03B4-B149-3E76-82250A011DD0}"/>
                </a:ext>
              </a:extLst>
            </p:cNvPr>
            <p:cNvSpPr/>
            <p:nvPr/>
          </p:nvSpPr>
          <p:spPr>
            <a:xfrm>
              <a:off x="6941480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7" name="Полилиния 426">
              <a:extLst>
                <a:ext uri="{FF2B5EF4-FFF2-40B4-BE49-F238E27FC236}">
                  <a16:creationId xmlns:a16="http://schemas.microsoft.com/office/drawing/2014/main" id="{77085844-EBEB-9823-0864-BB2176DFBE49}"/>
                </a:ext>
              </a:extLst>
            </p:cNvPr>
            <p:cNvSpPr/>
            <p:nvPr/>
          </p:nvSpPr>
          <p:spPr>
            <a:xfrm>
              <a:off x="6986119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8" name="Полилиния 427">
              <a:extLst>
                <a:ext uri="{FF2B5EF4-FFF2-40B4-BE49-F238E27FC236}">
                  <a16:creationId xmlns:a16="http://schemas.microsoft.com/office/drawing/2014/main" id="{0A2EA0DA-AFC7-3F8C-CF2A-993C67DD0613}"/>
                </a:ext>
              </a:extLst>
            </p:cNvPr>
            <p:cNvSpPr/>
            <p:nvPr/>
          </p:nvSpPr>
          <p:spPr>
            <a:xfrm>
              <a:off x="703075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9" name="Полилиния 428">
              <a:extLst>
                <a:ext uri="{FF2B5EF4-FFF2-40B4-BE49-F238E27FC236}">
                  <a16:creationId xmlns:a16="http://schemas.microsoft.com/office/drawing/2014/main" id="{699DB216-AE0E-6E4A-D384-36E22F24831C}"/>
                </a:ext>
              </a:extLst>
            </p:cNvPr>
            <p:cNvSpPr/>
            <p:nvPr/>
          </p:nvSpPr>
          <p:spPr>
            <a:xfrm>
              <a:off x="707539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0" name="Полилиния 429">
              <a:extLst>
                <a:ext uri="{FF2B5EF4-FFF2-40B4-BE49-F238E27FC236}">
                  <a16:creationId xmlns:a16="http://schemas.microsoft.com/office/drawing/2014/main" id="{F24C5D52-FBDE-56A0-7023-21D07DAAE93A}"/>
                </a:ext>
              </a:extLst>
            </p:cNvPr>
            <p:cNvSpPr/>
            <p:nvPr/>
          </p:nvSpPr>
          <p:spPr>
            <a:xfrm>
              <a:off x="7120037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1" name="Полилиния 430">
              <a:extLst>
                <a:ext uri="{FF2B5EF4-FFF2-40B4-BE49-F238E27FC236}">
                  <a16:creationId xmlns:a16="http://schemas.microsoft.com/office/drawing/2014/main" id="{88515D9E-7323-1DF2-18C1-20994A3C2748}"/>
                </a:ext>
              </a:extLst>
            </p:cNvPr>
            <p:cNvSpPr/>
            <p:nvPr/>
          </p:nvSpPr>
          <p:spPr>
            <a:xfrm>
              <a:off x="729859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2" name="Полилиния 431">
              <a:extLst>
                <a:ext uri="{FF2B5EF4-FFF2-40B4-BE49-F238E27FC236}">
                  <a16:creationId xmlns:a16="http://schemas.microsoft.com/office/drawing/2014/main" id="{67CFB4A3-D021-6905-18C0-D70DC5F14C87}"/>
                </a:ext>
              </a:extLst>
            </p:cNvPr>
            <p:cNvSpPr/>
            <p:nvPr/>
          </p:nvSpPr>
          <p:spPr>
            <a:xfrm>
              <a:off x="734323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3" name="Полилиния 432">
              <a:extLst>
                <a:ext uri="{FF2B5EF4-FFF2-40B4-BE49-F238E27FC236}">
                  <a16:creationId xmlns:a16="http://schemas.microsoft.com/office/drawing/2014/main" id="{9520EC7F-BEBA-0E28-B34C-2AFDAB92E819}"/>
                </a:ext>
              </a:extLst>
            </p:cNvPr>
            <p:cNvSpPr/>
            <p:nvPr/>
          </p:nvSpPr>
          <p:spPr>
            <a:xfrm>
              <a:off x="738787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4" name="Полилиния 433">
              <a:extLst>
                <a:ext uri="{FF2B5EF4-FFF2-40B4-BE49-F238E27FC236}">
                  <a16:creationId xmlns:a16="http://schemas.microsoft.com/office/drawing/2014/main" id="{3287127D-0395-1C3C-C601-DDBA7C4E87FB}"/>
                </a:ext>
              </a:extLst>
            </p:cNvPr>
            <p:cNvSpPr/>
            <p:nvPr/>
          </p:nvSpPr>
          <p:spPr>
            <a:xfrm>
              <a:off x="747715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5" name="Полилиния 434">
              <a:extLst>
                <a:ext uri="{FF2B5EF4-FFF2-40B4-BE49-F238E27FC236}">
                  <a16:creationId xmlns:a16="http://schemas.microsoft.com/office/drawing/2014/main" id="{6F59F8CB-BEDD-625D-64B5-2A480062F52C}"/>
                </a:ext>
              </a:extLst>
            </p:cNvPr>
            <p:cNvSpPr/>
            <p:nvPr/>
          </p:nvSpPr>
          <p:spPr>
            <a:xfrm>
              <a:off x="7521885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6" name="Полилиния 435">
              <a:extLst>
                <a:ext uri="{FF2B5EF4-FFF2-40B4-BE49-F238E27FC236}">
                  <a16:creationId xmlns:a16="http://schemas.microsoft.com/office/drawing/2014/main" id="{86D4DBA6-ED01-92B7-5DFE-C444154F6BF1}"/>
                </a:ext>
              </a:extLst>
            </p:cNvPr>
            <p:cNvSpPr/>
            <p:nvPr/>
          </p:nvSpPr>
          <p:spPr>
            <a:xfrm>
              <a:off x="756652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7" name="Полилиния 436">
              <a:extLst>
                <a:ext uri="{FF2B5EF4-FFF2-40B4-BE49-F238E27FC236}">
                  <a16:creationId xmlns:a16="http://schemas.microsoft.com/office/drawing/2014/main" id="{AC6C5763-5942-A2BA-5EDF-B43916AC897B}"/>
                </a:ext>
              </a:extLst>
            </p:cNvPr>
            <p:cNvSpPr/>
            <p:nvPr/>
          </p:nvSpPr>
          <p:spPr>
            <a:xfrm>
              <a:off x="761116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8" name="Полилиния 437">
              <a:extLst>
                <a:ext uri="{FF2B5EF4-FFF2-40B4-BE49-F238E27FC236}">
                  <a16:creationId xmlns:a16="http://schemas.microsoft.com/office/drawing/2014/main" id="{9779FCB5-3680-4E70-D393-E7401F559F94}"/>
                </a:ext>
              </a:extLst>
            </p:cNvPr>
            <p:cNvSpPr/>
            <p:nvPr/>
          </p:nvSpPr>
          <p:spPr>
            <a:xfrm>
              <a:off x="765580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9" name="Полилиния 438">
              <a:extLst>
                <a:ext uri="{FF2B5EF4-FFF2-40B4-BE49-F238E27FC236}">
                  <a16:creationId xmlns:a16="http://schemas.microsoft.com/office/drawing/2014/main" id="{B33AC3EE-E3DB-121B-5D73-ED88592BE5D5}"/>
                </a:ext>
              </a:extLst>
            </p:cNvPr>
            <p:cNvSpPr/>
            <p:nvPr/>
          </p:nvSpPr>
          <p:spPr>
            <a:xfrm>
              <a:off x="770044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0" name="Полилиния 439">
              <a:extLst>
                <a:ext uri="{FF2B5EF4-FFF2-40B4-BE49-F238E27FC236}">
                  <a16:creationId xmlns:a16="http://schemas.microsoft.com/office/drawing/2014/main" id="{75A14463-8DA3-5E1B-C554-823759639842}"/>
                </a:ext>
              </a:extLst>
            </p:cNvPr>
            <p:cNvSpPr/>
            <p:nvPr/>
          </p:nvSpPr>
          <p:spPr>
            <a:xfrm>
              <a:off x="774508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1" name="Полилиния 440">
              <a:extLst>
                <a:ext uri="{FF2B5EF4-FFF2-40B4-BE49-F238E27FC236}">
                  <a16:creationId xmlns:a16="http://schemas.microsoft.com/office/drawing/2014/main" id="{020D1FC4-EA84-F925-9ED5-93E2C0E930A2}"/>
                </a:ext>
              </a:extLst>
            </p:cNvPr>
            <p:cNvSpPr/>
            <p:nvPr/>
          </p:nvSpPr>
          <p:spPr>
            <a:xfrm>
              <a:off x="685210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2" name="Полилиния 441">
              <a:extLst>
                <a:ext uri="{FF2B5EF4-FFF2-40B4-BE49-F238E27FC236}">
                  <a16:creationId xmlns:a16="http://schemas.microsoft.com/office/drawing/2014/main" id="{D7DDFEE9-0DBE-3F06-5CE7-BB150355DFE8}"/>
                </a:ext>
              </a:extLst>
            </p:cNvPr>
            <p:cNvSpPr/>
            <p:nvPr/>
          </p:nvSpPr>
          <p:spPr>
            <a:xfrm>
              <a:off x="6896841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3" name="Полилиния 442">
              <a:extLst>
                <a:ext uri="{FF2B5EF4-FFF2-40B4-BE49-F238E27FC236}">
                  <a16:creationId xmlns:a16="http://schemas.microsoft.com/office/drawing/2014/main" id="{7D80C5B0-DC3F-8DEB-2C62-AF5E9FDBAD10}"/>
                </a:ext>
              </a:extLst>
            </p:cNvPr>
            <p:cNvSpPr/>
            <p:nvPr/>
          </p:nvSpPr>
          <p:spPr>
            <a:xfrm>
              <a:off x="694148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4" name="Полилиния 443">
              <a:extLst>
                <a:ext uri="{FF2B5EF4-FFF2-40B4-BE49-F238E27FC236}">
                  <a16:creationId xmlns:a16="http://schemas.microsoft.com/office/drawing/2014/main" id="{147AEB4B-FA2C-F8B3-3E86-6E4538030E63}"/>
                </a:ext>
              </a:extLst>
            </p:cNvPr>
            <p:cNvSpPr/>
            <p:nvPr/>
          </p:nvSpPr>
          <p:spPr>
            <a:xfrm>
              <a:off x="7030758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5" name="Полилиния 444">
              <a:extLst>
                <a:ext uri="{FF2B5EF4-FFF2-40B4-BE49-F238E27FC236}">
                  <a16:creationId xmlns:a16="http://schemas.microsoft.com/office/drawing/2014/main" id="{93A2112E-77C9-BD11-808A-CB06A221B44C}"/>
                </a:ext>
              </a:extLst>
            </p:cNvPr>
            <p:cNvSpPr/>
            <p:nvPr/>
          </p:nvSpPr>
          <p:spPr>
            <a:xfrm>
              <a:off x="716467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6" name="Полилиния 445">
              <a:extLst>
                <a:ext uri="{FF2B5EF4-FFF2-40B4-BE49-F238E27FC236}">
                  <a16:creationId xmlns:a16="http://schemas.microsoft.com/office/drawing/2014/main" id="{783A3B1B-884B-2E91-4B88-535FE0FD6BA9}"/>
                </a:ext>
              </a:extLst>
            </p:cNvPr>
            <p:cNvSpPr/>
            <p:nvPr/>
          </p:nvSpPr>
          <p:spPr>
            <a:xfrm>
              <a:off x="7209315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7" name="Полилиния 446">
              <a:extLst>
                <a:ext uri="{FF2B5EF4-FFF2-40B4-BE49-F238E27FC236}">
                  <a16:creationId xmlns:a16="http://schemas.microsoft.com/office/drawing/2014/main" id="{B42CAD9F-B21B-4FB5-98C1-B2E2FB10DAEC}"/>
                </a:ext>
              </a:extLst>
            </p:cNvPr>
            <p:cNvSpPr/>
            <p:nvPr/>
          </p:nvSpPr>
          <p:spPr>
            <a:xfrm>
              <a:off x="734323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8" name="Полилиния 447">
              <a:extLst>
                <a:ext uri="{FF2B5EF4-FFF2-40B4-BE49-F238E27FC236}">
                  <a16:creationId xmlns:a16="http://schemas.microsoft.com/office/drawing/2014/main" id="{A8AF6FB0-C188-AC47-3BCA-DF19B458C7C6}"/>
                </a:ext>
              </a:extLst>
            </p:cNvPr>
            <p:cNvSpPr/>
            <p:nvPr/>
          </p:nvSpPr>
          <p:spPr>
            <a:xfrm>
              <a:off x="738787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9" name="Полилиния 448">
              <a:extLst>
                <a:ext uri="{FF2B5EF4-FFF2-40B4-BE49-F238E27FC236}">
                  <a16:creationId xmlns:a16="http://schemas.microsoft.com/office/drawing/2014/main" id="{643FBF9F-A4CE-E011-EC0C-4F2A14FD8D65}"/>
                </a:ext>
              </a:extLst>
            </p:cNvPr>
            <p:cNvSpPr/>
            <p:nvPr/>
          </p:nvSpPr>
          <p:spPr>
            <a:xfrm>
              <a:off x="7566524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0" name="Полилиния 449">
              <a:extLst>
                <a:ext uri="{FF2B5EF4-FFF2-40B4-BE49-F238E27FC236}">
                  <a16:creationId xmlns:a16="http://schemas.microsoft.com/office/drawing/2014/main" id="{3EEB1FF3-756C-CB9B-C899-7B991303293A}"/>
                </a:ext>
              </a:extLst>
            </p:cNvPr>
            <p:cNvSpPr/>
            <p:nvPr/>
          </p:nvSpPr>
          <p:spPr>
            <a:xfrm>
              <a:off x="765580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1" name="Полилиния 450">
              <a:extLst>
                <a:ext uri="{FF2B5EF4-FFF2-40B4-BE49-F238E27FC236}">
                  <a16:creationId xmlns:a16="http://schemas.microsoft.com/office/drawing/2014/main" id="{7CA3CEFA-FD1B-4221-5712-2E8A9B666A34}"/>
                </a:ext>
              </a:extLst>
            </p:cNvPr>
            <p:cNvSpPr/>
            <p:nvPr/>
          </p:nvSpPr>
          <p:spPr>
            <a:xfrm>
              <a:off x="770044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2" name="Полилиния 451">
              <a:extLst>
                <a:ext uri="{FF2B5EF4-FFF2-40B4-BE49-F238E27FC236}">
                  <a16:creationId xmlns:a16="http://schemas.microsoft.com/office/drawing/2014/main" id="{9C2A6B9B-DA1F-FBB5-ECFF-A6A95A5B6BC8}"/>
                </a:ext>
              </a:extLst>
            </p:cNvPr>
            <p:cNvSpPr/>
            <p:nvPr/>
          </p:nvSpPr>
          <p:spPr>
            <a:xfrm>
              <a:off x="783436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3" name="Полилиния 452">
              <a:extLst>
                <a:ext uri="{FF2B5EF4-FFF2-40B4-BE49-F238E27FC236}">
                  <a16:creationId xmlns:a16="http://schemas.microsoft.com/office/drawing/2014/main" id="{81E5E4F6-B7B7-26AD-EDD2-5370FC214778}"/>
                </a:ext>
              </a:extLst>
            </p:cNvPr>
            <p:cNvSpPr/>
            <p:nvPr/>
          </p:nvSpPr>
          <p:spPr>
            <a:xfrm>
              <a:off x="6807467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4" name="Полилиния 453">
              <a:extLst>
                <a:ext uri="{FF2B5EF4-FFF2-40B4-BE49-F238E27FC236}">
                  <a16:creationId xmlns:a16="http://schemas.microsoft.com/office/drawing/2014/main" id="{17CC793B-78D5-6115-B49A-4E994381256A}"/>
                </a:ext>
              </a:extLst>
            </p:cNvPr>
            <p:cNvSpPr/>
            <p:nvPr/>
          </p:nvSpPr>
          <p:spPr>
            <a:xfrm>
              <a:off x="685210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5" name="Полилиния 454">
              <a:extLst>
                <a:ext uri="{FF2B5EF4-FFF2-40B4-BE49-F238E27FC236}">
                  <a16:creationId xmlns:a16="http://schemas.microsoft.com/office/drawing/2014/main" id="{5BA747D0-0E59-CD2B-CFF1-99F11A45F84D}"/>
                </a:ext>
              </a:extLst>
            </p:cNvPr>
            <p:cNvSpPr/>
            <p:nvPr/>
          </p:nvSpPr>
          <p:spPr>
            <a:xfrm>
              <a:off x="694148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6" name="Полилиния 455">
              <a:extLst>
                <a:ext uri="{FF2B5EF4-FFF2-40B4-BE49-F238E27FC236}">
                  <a16:creationId xmlns:a16="http://schemas.microsoft.com/office/drawing/2014/main" id="{E6BB87AD-64F4-8A71-6187-5070EAC71BBC}"/>
                </a:ext>
              </a:extLst>
            </p:cNvPr>
            <p:cNvSpPr/>
            <p:nvPr/>
          </p:nvSpPr>
          <p:spPr>
            <a:xfrm>
              <a:off x="7075398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7" name="Полилиния 456">
              <a:extLst>
                <a:ext uri="{FF2B5EF4-FFF2-40B4-BE49-F238E27FC236}">
                  <a16:creationId xmlns:a16="http://schemas.microsoft.com/office/drawing/2014/main" id="{15A78737-8226-D178-6B45-21593A86A436}"/>
                </a:ext>
              </a:extLst>
            </p:cNvPr>
            <p:cNvSpPr/>
            <p:nvPr/>
          </p:nvSpPr>
          <p:spPr>
            <a:xfrm>
              <a:off x="716467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8" name="Полилиния 457">
              <a:extLst>
                <a:ext uri="{FF2B5EF4-FFF2-40B4-BE49-F238E27FC236}">
                  <a16:creationId xmlns:a16="http://schemas.microsoft.com/office/drawing/2014/main" id="{7355F47C-7F6D-6FE2-4B47-8BC4541E8C6F}"/>
                </a:ext>
              </a:extLst>
            </p:cNvPr>
            <p:cNvSpPr/>
            <p:nvPr/>
          </p:nvSpPr>
          <p:spPr>
            <a:xfrm>
              <a:off x="720931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9" name="Полилиния 458">
              <a:extLst>
                <a:ext uri="{FF2B5EF4-FFF2-40B4-BE49-F238E27FC236}">
                  <a16:creationId xmlns:a16="http://schemas.microsoft.com/office/drawing/2014/main" id="{8FABF401-7C6C-729E-EE8D-CAC8E4EE9FBF}"/>
                </a:ext>
              </a:extLst>
            </p:cNvPr>
            <p:cNvSpPr/>
            <p:nvPr/>
          </p:nvSpPr>
          <p:spPr>
            <a:xfrm>
              <a:off x="725395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0" name="Полилиния 459">
              <a:extLst>
                <a:ext uri="{FF2B5EF4-FFF2-40B4-BE49-F238E27FC236}">
                  <a16:creationId xmlns:a16="http://schemas.microsoft.com/office/drawing/2014/main" id="{FBEEA746-8928-C6A6-D340-10B98264B288}"/>
                </a:ext>
              </a:extLst>
            </p:cNvPr>
            <p:cNvSpPr/>
            <p:nvPr/>
          </p:nvSpPr>
          <p:spPr>
            <a:xfrm>
              <a:off x="7298594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1" name="Полилиния 460">
              <a:extLst>
                <a:ext uri="{FF2B5EF4-FFF2-40B4-BE49-F238E27FC236}">
                  <a16:creationId xmlns:a16="http://schemas.microsoft.com/office/drawing/2014/main" id="{841DE9F3-AE8A-93D1-42CB-910C4D8C3EB9}"/>
                </a:ext>
              </a:extLst>
            </p:cNvPr>
            <p:cNvSpPr/>
            <p:nvPr/>
          </p:nvSpPr>
          <p:spPr>
            <a:xfrm>
              <a:off x="7343233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2" name="Полилиния 461">
              <a:extLst>
                <a:ext uri="{FF2B5EF4-FFF2-40B4-BE49-F238E27FC236}">
                  <a16:creationId xmlns:a16="http://schemas.microsoft.com/office/drawing/2014/main" id="{CDDAA709-2264-F67B-26C6-F4794758066D}"/>
                </a:ext>
              </a:extLst>
            </p:cNvPr>
            <p:cNvSpPr/>
            <p:nvPr/>
          </p:nvSpPr>
          <p:spPr>
            <a:xfrm>
              <a:off x="743251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3" name="Полилиния 462">
              <a:extLst>
                <a:ext uri="{FF2B5EF4-FFF2-40B4-BE49-F238E27FC236}">
                  <a16:creationId xmlns:a16="http://schemas.microsoft.com/office/drawing/2014/main" id="{C636905F-065B-A932-CD2D-B432AC56340D}"/>
                </a:ext>
              </a:extLst>
            </p:cNvPr>
            <p:cNvSpPr/>
            <p:nvPr/>
          </p:nvSpPr>
          <p:spPr>
            <a:xfrm>
              <a:off x="747715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4" name="Полилиния 463">
              <a:extLst>
                <a:ext uri="{FF2B5EF4-FFF2-40B4-BE49-F238E27FC236}">
                  <a16:creationId xmlns:a16="http://schemas.microsoft.com/office/drawing/2014/main" id="{8591389E-4252-6E01-B112-ABE2106DB9D2}"/>
                </a:ext>
              </a:extLst>
            </p:cNvPr>
            <p:cNvSpPr/>
            <p:nvPr/>
          </p:nvSpPr>
          <p:spPr>
            <a:xfrm>
              <a:off x="752188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5" name="Полилиния 464">
              <a:extLst>
                <a:ext uri="{FF2B5EF4-FFF2-40B4-BE49-F238E27FC236}">
                  <a16:creationId xmlns:a16="http://schemas.microsoft.com/office/drawing/2014/main" id="{75BCF526-4C4F-C4F6-4FDB-C762B9D9FAC7}"/>
                </a:ext>
              </a:extLst>
            </p:cNvPr>
            <p:cNvSpPr/>
            <p:nvPr/>
          </p:nvSpPr>
          <p:spPr>
            <a:xfrm>
              <a:off x="770044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6" name="Полилиния 465">
              <a:extLst>
                <a:ext uri="{FF2B5EF4-FFF2-40B4-BE49-F238E27FC236}">
                  <a16:creationId xmlns:a16="http://schemas.microsoft.com/office/drawing/2014/main" id="{4D30555B-DD67-9838-B708-593CBD6EE873}"/>
                </a:ext>
              </a:extLst>
            </p:cNvPr>
            <p:cNvSpPr/>
            <p:nvPr/>
          </p:nvSpPr>
          <p:spPr>
            <a:xfrm>
              <a:off x="774508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7" name="Полилиния 466">
              <a:extLst>
                <a:ext uri="{FF2B5EF4-FFF2-40B4-BE49-F238E27FC236}">
                  <a16:creationId xmlns:a16="http://schemas.microsoft.com/office/drawing/2014/main" id="{2E56F155-91AA-A49A-7EC1-F17193F6D2BC}"/>
                </a:ext>
              </a:extLst>
            </p:cNvPr>
            <p:cNvSpPr/>
            <p:nvPr/>
          </p:nvSpPr>
          <p:spPr>
            <a:xfrm>
              <a:off x="783436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8" name="Полилиния 467">
              <a:extLst>
                <a:ext uri="{FF2B5EF4-FFF2-40B4-BE49-F238E27FC236}">
                  <a16:creationId xmlns:a16="http://schemas.microsoft.com/office/drawing/2014/main" id="{8DF1466C-57AD-18E0-20C0-AC11DE2DB88D}"/>
                </a:ext>
              </a:extLst>
            </p:cNvPr>
            <p:cNvSpPr/>
            <p:nvPr/>
          </p:nvSpPr>
          <p:spPr>
            <a:xfrm>
              <a:off x="7878999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9" name="Полилиния 468">
              <a:extLst>
                <a:ext uri="{FF2B5EF4-FFF2-40B4-BE49-F238E27FC236}">
                  <a16:creationId xmlns:a16="http://schemas.microsoft.com/office/drawing/2014/main" id="{2DEC2EC7-4385-2241-F109-97F43E5AF3DA}"/>
                </a:ext>
              </a:extLst>
            </p:cNvPr>
            <p:cNvSpPr/>
            <p:nvPr/>
          </p:nvSpPr>
          <p:spPr>
            <a:xfrm>
              <a:off x="6941480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0" name="Полилиния 469">
              <a:extLst>
                <a:ext uri="{FF2B5EF4-FFF2-40B4-BE49-F238E27FC236}">
                  <a16:creationId xmlns:a16="http://schemas.microsoft.com/office/drawing/2014/main" id="{CA00C964-BE88-A067-1987-931BE77B47C5}"/>
                </a:ext>
              </a:extLst>
            </p:cNvPr>
            <p:cNvSpPr/>
            <p:nvPr/>
          </p:nvSpPr>
          <p:spPr>
            <a:xfrm>
              <a:off x="6986119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1" name="Полилиния 470">
              <a:extLst>
                <a:ext uri="{FF2B5EF4-FFF2-40B4-BE49-F238E27FC236}">
                  <a16:creationId xmlns:a16="http://schemas.microsoft.com/office/drawing/2014/main" id="{DF9FE23C-A3B5-7D7C-1989-0F9008AEC848}"/>
                </a:ext>
              </a:extLst>
            </p:cNvPr>
            <p:cNvSpPr/>
            <p:nvPr/>
          </p:nvSpPr>
          <p:spPr>
            <a:xfrm>
              <a:off x="7120037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2" name="Полилиния 471">
              <a:extLst>
                <a:ext uri="{FF2B5EF4-FFF2-40B4-BE49-F238E27FC236}">
                  <a16:creationId xmlns:a16="http://schemas.microsoft.com/office/drawing/2014/main" id="{8C5BDB62-BC4A-26CB-E101-704C3766CF83}"/>
                </a:ext>
              </a:extLst>
            </p:cNvPr>
            <p:cNvSpPr/>
            <p:nvPr/>
          </p:nvSpPr>
          <p:spPr>
            <a:xfrm>
              <a:off x="7253955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3" name="Полилиния 472">
              <a:extLst>
                <a:ext uri="{FF2B5EF4-FFF2-40B4-BE49-F238E27FC236}">
                  <a16:creationId xmlns:a16="http://schemas.microsoft.com/office/drawing/2014/main" id="{64F1D737-1C5C-FEB4-7FBD-E732CD902DEE}"/>
                </a:ext>
              </a:extLst>
            </p:cNvPr>
            <p:cNvSpPr/>
            <p:nvPr/>
          </p:nvSpPr>
          <p:spPr>
            <a:xfrm>
              <a:off x="729859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4" name="Полилиния 473">
              <a:extLst>
                <a:ext uri="{FF2B5EF4-FFF2-40B4-BE49-F238E27FC236}">
                  <a16:creationId xmlns:a16="http://schemas.microsoft.com/office/drawing/2014/main" id="{13167AAA-3418-2BBE-DED7-C5D78A100C44}"/>
                </a:ext>
              </a:extLst>
            </p:cNvPr>
            <p:cNvSpPr/>
            <p:nvPr/>
          </p:nvSpPr>
          <p:spPr>
            <a:xfrm>
              <a:off x="7387872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5" name="Полилиния 474">
              <a:extLst>
                <a:ext uri="{FF2B5EF4-FFF2-40B4-BE49-F238E27FC236}">
                  <a16:creationId xmlns:a16="http://schemas.microsoft.com/office/drawing/2014/main" id="{285D064A-6B35-2F12-71C1-019A0B8FFA7B}"/>
                </a:ext>
              </a:extLst>
            </p:cNvPr>
            <p:cNvSpPr/>
            <p:nvPr/>
          </p:nvSpPr>
          <p:spPr>
            <a:xfrm>
              <a:off x="747715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6" name="Полилиния 475">
              <a:extLst>
                <a:ext uri="{FF2B5EF4-FFF2-40B4-BE49-F238E27FC236}">
                  <a16:creationId xmlns:a16="http://schemas.microsoft.com/office/drawing/2014/main" id="{3AAF8AFA-4104-25E9-F3CC-C82665C180DB}"/>
                </a:ext>
              </a:extLst>
            </p:cNvPr>
            <p:cNvSpPr/>
            <p:nvPr/>
          </p:nvSpPr>
          <p:spPr>
            <a:xfrm>
              <a:off x="756652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7" name="Полилиния 476">
              <a:extLst>
                <a:ext uri="{FF2B5EF4-FFF2-40B4-BE49-F238E27FC236}">
                  <a16:creationId xmlns:a16="http://schemas.microsoft.com/office/drawing/2014/main" id="{4FF0844A-671B-CE89-CF8E-9B8B53DCC60C}"/>
                </a:ext>
              </a:extLst>
            </p:cNvPr>
            <p:cNvSpPr/>
            <p:nvPr/>
          </p:nvSpPr>
          <p:spPr>
            <a:xfrm>
              <a:off x="761116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8" name="Полилиния 477">
              <a:extLst>
                <a:ext uri="{FF2B5EF4-FFF2-40B4-BE49-F238E27FC236}">
                  <a16:creationId xmlns:a16="http://schemas.microsoft.com/office/drawing/2014/main" id="{77122892-E075-32BC-D39E-553D417EFECE}"/>
                </a:ext>
              </a:extLst>
            </p:cNvPr>
            <p:cNvSpPr/>
            <p:nvPr/>
          </p:nvSpPr>
          <p:spPr>
            <a:xfrm>
              <a:off x="774508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9" name="Полилиния 478">
              <a:extLst>
                <a:ext uri="{FF2B5EF4-FFF2-40B4-BE49-F238E27FC236}">
                  <a16:creationId xmlns:a16="http://schemas.microsoft.com/office/drawing/2014/main" id="{575BC9A0-D979-2EF9-6F41-58DC6EB6CA8A}"/>
                </a:ext>
              </a:extLst>
            </p:cNvPr>
            <p:cNvSpPr/>
            <p:nvPr/>
          </p:nvSpPr>
          <p:spPr>
            <a:xfrm>
              <a:off x="6852106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0" name="Полилиния 479">
              <a:extLst>
                <a:ext uri="{FF2B5EF4-FFF2-40B4-BE49-F238E27FC236}">
                  <a16:creationId xmlns:a16="http://schemas.microsoft.com/office/drawing/2014/main" id="{97C3DCC2-822C-66B2-5613-48168EAAB2D6}"/>
                </a:ext>
              </a:extLst>
            </p:cNvPr>
            <p:cNvSpPr/>
            <p:nvPr/>
          </p:nvSpPr>
          <p:spPr>
            <a:xfrm>
              <a:off x="6896841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1" name="Полилиния 480">
              <a:extLst>
                <a:ext uri="{FF2B5EF4-FFF2-40B4-BE49-F238E27FC236}">
                  <a16:creationId xmlns:a16="http://schemas.microsoft.com/office/drawing/2014/main" id="{11AA8A76-7014-2C95-9542-722D2F4C0298}"/>
                </a:ext>
              </a:extLst>
            </p:cNvPr>
            <p:cNvSpPr/>
            <p:nvPr/>
          </p:nvSpPr>
          <p:spPr>
            <a:xfrm>
              <a:off x="698611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2" name="Полилиния 481">
              <a:extLst>
                <a:ext uri="{FF2B5EF4-FFF2-40B4-BE49-F238E27FC236}">
                  <a16:creationId xmlns:a16="http://schemas.microsoft.com/office/drawing/2014/main" id="{BA71871B-B108-99AF-8041-95E6BC728298}"/>
                </a:ext>
              </a:extLst>
            </p:cNvPr>
            <p:cNvSpPr/>
            <p:nvPr/>
          </p:nvSpPr>
          <p:spPr>
            <a:xfrm>
              <a:off x="703075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3" name="Полилиния 482">
              <a:extLst>
                <a:ext uri="{FF2B5EF4-FFF2-40B4-BE49-F238E27FC236}">
                  <a16:creationId xmlns:a16="http://schemas.microsoft.com/office/drawing/2014/main" id="{E2D82460-7BBD-7B17-F6A2-EF597BCA96DB}"/>
                </a:ext>
              </a:extLst>
            </p:cNvPr>
            <p:cNvSpPr/>
            <p:nvPr/>
          </p:nvSpPr>
          <p:spPr>
            <a:xfrm>
              <a:off x="707539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4" name="Полилиния 483">
              <a:extLst>
                <a:ext uri="{FF2B5EF4-FFF2-40B4-BE49-F238E27FC236}">
                  <a16:creationId xmlns:a16="http://schemas.microsoft.com/office/drawing/2014/main" id="{9B00D409-924C-49A4-75AA-87A08E2E5092}"/>
                </a:ext>
              </a:extLst>
            </p:cNvPr>
            <p:cNvSpPr/>
            <p:nvPr/>
          </p:nvSpPr>
          <p:spPr>
            <a:xfrm>
              <a:off x="720931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5" name="Полилиния 484">
              <a:extLst>
                <a:ext uri="{FF2B5EF4-FFF2-40B4-BE49-F238E27FC236}">
                  <a16:creationId xmlns:a16="http://schemas.microsoft.com/office/drawing/2014/main" id="{7E088035-55AF-F91A-14DC-104BAF880600}"/>
                </a:ext>
              </a:extLst>
            </p:cNvPr>
            <p:cNvSpPr/>
            <p:nvPr/>
          </p:nvSpPr>
          <p:spPr>
            <a:xfrm>
              <a:off x="725395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6" name="Полилиния 485">
              <a:extLst>
                <a:ext uri="{FF2B5EF4-FFF2-40B4-BE49-F238E27FC236}">
                  <a16:creationId xmlns:a16="http://schemas.microsoft.com/office/drawing/2014/main" id="{A0507027-0199-4104-7FA1-F232B225A01B}"/>
                </a:ext>
              </a:extLst>
            </p:cNvPr>
            <p:cNvSpPr/>
            <p:nvPr/>
          </p:nvSpPr>
          <p:spPr>
            <a:xfrm>
              <a:off x="738787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7" name="Полилиния 486">
              <a:extLst>
                <a:ext uri="{FF2B5EF4-FFF2-40B4-BE49-F238E27FC236}">
                  <a16:creationId xmlns:a16="http://schemas.microsoft.com/office/drawing/2014/main" id="{87A68F4B-04FF-047F-C8C5-FF157F19E543}"/>
                </a:ext>
              </a:extLst>
            </p:cNvPr>
            <p:cNvSpPr/>
            <p:nvPr/>
          </p:nvSpPr>
          <p:spPr>
            <a:xfrm>
              <a:off x="752188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8" name="Полилиния 487">
              <a:extLst>
                <a:ext uri="{FF2B5EF4-FFF2-40B4-BE49-F238E27FC236}">
                  <a16:creationId xmlns:a16="http://schemas.microsoft.com/office/drawing/2014/main" id="{3557CD1C-CB21-C5FA-DC8A-BFCDED1BCDD9}"/>
                </a:ext>
              </a:extLst>
            </p:cNvPr>
            <p:cNvSpPr/>
            <p:nvPr/>
          </p:nvSpPr>
          <p:spPr>
            <a:xfrm>
              <a:off x="770044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9" name="Полилиния 488">
              <a:extLst>
                <a:ext uri="{FF2B5EF4-FFF2-40B4-BE49-F238E27FC236}">
                  <a16:creationId xmlns:a16="http://schemas.microsoft.com/office/drawing/2014/main" id="{8A2D6F85-BCA9-075E-D1EC-4FC62C9AB006}"/>
                </a:ext>
              </a:extLst>
            </p:cNvPr>
            <p:cNvSpPr/>
            <p:nvPr/>
          </p:nvSpPr>
          <p:spPr>
            <a:xfrm>
              <a:off x="787899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0" name="Полилиния 489">
              <a:extLst>
                <a:ext uri="{FF2B5EF4-FFF2-40B4-BE49-F238E27FC236}">
                  <a16:creationId xmlns:a16="http://schemas.microsoft.com/office/drawing/2014/main" id="{6E79BB0A-5B6D-7C86-4391-A8E152EB2152}"/>
                </a:ext>
              </a:extLst>
            </p:cNvPr>
            <p:cNvSpPr/>
            <p:nvPr/>
          </p:nvSpPr>
          <p:spPr>
            <a:xfrm>
              <a:off x="645339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4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1" name="Полилиния 490">
              <a:extLst>
                <a:ext uri="{FF2B5EF4-FFF2-40B4-BE49-F238E27FC236}">
                  <a16:creationId xmlns:a16="http://schemas.microsoft.com/office/drawing/2014/main" id="{979D0133-9BF5-8A5C-58C0-F40EB6B663B7}"/>
                </a:ext>
              </a:extLst>
            </p:cNvPr>
            <p:cNvSpPr/>
            <p:nvPr/>
          </p:nvSpPr>
          <p:spPr>
            <a:xfrm>
              <a:off x="761420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4" y="0"/>
                    <a:pt x="0" y="68364"/>
                    <a:pt x="0" y="152659"/>
                  </a:cubicBezTo>
                  <a:cubicBezTo>
                    <a:pt x="0" y="236953"/>
                    <a:pt x="68624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2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2" name="Полилиния 491">
              <a:extLst>
                <a:ext uri="{FF2B5EF4-FFF2-40B4-BE49-F238E27FC236}">
                  <a16:creationId xmlns:a16="http://schemas.microsoft.com/office/drawing/2014/main" id="{A055C0CB-0CAB-F054-F33E-CE72D713A0E0}"/>
                </a:ext>
              </a:extLst>
            </p:cNvPr>
            <p:cNvSpPr/>
            <p:nvPr/>
          </p:nvSpPr>
          <p:spPr>
            <a:xfrm>
              <a:off x="6453399" y="3843927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5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5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3" name="Полилиния 492">
              <a:extLst>
                <a:ext uri="{FF2B5EF4-FFF2-40B4-BE49-F238E27FC236}">
                  <a16:creationId xmlns:a16="http://schemas.microsoft.com/office/drawing/2014/main" id="{C10E9D75-E8E0-EEEF-40E1-2DFEB1E1BF4F}"/>
                </a:ext>
              </a:extLst>
            </p:cNvPr>
            <p:cNvSpPr/>
            <p:nvPr/>
          </p:nvSpPr>
          <p:spPr>
            <a:xfrm>
              <a:off x="6539631" y="2773421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4" name="Полилиния 493">
              <a:extLst>
                <a:ext uri="{FF2B5EF4-FFF2-40B4-BE49-F238E27FC236}">
                  <a16:creationId xmlns:a16="http://schemas.microsoft.com/office/drawing/2014/main" id="{5437FE94-FFAB-980F-5E9D-90418BF04D8F}"/>
                </a:ext>
              </a:extLst>
            </p:cNvPr>
            <p:cNvSpPr/>
            <p:nvPr/>
          </p:nvSpPr>
          <p:spPr>
            <a:xfrm>
              <a:off x="7700442" y="2773421"/>
              <a:ext cx="131347" cy="130850"/>
            </a:xfrm>
            <a:custGeom>
              <a:avLst/>
              <a:gdLst>
                <a:gd name="connsiteX0" fmla="*/ 131348 w 131347"/>
                <a:gd name="connsiteY0" fmla="*/ 65425 h 130850"/>
                <a:gd name="connsiteX1" fmla="*/ 65674 w 131347"/>
                <a:gd name="connsiteY1" fmla="*/ 130850 h 130850"/>
                <a:gd name="connsiteX2" fmla="*/ 0 w 131347"/>
                <a:gd name="connsiteY2" fmla="*/ 65425 h 130850"/>
                <a:gd name="connsiteX3" fmla="*/ 65674 w 131347"/>
                <a:gd name="connsiteY3" fmla="*/ 0 h 130850"/>
                <a:gd name="connsiteX4" fmla="*/ 131348 w 131347"/>
                <a:gd name="connsiteY4" fmla="*/ 65425 h 130850"/>
                <a:gd name="connsiteX5" fmla="*/ 131348 w 131347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7" h="130850">
                  <a:moveTo>
                    <a:pt x="131348" y="65425"/>
                  </a:moveTo>
                  <a:cubicBezTo>
                    <a:pt x="131348" y="101551"/>
                    <a:pt x="101937" y="130850"/>
                    <a:pt x="65674" y="130850"/>
                  </a:cubicBezTo>
                  <a:cubicBezTo>
                    <a:pt x="29410" y="130850"/>
                    <a:pt x="0" y="101551"/>
                    <a:pt x="0" y="65425"/>
                  </a:cubicBezTo>
                  <a:cubicBezTo>
                    <a:pt x="0" y="29299"/>
                    <a:pt x="29410" y="0"/>
                    <a:pt x="65674" y="0"/>
                  </a:cubicBezTo>
                  <a:cubicBezTo>
                    <a:pt x="101937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5" name="Полилиния 494">
              <a:extLst>
                <a:ext uri="{FF2B5EF4-FFF2-40B4-BE49-F238E27FC236}">
                  <a16:creationId xmlns:a16="http://schemas.microsoft.com/office/drawing/2014/main" id="{59E83F1E-22EB-67B1-4EAF-FCC9F71C4A11}"/>
                </a:ext>
              </a:extLst>
            </p:cNvPr>
            <p:cNvSpPr/>
            <p:nvPr/>
          </p:nvSpPr>
          <p:spPr>
            <a:xfrm>
              <a:off x="6539631" y="3929834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6" name="Полилиния 495">
              <a:extLst>
                <a:ext uri="{FF2B5EF4-FFF2-40B4-BE49-F238E27FC236}">
                  <a16:creationId xmlns:a16="http://schemas.microsoft.com/office/drawing/2014/main" id="{289DBC7F-B6D3-3DD0-1EC7-EE1417318E56}"/>
                </a:ext>
              </a:extLst>
            </p:cNvPr>
            <p:cNvSpPr/>
            <p:nvPr/>
          </p:nvSpPr>
          <p:spPr>
            <a:xfrm>
              <a:off x="6941480" y="3173652"/>
              <a:ext cx="491126" cy="489266"/>
            </a:xfrm>
            <a:custGeom>
              <a:avLst/>
              <a:gdLst>
                <a:gd name="connsiteX0" fmla="*/ 0 w 491126"/>
                <a:gd name="connsiteY0" fmla="*/ 244633 h 489266"/>
                <a:gd name="connsiteX1" fmla="*/ 245564 w 491126"/>
                <a:gd name="connsiteY1" fmla="*/ 0 h 489266"/>
                <a:gd name="connsiteX2" fmla="*/ 491127 w 491126"/>
                <a:gd name="connsiteY2" fmla="*/ 244633 h 489266"/>
                <a:gd name="connsiteX3" fmla="*/ 245564 w 491126"/>
                <a:gd name="connsiteY3" fmla="*/ 489266 h 489266"/>
                <a:gd name="connsiteX4" fmla="*/ 0 w 491126"/>
                <a:gd name="connsiteY4" fmla="*/ 244633 h 489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126" h="489266">
                  <a:moveTo>
                    <a:pt x="0" y="244633"/>
                  </a:moveTo>
                  <a:cubicBezTo>
                    <a:pt x="0" y="109516"/>
                    <a:pt x="109933" y="0"/>
                    <a:pt x="245564" y="0"/>
                  </a:cubicBezTo>
                  <a:cubicBezTo>
                    <a:pt x="381194" y="0"/>
                    <a:pt x="491127" y="109516"/>
                    <a:pt x="491127" y="244633"/>
                  </a:cubicBezTo>
                  <a:cubicBezTo>
                    <a:pt x="491127" y="379750"/>
                    <a:pt x="381194" y="489266"/>
                    <a:pt x="245564" y="489266"/>
                  </a:cubicBezTo>
                  <a:cubicBezTo>
                    <a:pt x="109933" y="489266"/>
                    <a:pt x="0" y="379750"/>
                    <a:pt x="0" y="244633"/>
                  </a:cubicBezTo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7" name="Полилиния 496">
              <a:extLst>
                <a:ext uri="{FF2B5EF4-FFF2-40B4-BE49-F238E27FC236}">
                  <a16:creationId xmlns:a16="http://schemas.microsoft.com/office/drawing/2014/main" id="{E8411FAD-9461-81FE-1B02-F7E74C18B7BD}"/>
                </a:ext>
              </a:extLst>
            </p:cNvPr>
            <p:cNvSpPr/>
            <p:nvPr/>
          </p:nvSpPr>
          <p:spPr>
            <a:xfrm>
              <a:off x="7002815" y="3284324"/>
              <a:ext cx="323875" cy="267920"/>
            </a:xfrm>
            <a:custGeom>
              <a:avLst/>
              <a:gdLst>
                <a:gd name="connsiteX0" fmla="*/ 323762 w 323875"/>
                <a:gd name="connsiteY0" fmla="*/ 26057 h 267920"/>
                <a:gd name="connsiteX1" fmla="*/ 315671 w 323875"/>
                <a:gd name="connsiteY1" fmla="*/ 82284 h 267920"/>
                <a:gd name="connsiteX2" fmla="*/ 292257 w 323875"/>
                <a:gd name="connsiteY2" fmla="*/ 235227 h 267920"/>
                <a:gd name="connsiteX3" fmla="*/ 286165 w 323875"/>
                <a:gd name="connsiteY3" fmla="*/ 254665 h 267920"/>
                <a:gd name="connsiteX4" fmla="*/ 258944 w 323875"/>
                <a:gd name="connsiteY4" fmla="*/ 266518 h 267920"/>
                <a:gd name="connsiteX5" fmla="*/ 236101 w 323875"/>
                <a:gd name="connsiteY5" fmla="*/ 255329 h 267920"/>
                <a:gd name="connsiteX6" fmla="*/ 151106 w 323875"/>
                <a:gd name="connsiteY6" fmla="*/ 198438 h 267920"/>
                <a:gd name="connsiteX7" fmla="*/ 147965 w 323875"/>
                <a:gd name="connsiteY7" fmla="*/ 166578 h 267920"/>
                <a:gd name="connsiteX8" fmla="*/ 197934 w 323875"/>
                <a:gd name="connsiteY8" fmla="*/ 119927 h 267920"/>
                <a:gd name="connsiteX9" fmla="*/ 236196 w 323875"/>
                <a:gd name="connsiteY9" fmla="*/ 83517 h 267920"/>
                <a:gd name="connsiteX10" fmla="*/ 241050 w 323875"/>
                <a:gd name="connsiteY10" fmla="*/ 78207 h 267920"/>
                <a:gd name="connsiteX11" fmla="*/ 242668 w 323875"/>
                <a:gd name="connsiteY11" fmla="*/ 69389 h 267920"/>
                <a:gd name="connsiteX12" fmla="*/ 233626 w 323875"/>
                <a:gd name="connsiteY12" fmla="*/ 69484 h 267920"/>
                <a:gd name="connsiteX13" fmla="*/ 190129 w 323875"/>
                <a:gd name="connsiteY13" fmla="*/ 98403 h 267920"/>
                <a:gd name="connsiteX14" fmla="*/ 115794 w 323875"/>
                <a:gd name="connsiteY14" fmla="*/ 149226 h 267920"/>
                <a:gd name="connsiteX15" fmla="*/ 98757 w 323875"/>
                <a:gd name="connsiteY15" fmla="*/ 158614 h 267920"/>
                <a:gd name="connsiteX16" fmla="*/ 66777 w 323875"/>
                <a:gd name="connsiteY16" fmla="*/ 160889 h 267920"/>
                <a:gd name="connsiteX17" fmla="*/ 15284 w 323875"/>
                <a:gd name="connsiteY17" fmla="*/ 146666 h 267920"/>
                <a:gd name="connsiteX18" fmla="*/ 4719 w 323875"/>
                <a:gd name="connsiteY18" fmla="*/ 141831 h 267920"/>
                <a:gd name="connsiteX19" fmla="*/ 3101 w 323875"/>
                <a:gd name="connsiteY19" fmla="*/ 127608 h 267920"/>
                <a:gd name="connsiteX20" fmla="*/ 16331 w 323875"/>
                <a:gd name="connsiteY20" fmla="*/ 118790 h 267920"/>
                <a:gd name="connsiteX21" fmla="*/ 281216 w 323875"/>
                <a:gd name="connsiteY21" fmla="*/ 6808 h 267920"/>
                <a:gd name="connsiteX22" fmla="*/ 299110 w 323875"/>
                <a:gd name="connsiteY22" fmla="*/ 835 h 267920"/>
                <a:gd name="connsiteX23" fmla="*/ 323857 w 323875"/>
                <a:gd name="connsiteY23" fmla="*/ 25962 h 26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23875" h="267920">
                  <a:moveTo>
                    <a:pt x="323762" y="26057"/>
                  </a:moveTo>
                  <a:cubicBezTo>
                    <a:pt x="321477" y="41986"/>
                    <a:pt x="318717" y="62183"/>
                    <a:pt x="315671" y="82284"/>
                  </a:cubicBezTo>
                  <a:cubicBezTo>
                    <a:pt x="307962" y="133297"/>
                    <a:pt x="300252" y="184215"/>
                    <a:pt x="292257" y="235227"/>
                  </a:cubicBezTo>
                  <a:cubicBezTo>
                    <a:pt x="291210" y="241865"/>
                    <a:pt x="289116" y="248597"/>
                    <a:pt x="286165" y="254665"/>
                  </a:cubicBezTo>
                  <a:cubicBezTo>
                    <a:pt x="280645" y="266138"/>
                    <a:pt x="271032" y="270405"/>
                    <a:pt x="258944" y="266518"/>
                  </a:cubicBezTo>
                  <a:cubicBezTo>
                    <a:pt x="250949" y="263863"/>
                    <a:pt x="243144" y="259880"/>
                    <a:pt x="236101" y="255329"/>
                  </a:cubicBezTo>
                  <a:cubicBezTo>
                    <a:pt x="207547" y="236650"/>
                    <a:pt x="179374" y="217496"/>
                    <a:pt x="151106" y="198438"/>
                  </a:cubicBezTo>
                  <a:cubicBezTo>
                    <a:pt x="137781" y="189525"/>
                    <a:pt x="136353" y="177767"/>
                    <a:pt x="147965" y="166578"/>
                  </a:cubicBezTo>
                  <a:cubicBezTo>
                    <a:pt x="164336" y="150744"/>
                    <a:pt x="181278" y="135478"/>
                    <a:pt x="197934" y="119927"/>
                  </a:cubicBezTo>
                  <a:cubicBezTo>
                    <a:pt x="210783" y="107885"/>
                    <a:pt x="223442" y="95748"/>
                    <a:pt x="236196" y="83517"/>
                  </a:cubicBezTo>
                  <a:cubicBezTo>
                    <a:pt x="237909" y="81810"/>
                    <a:pt x="239432" y="80009"/>
                    <a:pt x="241050" y="78207"/>
                  </a:cubicBezTo>
                  <a:cubicBezTo>
                    <a:pt x="243335" y="75552"/>
                    <a:pt x="245524" y="72613"/>
                    <a:pt x="242668" y="69389"/>
                  </a:cubicBezTo>
                  <a:cubicBezTo>
                    <a:pt x="239908" y="66165"/>
                    <a:pt x="236482" y="67587"/>
                    <a:pt x="233626" y="69484"/>
                  </a:cubicBezTo>
                  <a:cubicBezTo>
                    <a:pt x="219064" y="79060"/>
                    <a:pt x="204501" y="88637"/>
                    <a:pt x="190129" y="98403"/>
                  </a:cubicBezTo>
                  <a:cubicBezTo>
                    <a:pt x="165288" y="115281"/>
                    <a:pt x="140636" y="132443"/>
                    <a:pt x="115794" y="149226"/>
                  </a:cubicBezTo>
                  <a:cubicBezTo>
                    <a:pt x="110464" y="152830"/>
                    <a:pt x="104658" y="155864"/>
                    <a:pt x="98757" y="158614"/>
                  </a:cubicBezTo>
                  <a:cubicBezTo>
                    <a:pt x="88478" y="163449"/>
                    <a:pt x="77912" y="164208"/>
                    <a:pt x="66777" y="160889"/>
                  </a:cubicBezTo>
                  <a:cubicBezTo>
                    <a:pt x="49739" y="155769"/>
                    <a:pt x="32417" y="151502"/>
                    <a:pt x="15284" y="146666"/>
                  </a:cubicBezTo>
                  <a:cubicBezTo>
                    <a:pt x="11572" y="145623"/>
                    <a:pt x="7955" y="143917"/>
                    <a:pt x="4719" y="141831"/>
                  </a:cubicBezTo>
                  <a:cubicBezTo>
                    <a:pt x="-801" y="138133"/>
                    <a:pt x="-1658" y="132254"/>
                    <a:pt x="3101" y="127608"/>
                  </a:cubicBezTo>
                  <a:cubicBezTo>
                    <a:pt x="6909" y="124005"/>
                    <a:pt x="11477" y="120781"/>
                    <a:pt x="16331" y="118790"/>
                  </a:cubicBezTo>
                  <a:cubicBezTo>
                    <a:pt x="104563" y="81336"/>
                    <a:pt x="192890" y="44072"/>
                    <a:pt x="281216" y="6808"/>
                  </a:cubicBezTo>
                  <a:cubicBezTo>
                    <a:pt x="287022" y="4343"/>
                    <a:pt x="293018" y="2162"/>
                    <a:pt x="299110" y="835"/>
                  </a:cubicBezTo>
                  <a:cubicBezTo>
                    <a:pt x="315766" y="-2674"/>
                    <a:pt x="324333" y="4722"/>
                    <a:pt x="323857" y="25962"/>
                  </a:cubicBezTo>
                  <a:close/>
                </a:path>
              </a:pathLst>
            </a:custGeom>
            <a:solidFill>
              <a:schemeClr val="tx2"/>
            </a:solidFill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498" name="Полилиния 497">
            <a:extLst>
              <a:ext uri="{FF2B5EF4-FFF2-40B4-BE49-F238E27FC236}">
                <a16:creationId xmlns:a16="http://schemas.microsoft.com/office/drawing/2014/main" id="{E89F4E4E-82BC-A8D1-8F97-50BDC7F86DEE}"/>
              </a:ext>
            </a:extLst>
          </p:cNvPr>
          <p:cNvSpPr/>
          <p:nvPr/>
        </p:nvSpPr>
        <p:spPr>
          <a:xfrm>
            <a:off x="7919928" y="813331"/>
            <a:ext cx="1248421" cy="1243612"/>
          </a:xfrm>
          <a:custGeom>
            <a:avLst/>
            <a:gdLst>
              <a:gd name="connsiteX0" fmla="*/ 564796 w 1485658"/>
              <a:gd name="connsiteY0" fmla="*/ 0 h 1479935"/>
              <a:gd name="connsiteX1" fmla="*/ 595348 w 1485658"/>
              <a:gd name="connsiteY1" fmla="*/ 30437 h 1479935"/>
              <a:gd name="connsiteX2" fmla="*/ 564796 w 1485658"/>
              <a:gd name="connsiteY2" fmla="*/ 60874 h 1479935"/>
              <a:gd name="connsiteX3" fmla="*/ 534243 w 1485658"/>
              <a:gd name="connsiteY3" fmla="*/ 30437 h 1479935"/>
              <a:gd name="connsiteX4" fmla="*/ 564796 w 1485658"/>
              <a:gd name="connsiteY4" fmla="*/ 0 h 1479935"/>
              <a:gd name="connsiteX5" fmla="*/ 593635 w 1485658"/>
              <a:gd name="connsiteY5" fmla="*/ 30437 h 1479935"/>
              <a:gd name="connsiteX6" fmla="*/ 624188 w 1485658"/>
              <a:gd name="connsiteY6" fmla="*/ 60874 h 1479935"/>
              <a:gd name="connsiteX7" fmla="*/ 654740 w 1485658"/>
              <a:gd name="connsiteY7" fmla="*/ 30437 h 1479935"/>
              <a:gd name="connsiteX8" fmla="*/ 624188 w 1485658"/>
              <a:gd name="connsiteY8" fmla="*/ 0 h 1479935"/>
              <a:gd name="connsiteX9" fmla="*/ 593635 w 1485658"/>
              <a:gd name="connsiteY9" fmla="*/ 30437 h 1479935"/>
              <a:gd name="connsiteX10" fmla="*/ 652932 w 1485658"/>
              <a:gd name="connsiteY10" fmla="*/ 30437 h 1479935"/>
              <a:gd name="connsiteX11" fmla="*/ 683485 w 1485658"/>
              <a:gd name="connsiteY11" fmla="*/ 60874 h 1479935"/>
              <a:gd name="connsiteX12" fmla="*/ 714037 w 1485658"/>
              <a:gd name="connsiteY12" fmla="*/ 30437 h 1479935"/>
              <a:gd name="connsiteX13" fmla="*/ 683485 w 1485658"/>
              <a:gd name="connsiteY13" fmla="*/ 0 h 1479935"/>
              <a:gd name="connsiteX14" fmla="*/ 652932 w 1485658"/>
              <a:gd name="connsiteY14" fmla="*/ 30437 h 1479935"/>
              <a:gd name="connsiteX15" fmla="*/ 831013 w 1485658"/>
              <a:gd name="connsiteY15" fmla="*/ 30437 h 1479935"/>
              <a:gd name="connsiteX16" fmla="*/ 861566 w 1485658"/>
              <a:gd name="connsiteY16" fmla="*/ 60874 h 1479935"/>
              <a:gd name="connsiteX17" fmla="*/ 892118 w 1485658"/>
              <a:gd name="connsiteY17" fmla="*/ 30437 h 1479935"/>
              <a:gd name="connsiteX18" fmla="*/ 861566 w 1485658"/>
              <a:gd name="connsiteY18" fmla="*/ 0 h 1479935"/>
              <a:gd name="connsiteX19" fmla="*/ 831013 w 1485658"/>
              <a:gd name="connsiteY19" fmla="*/ 30437 h 1479935"/>
              <a:gd name="connsiteX20" fmla="*/ 949702 w 1485658"/>
              <a:gd name="connsiteY20" fmla="*/ 30437 h 1479935"/>
              <a:gd name="connsiteX21" fmla="*/ 980255 w 1485658"/>
              <a:gd name="connsiteY21" fmla="*/ 60874 h 1479935"/>
              <a:gd name="connsiteX22" fmla="*/ 1010807 w 1485658"/>
              <a:gd name="connsiteY22" fmla="*/ 30437 h 1479935"/>
              <a:gd name="connsiteX23" fmla="*/ 980255 w 1485658"/>
              <a:gd name="connsiteY23" fmla="*/ 0 h 1479935"/>
              <a:gd name="connsiteX24" fmla="*/ 949702 w 1485658"/>
              <a:gd name="connsiteY24" fmla="*/ 30437 h 1479935"/>
              <a:gd name="connsiteX25" fmla="*/ 593635 w 1485658"/>
              <a:gd name="connsiteY25" fmla="*/ 89509 h 1479935"/>
              <a:gd name="connsiteX26" fmla="*/ 624188 w 1485658"/>
              <a:gd name="connsiteY26" fmla="*/ 119946 h 1479935"/>
              <a:gd name="connsiteX27" fmla="*/ 654740 w 1485658"/>
              <a:gd name="connsiteY27" fmla="*/ 89509 h 1479935"/>
              <a:gd name="connsiteX28" fmla="*/ 624188 w 1485658"/>
              <a:gd name="connsiteY28" fmla="*/ 59072 h 1479935"/>
              <a:gd name="connsiteX29" fmla="*/ 593635 w 1485658"/>
              <a:gd name="connsiteY29" fmla="*/ 89509 h 1479935"/>
              <a:gd name="connsiteX30" fmla="*/ 771621 w 1485658"/>
              <a:gd name="connsiteY30" fmla="*/ 89509 h 1479935"/>
              <a:gd name="connsiteX31" fmla="*/ 802174 w 1485658"/>
              <a:gd name="connsiteY31" fmla="*/ 119946 h 1479935"/>
              <a:gd name="connsiteX32" fmla="*/ 832726 w 1485658"/>
              <a:gd name="connsiteY32" fmla="*/ 89509 h 1479935"/>
              <a:gd name="connsiteX33" fmla="*/ 802174 w 1485658"/>
              <a:gd name="connsiteY33" fmla="*/ 59072 h 1479935"/>
              <a:gd name="connsiteX34" fmla="*/ 771621 w 1485658"/>
              <a:gd name="connsiteY34" fmla="*/ 89509 h 1479935"/>
              <a:gd name="connsiteX35" fmla="*/ 890310 w 1485658"/>
              <a:gd name="connsiteY35" fmla="*/ 89509 h 1479935"/>
              <a:gd name="connsiteX36" fmla="*/ 920863 w 1485658"/>
              <a:gd name="connsiteY36" fmla="*/ 119946 h 1479935"/>
              <a:gd name="connsiteX37" fmla="*/ 951415 w 1485658"/>
              <a:gd name="connsiteY37" fmla="*/ 89509 h 1479935"/>
              <a:gd name="connsiteX38" fmla="*/ 920863 w 1485658"/>
              <a:gd name="connsiteY38" fmla="*/ 59072 h 1479935"/>
              <a:gd name="connsiteX39" fmla="*/ 890310 w 1485658"/>
              <a:gd name="connsiteY39" fmla="*/ 89509 h 1479935"/>
              <a:gd name="connsiteX40" fmla="*/ 474851 w 1485658"/>
              <a:gd name="connsiteY40" fmla="*/ 148676 h 1479935"/>
              <a:gd name="connsiteX41" fmla="*/ 505404 w 1485658"/>
              <a:gd name="connsiteY41" fmla="*/ 179113 h 1479935"/>
              <a:gd name="connsiteX42" fmla="*/ 535956 w 1485658"/>
              <a:gd name="connsiteY42" fmla="*/ 148676 h 1479935"/>
              <a:gd name="connsiteX43" fmla="*/ 505404 w 1485658"/>
              <a:gd name="connsiteY43" fmla="*/ 118239 h 1479935"/>
              <a:gd name="connsiteX44" fmla="*/ 474851 w 1485658"/>
              <a:gd name="connsiteY44" fmla="*/ 148676 h 1479935"/>
              <a:gd name="connsiteX45" fmla="*/ 712324 w 1485658"/>
              <a:gd name="connsiteY45" fmla="*/ 148676 h 1479935"/>
              <a:gd name="connsiteX46" fmla="*/ 742877 w 1485658"/>
              <a:gd name="connsiteY46" fmla="*/ 179113 h 1479935"/>
              <a:gd name="connsiteX47" fmla="*/ 773429 w 1485658"/>
              <a:gd name="connsiteY47" fmla="*/ 148676 h 1479935"/>
              <a:gd name="connsiteX48" fmla="*/ 742877 w 1485658"/>
              <a:gd name="connsiteY48" fmla="*/ 118239 h 1479935"/>
              <a:gd name="connsiteX49" fmla="*/ 712324 w 1485658"/>
              <a:gd name="connsiteY49" fmla="*/ 148676 h 1479935"/>
              <a:gd name="connsiteX50" fmla="*/ 949702 w 1485658"/>
              <a:gd name="connsiteY50" fmla="*/ 148676 h 1479935"/>
              <a:gd name="connsiteX51" fmla="*/ 980255 w 1485658"/>
              <a:gd name="connsiteY51" fmla="*/ 179113 h 1479935"/>
              <a:gd name="connsiteX52" fmla="*/ 1010807 w 1485658"/>
              <a:gd name="connsiteY52" fmla="*/ 148676 h 1479935"/>
              <a:gd name="connsiteX53" fmla="*/ 980255 w 1485658"/>
              <a:gd name="connsiteY53" fmla="*/ 118239 h 1479935"/>
              <a:gd name="connsiteX54" fmla="*/ 949702 w 1485658"/>
              <a:gd name="connsiteY54" fmla="*/ 148676 h 1479935"/>
              <a:gd name="connsiteX55" fmla="*/ 474851 w 1485658"/>
              <a:gd name="connsiteY55" fmla="*/ 207843 h 1479935"/>
              <a:gd name="connsiteX56" fmla="*/ 505404 w 1485658"/>
              <a:gd name="connsiteY56" fmla="*/ 238280 h 1479935"/>
              <a:gd name="connsiteX57" fmla="*/ 535956 w 1485658"/>
              <a:gd name="connsiteY57" fmla="*/ 207843 h 1479935"/>
              <a:gd name="connsiteX58" fmla="*/ 505404 w 1485658"/>
              <a:gd name="connsiteY58" fmla="*/ 177406 h 1479935"/>
              <a:gd name="connsiteX59" fmla="*/ 474851 w 1485658"/>
              <a:gd name="connsiteY59" fmla="*/ 207843 h 1479935"/>
              <a:gd name="connsiteX60" fmla="*/ 534243 w 1485658"/>
              <a:gd name="connsiteY60" fmla="*/ 207843 h 1479935"/>
              <a:gd name="connsiteX61" fmla="*/ 564796 w 1485658"/>
              <a:gd name="connsiteY61" fmla="*/ 238280 h 1479935"/>
              <a:gd name="connsiteX62" fmla="*/ 595348 w 1485658"/>
              <a:gd name="connsiteY62" fmla="*/ 207843 h 1479935"/>
              <a:gd name="connsiteX63" fmla="*/ 564796 w 1485658"/>
              <a:gd name="connsiteY63" fmla="*/ 177406 h 1479935"/>
              <a:gd name="connsiteX64" fmla="*/ 534243 w 1485658"/>
              <a:gd name="connsiteY64" fmla="*/ 207843 h 1479935"/>
              <a:gd name="connsiteX65" fmla="*/ 593635 w 1485658"/>
              <a:gd name="connsiteY65" fmla="*/ 207843 h 1479935"/>
              <a:gd name="connsiteX66" fmla="*/ 624188 w 1485658"/>
              <a:gd name="connsiteY66" fmla="*/ 238280 h 1479935"/>
              <a:gd name="connsiteX67" fmla="*/ 654740 w 1485658"/>
              <a:gd name="connsiteY67" fmla="*/ 207843 h 1479935"/>
              <a:gd name="connsiteX68" fmla="*/ 624188 w 1485658"/>
              <a:gd name="connsiteY68" fmla="*/ 177406 h 1479935"/>
              <a:gd name="connsiteX69" fmla="*/ 593635 w 1485658"/>
              <a:gd name="connsiteY69" fmla="*/ 207843 h 1479935"/>
              <a:gd name="connsiteX70" fmla="*/ 652932 w 1485658"/>
              <a:gd name="connsiteY70" fmla="*/ 207843 h 1479935"/>
              <a:gd name="connsiteX71" fmla="*/ 683485 w 1485658"/>
              <a:gd name="connsiteY71" fmla="*/ 238280 h 1479935"/>
              <a:gd name="connsiteX72" fmla="*/ 714037 w 1485658"/>
              <a:gd name="connsiteY72" fmla="*/ 207843 h 1479935"/>
              <a:gd name="connsiteX73" fmla="*/ 683485 w 1485658"/>
              <a:gd name="connsiteY73" fmla="*/ 177406 h 1479935"/>
              <a:gd name="connsiteX74" fmla="*/ 652932 w 1485658"/>
              <a:gd name="connsiteY74" fmla="*/ 207843 h 1479935"/>
              <a:gd name="connsiteX75" fmla="*/ 771621 w 1485658"/>
              <a:gd name="connsiteY75" fmla="*/ 207843 h 1479935"/>
              <a:gd name="connsiteX76" fmla="*/ 802174 w 1485658"/>
              <a:gd name="connsiteY76" fmla="*/ 238280 h 1479935"/>
              <a:gd name="connsiteX77" fmla="*/ 832726 w 1485658"/>
              <a:gd name="connsiteY77" fmla="*/ 207843 h 1479935"/>
              <a:gd name="connsiteX78" fmla="*/ 802174 w 1485658"/>
              <a:gd name="connsiteY78" fmla="*/ 177406 h 1479935"/>
              <a:gd name="connsiteX79" fmla="*/ 771621 w 1485658"/>
              <a:gd name="connsiteY79" fmla="*/ 207843 h 1479935"/>
              <a:gd name="connsiteX80" fmla="*/ 831013 w 1485658"/>
              <a:gd name="connsiteY80" fmla="*/ 207843 h 1479935"/>
              <a:gd name="connsiteX81" fmla="*/ 861566 w 1485658"/>
              <a:gd name="connsiteY81" fmla="*/ 238280 h 1479935"/>
              <a:gd name="connsiteX82" fmla="*/ 892118 w 1485658"/>
              <a:gd name="connsiteY82" fmla="*/ 207843 h 1479935"/>
              <a:gd name="connsiteX83" fmla="*/ 861566 w 1485658"/>
              <a:gd name="connsiteY83" fmla="*/ 177406 h 1479935"/>
              <a:gd name="connsiteX84" fmla="*/ 831013 w 1485658"/>
              <a:gd name="connsiteY84" fmla="*/ 207843 h 1479935"/>
              <a:gd name="connsiteX85" fmla="*/ 474851 w 1485658"/>
              <a:gd name="connsiteY85" fmla="*/ 266915 h 1479935"/>
              <a:gd name="connsiteX86" fmla="*/ 505404 w 1485658"/>
              <a:gd name="connsiteY86" fmla="*/ 297352 h 1479935"/>
              <a:gd name="connsiteX87" fmla="*/ 535956 w 1485658"/>
              <a:gd name="connsiteY87" fmla="*/ 266915 h 1479935"/>
              <a:gd name="connsiteX88" fmla="*/ 505404 w 1485658"/>
              <a:gd name="connsiteY88" fmla="*/ 236479 h 1479935"/>
              <a:gd name="connsiteX89" fmla="*/ 474851 w 1485658"/>
              <a:gd name="connsiteY89" fmla="*/ 266915 h 1479935"/>
              <a:gd name="connsiteX90" fmla="*/ 652932 w 1485658"/>
              <a:gd name="connsiteY90" fmla="*/ 266915 h 1479935"/>
              <a:gd name="connsiteX91" fmla="*/ 683485 w 1485658"/>
              <a:gd name="connsiteY91" fmla="*/ 297352 h 1479935"/>
              <a:gd name="connsiteX92" fmla="*/ 714037 w 1485658"/>
              <a:gd name="connsiteY92" fmla="*/ 266915 h 1479935"/>
              <a:gd name="connsiteX93" fmla="*/ 683485 w 1485658"/>
              <a:gd name="connsiteY93" fmla="*/ 236479 h 1479935"/>
              <a:gd name="connsiteX94" fmla="*/ 652932 w 1485658"/>
              <a:gd name="connsiteY94" fmla="*/ 266915 h 1479935"/>
              <a:gd name="connsiteX95" fmla="*/ 712324 w 1485658"/>
              <a:gd name="connsiteY95" fmla="*/ 266915 h 1479935"/>
              <a:gd name="connsiteX96" fmla="*/ 742877 w 1485658"/>
              <a:gd name="connsiteY96" fmla="*/ 297352 h 1479935"/>
              <a:gd name="connsiteX97" fmla="*/ 773429 w 1485658"/>
              <a:gd name="connsiteY97" fmla="*/ 266915 h 1479935"/>
              <a:gd name="connsiteX98" fmla="*/ 742877 w 1485658"/>
              <a:gd name="connsiteY98" fmla="*/ 236479 h 1479935"/>
              <a:gd name="connsiteX99" fmla="*/ 712324 w 1485658"/>
              <a:gd name="connsiteY99" fmla="*/ 266915 h 1479935"/>
              <a:gd name="connsiteX100" fmla="*/ 831013 w 1485658"/>
              <a:gd name="connsiteY100" fmla="*/ 266915 h 1479935"/>
              <a:gd name="connsiteX101" fmla="*/ 861566 w 1485658"/>
              <a:gd name="connsiteY101" fmla="*/ 297352 h 1479935"/>
              <a:gd name="connsiteX102" fmla="*/ 892118 w 1485658"/>
              <a:gd name="connsiteY102" fmla="*/ 266915 h 1479935"/>
              <a:gd name="connsiteX103" fmla="*/ 861566 w 1485658"/>
              <a:gd name="connsiteY103" fmla="*/ 236479 h 1479935"/>
              <a:gd name="connsiteX104" fmla="*/ 831013 w 1485658"/>
              <a:gd name="connsiteY104" fmla="*/ 266915 h 1479935"/>
              <a:gd name="connsiteX105" fmla="*/ 474851 w 1485658"/>
              <a:gd name="connsiteY105" fmla="*/ 326083 h 1479935"/>
              <a:gd name="connsiteX106" fmla="*/ 505404 w 1485658"/>
              <a:gd name="connsiteY106" fmla="*/ 356519 h 1479935"/>
              <a:gd name="connsiteX107" fmla="*/ 535956 w 1485658"/>
              <a:gd name="connsiteY107" fmla="*/ 326083 h 1479935"/>
              <a:gd name="connsiteX108" fmla="*/ 505404 w 1485658"/>
              <a:gd name="connsiteY108" fmla="*/ 295646 h 1479935"/>
              <a:gd name="connsiteX109" fmla="*/ 474851 w 1485658"/>
              <a:gd name="connsiteY109" fmla="*/ 326083 h 1479935"/>
              <a:gd name="connsiteX110" fmla="*/ 593635 w 1485658"/>
              <a:gd name="connsiteY110" fmla="*/ 326083 h 1479935"/>
              <a:gd name="connsiteX111" fmla="*/ 624188 w 1485658"/>
              <a:gd name="connsiteY111" fmla="*/ 356519 h 1479935"/>
              <a:gd name="connsiteX112" fmla="*/ 654740 w 1485658"/>
              <a:gd name="connsiteY112" fmla="*/ 326083 h 1479935"/>
              <a:gd name="connsiteX113" fmla="*/ 624188 w 1485658"/>
              <a:gd name="connsiteY113" fmla="*/ 295646 h 1479935"/>
              <a:gd name="connsiteX114" fmla="*/ 593635 w 1485658"/>
              <a:gd name="connsiteY114" fmla="*/ 326083 h 1479935"/>
              <a:gd name="connsiteX115" fmla="*/ 831013 w 1485658"/>
              <a:gd name="connsiteY115" fmla="*/ 326083 h 1479935"/>
              <a:gd name="connsiteX116" fmla="*/ 861566 w 1485658"/>
              <a:gd name="connsiteY116" fmla="*/ 356519 h 1479935"/>
              <a:gd name="connsiteX117" fmla="*/ 892118 w 1485658"/>
              <a:gd name="connsiteY117" fmla="*/ 326083 h 1479935"/>
              <a:gd name="connsiteX118" fmla="*/ 861566 w 1485658"/>
              <a:gd name="connsiteY118" fmla="*/ 295646 h 1479935"/>
              <a:gd name="connsiteX119" fmla="*/ 831013 w 1485658"/>
              <a:gd name="connsiteY119" fmla="*/ 326083 h 1479935"/>
              <a:gd name="connsiteX120" fmla="*/ 890310 w 1485658"/>
              <a:gd name="connsiteY120" fmla="*/ 326083 h 1479935"/>
              <a:gd name="connsiteX121" fmla="*/ 920863 w 1485658"/>
              <a:gd name="connsiteY121" fmla="*/ 356519 h 1479935"/>
              <a:gd name="connsiteX122" fmla="*/ 951415 w 1485658"/>
              <a:gd name="connsiteY122" fmla="*/ 326083 h 1479935"/>
              <a:gd name="connsiteX123" fmla="*/ 920863 w 1485658"/>
              <a:gd name="connsiteY123" fmla="*/ 295646 h 1479935"/>
              <a:gd name="connsiteX124" fmla="*/ 890310 w 1485658"/>
              <a:gd name="connsiteY124" fmla="*/ 326083 h 1479935"/>
              <a:gd name="connsiteX125" fmla="*/ 949702 w 1485658"/>
              <a:gd name="connsiteY125" fmla="*/ 326083 h 1479935"/>
              <a:gd name="connsiteX126" fmla="*/ 980255 w 1485658"/>
              <a:gd name="connsiteY126" fmla="*/ 356519 h 1479935"/>
              <a:gd name="connsiteX127" fmla="*/ 1010807 w 1485658"/>
              <a:gd name="connsiteY127" fmla="*/ 326083 h 1479935"/>
              <a:gd name="connsiteX128" fmla="*/ 980255 w 1485658"/>
              <a:gd name="connsiteY128" fmla="*/ 295646 h 1479935"/>
              <a:gd name="connsiteX129" fmla="*/ 949702 w 1485658"/>
              <a:gd name="connsiteY129" fmla="*/ 326083 h 1479935"/>
              <a:gd name="connsiteX130" fmla="*/ 474851 w 1485658"/>
              <a:gd name="connsiteY130" fmla="*/ 385155 h 1479935"/>
              <a:gd name="connsiteX131" fmla="*/ 505404 w 1485658"/>
              <a:gd name="connsiteY131" fmla="*/ 415592 h 1479935"/>
              <a:gd name="connsiteX132" fmla="*/ 535956 w 1485658"/>
              <a:gd name="connsiteY132" fmla="*/ 385155 h 1479935"/>
              <a:gd name="connsiteX133" fmla="*/ 505404 w 1485658"/>
              <a:gd name="connsiteY133" fmla="*/ 354718 h 1479935"/>
              <a:gd name="connsiteX134" fmla="*/ 474851 w 1485658"/>
              <a:gd name="connsiteY134" fmla="*/ 385155 h 1479935"/>
              <a:gd name="connsiteX135" fmla="*/ 593635 w 1485658"/>
              <a:gd name="connsiteY135" fmla="*/ 385155 h 1479935"/>
              <a:gd name="connsiteX136" fmla="*/ 624188 w 1485658"/>
              <a:gd name="connsiteY136" fmla="*/ 415592 h 1479935"/>
              <a:gd name="connsiteX137" fmla="*/ 654740 w 1485658"/>
              <a:gd name="connsiteY137" fmla="*/ 385155 h 1479935"/>
              <a:gd name="connsiteX138" fmla="*/ 624188 w 1485658"/>
              <a:gd name="connsiteY138" fmla="*/ 354718 h 1479935"/>
              <a:gd name="connsiteX139" fmla="*/ 593635 w 1485658"/>
              <a:gd name="connsiteY139" fmla="*/ 385155 h 1479935"/>
              <a:gd name="connsiteX140" fmla="*/ 712324 w 1485658"/>
              <a:gd name="connsiteY140" fmla="*/ 385155 h 1479935"/>
              <a:gd name="connsiteX141" fmla="*/ 742877 w 1485658"/>
              <a:gd name="connsiteY141" fmla="*/ 415592 h 1479935"/>
              <a:gd name="connsiteX142" fmla="*/ 773429 w 1485658"/>
              <a:gd name="connsiteY142" fmla="*/ 385155 h 1479935"/>
              <a:gd name="connsiteX143" fmla="*/ 742877 w 1485658"/>
              <a:gd name="connsiteY143" fmla="*/ 354718 h 1479935"/>
              <a:gd name="connsiteX144" fmla="*/ 712324 w 1485658"/>
              <a:gd name="connsiteY144" fmla="*/ 385155 h 1479935"/>
              <a:gd name="connsiteX145" fmla="*/ 831013 w 1485658"/>
              <a:gd name="connsiteY145" fmla="*/ 385155 h 1479935"/>
              <a:gd name="connsiteX146" fmla="*/ 861566 w 1485658"/>
              <a:gd name="connsiteY146" fmla="*/ 415592 h 1479935"/>
              <a:gd name="connsiteX147" fmla="*/ 892118 w 1485658"/>
              <a:gd name="connsiteY147" fmla="*/ 385155 h 1479935"/>
              <a:gd name="connsiteX148" fmla="*/ 861566 w 1485658"/>
              <a:gd name="connsiteY148" fmla="*/ 354718 h 1479935"/>
              <a:gd name="connsiteX149" fmla="*/ 831013 w 1485658"/>
              <a:gd name="connsiteY149" fmla="*/ 385155 h 1479935"/>
              <a:gd name="connsiteX150" fmla="*/ 949702 w 1485658"/>
              <a:gd name="connsiteY150" fmla="*/ 385155 h 1479935"/>
              <a:gd name="connsiteX151" fmla="*/ 980255 w 1485658"/>
              <a:gd name="connsiteY151" fmla="*/ 415592 h 1479935"/>
              <a:gd name="connsiteX152" fmla="*/ 1010807 w 1485658"/>
              <a:gd name="connsiteY152" fmla="*/ 385155 h 1479935"/>
              <a:gd name="connsiteX153" fmla="*/ 980255 w 1485658"/>
              <a:gd name="connsiteY153" fmla="*/ 354718 h 1479935"/>
              <a:gd name="connsiteX154" fmla="*/ 949702 w 1485658"/>
              <a:gd name="connsiteY154" fmla="*/ 385155 h 1479935"/>
              <a:gd name="connsiteX155" fmla="*/ 474851 w 1485658"/>
              <a:gd name="connsiteY155" fmla="*/ 444322 h 1479935"/>
              <a:gd name="connsiteX156" fmla="*/ 505404 w 1485658"/>
              <a:gd name="connsiteY156" fmla="*/ 474759 h 1479935"/>
              <a:gd name="connsiteX157" fmla="*/ 535956 w 1485658"/>
              <a:gd name="connsiteY157" fmla="*/ 444322 h 1479935"/>
              <a:gd name="connsiteX158" fmla="*/ 505404 w 1485658"/>
              <a:gd name="connsiteY158" fmla="*/ 413885 h 1479935"/>
              <a:gd name="connsiteX159" fmla="*/ 474851 w 1485658"/>
              <a:gd name="connsiteY159" fmla="*/ 444322 h 1479935"/>
              <a:gd name="connsiteX160" fmla="*/ 831013 w 1485658"/>
              <a:gd name="connsiteY160" fmla="*/ 444322 h 1479935"/>
              <a:gd name="connsiteX161" fmla="*/ 861566 w 1485658"/>
              <a:gd name="connsiteY161" fmla="*/ 474759 h 1479935"/>
              <a:gd name="connsiteX162" fmla="*/ 892118 w 1485658"/>
              <a:gd name="connsiteY162" fmla="*/ 444322 h 1479935"/>
              <a:gd name="connsiteX163" fmla="*/ 861566 w 1485658"/>
              <a:gd name="connsiteY163" fmla="*/ 413885 h 1479935"/>
              <a:gd name="connsiteX164" fmla="*/ 831013 w 1485658"/>
              <a:gd name="connsiteY164" fmla="*/ 444322 h 1479935"/>
              <a:gd name="connsiteX165" fmla="*/ 890310 w 1485658"/>
              <a:gd name="connsiteY165" fmla="*/ 444322 h 1479935"/>
              <a:gd name="connsiteX166" fmla="*/ 920863 w 1485658"/>
              <a:gd name="connsiteY166" fmla="*/ 474759 h 1479935"/>
              <a:gd name="connsiteX167" fmla="*/ 951415 w 1485658"/>
              <a:gd name="connsiteY167" fmla="*/ 444322 h 1479935"/>
              <a:gd name="connsiteX168" fmla="*/ 920863 w 1485658"/>
              <a:gd name="connsiteY168" fmla="*/ 413885 h 1479935"/>
              <a:gd name="connsiteX169" fmla="*/ 890310 w 1485658"/>
              <a:gd name="connsiteY169" fmla="*/ 444322 h 1479935"/>
              <a:gd name="connsiteX170" fmla="*/ 95 w 1485658"/>
              <a:gd name="connsiteY170" fmla="*/ 503394 h 1479935"/>
              <a:gd name="connsiteX171" fmla="*/ 30648 w 1485658"/>
              <a:gd name="connsiteY171" fmla="*/ 533831 h 1479935"/>
              <a:gd name="connsiteX172" fmla="*/ 61200 w 1485658"/>
              <a:gd name="connsiteY172" fmla="*/ 503394 h 1479935"/>
              <a:gd name="connsiteX173" fmla="*/ 30648 w 1485658"/>
              <a:gd name="connsiteY173" fmla="*/ 472957 h 1479935"/>
              <a:gd name="connsiteX174" fmla="*/ 95 w 1485658"/>
              <a:gd name="connsiteY174" fmla="*/ 503394 h 1479935"/>
              <a:gd name="connsiteX175" fmla="*/ 118784 w 1485658"/>
              <a:gd name="connsiteY175" fmla="*/ 503394 h 1479935"/>
              <a:gd name="connsiteX176" fmla="*/ 149337 w 1485658"/>
              <a:gd name="connsiteY176" fmla="*/ 533831 h 1479935"/>
              <a:gd name="connsiteX177" fmla="*/ 179889 w 1485658"/>
              <a:gd name="connsiteY177" fmla="*/ 503394 h 1479935"/>
              <a:gd name="connsiteX178" fmla="*/ 149337 w 1485658"/>
              <a:gd name="connsiteY178" fmla="*/ 472957 h 1479935"/>
              <a:gd name="connsiteX179" fmla="*/ 118784 w 1485658"/>
              <a:gd name="connsiteY179" fmla="*/ 503394 h 1479935"/>
              <a:gd name="connsiteX180" fmla="*/ 178081 w 1485658"/>
              <a:gd name="connsiteY180" fmla="*/ 503394 h 1479935"/>
              <a:gd name="connsiteX181" fmla="*/ 208634 w 1485658"/>
              <a:gd name="connsiteY181" fmla="*/ 533831 h 1479935"/>
              <a:gd name="connsiteX182" fmla="*/ 239186 w 1485658"/>
              <a:gd name="connsiteY182" fmla="*/ 503394 h 1479935"/>
              <a:gd name="connsiteX183" fmla="*/ 208634 w 1485658"/>
              <a:gd name="connsiteY183" fmla="*/ 472957 h 1479935"/>
              <a:gd name="connsiteX184" fmla="*/ 178081 w 1485658"/>
              <a:gd name="connsiteY184" fmla="*/ 503394 h 1479935"/>
              <a:gd name="connsiteX185" fmla="*/ 237473 w 1485658"/>
              <a:gd name="connsiteY185" fmla="*/ 503394 h 1479935"/>
              <a:gd name="connsiteX186" fmla="*/ 268026 w 1485658"/>
              <a:gd name="connsiteY186" fmla="*/ 533831 h 1479935"/>
              <a:gd name="connsiteX187" fmla="*/ 298578 w 1485658"/>
              <a:gd name="connsiteY187" fmla="*/ 503394 h 1479935"/>
              <a:gd name="connsiteX188" fmla="*/ 268026 w 1485658"/>
              <a:gd name="connsiteY188" fmla="*/ 472957 h 1479935"/>
              <a:gd name="connsiteX189" fmla="*/ 237473 w 1485658"/>
              <a:gd name="connsiteY189" fmla="*/ 503394 h 1479935"/>
              <a:gd name="connsiteX190" fmla="*/ 296865 w 1485658"/>
              <a:gd name="connsiteY190" fmla="*/ 503394 h 1479935"/>
              <a:gd name="connsiteX191" fmla="*/ 327418 w 1485658"/>
              <a:gd name="connsiteY191" fmla="*/ 533831 h 1479935"/>
              <a:gd name="connsiteX192" fmla="*/ 357970 w 1485658"/>
              <a:gd name="connsiteY192" fmla="*/ 503394 h 1479935"/>
              <a:gd name="connsiteX193" fmla="*/ 327418 w 1485658"/>
              <a:gd name="connsiteY193" fmla="*/ 472957 h 1479935"/>
              <a:gd name="connsiteX194" fmla="*/ 296865 w 1485658"/>
              <a:gd name="connsiteY194" fmla="*/ 503394 h 1479935"/>
              <a:gd name="connsiteX195" fmla="*/ 356162 w 1485658"/>
              <a:gd name="connsiteY195" fmla="*/ 503394 h 1479935"/>
              <a:gd name="connsiteX196" fmla="*/ 386715 w 1485658"/>
              <a:gd name="connsiteY196" fmla="*/ 533831 h 1479935"/>
              <a:gd name="connsiteX197" fmla="*/ 417267 w 1485658"/>
              <a:gd name="connsiteY197" fmla="*/ 503394 h 1479935"/>
              <a:gd name="connsiteX198" fmla="*/ 386715 w 1485658"/>
              <a:gd name="connsiteY198" fmla="*/ 472957 h 1479935"/>
              <a:gd name="connsiteX199" fmla="*/ 356162 w 1485658"/>
              <a:gd name="connsiteY199" fmla="*/ 503394 h 1479935"/>
              <a:gd name="connsiteX200" fmla="*/ 534243 w 1485658"/>
              <a:gd name="connsiteY200" fmla="*/ 503394 h 1479935"/>
              <a:gd name="connsiteX201" fmla="*/ 564796 w 1485658"/>
              <a:gd name="connsiteY201" fmla="*/ 533831 h 1479935"/>
              <a:gd name="connsiteX202" fmla="*/ 595348 w 1485658"/>
              <a:gd name="connsiteY202" fmla="*/ 503394 h 1479935"/>
              <a:gd name="connsiteX203" fmla="*/ 564796 w 1485658"/>
              <a:gd name="connsiteY203" fmla="*/ 472957 h 1479935"/>
              <a:gd name="connsiteX204" fmla="*/ 534243 w 1485658"/>
              <a:gd name="connsiteY204" fmla="*/ 503394 h 1479935"/>
              <a:gd name="connsiteX205" fmla="*/ 712324 w 1485658"/>
              <a:gd name="connsiteY205" fmla="*/ 503394 h 1479935"/>
              <a:gd name="connsiteX206" fmla="*/ 742877 w 1485658"/>
              <a:gd name="connsiteY206" fmla="*/ 533831 h 1479935"/>
              <a:gd name="connsiteX207" fmla="*/ 773429 w 1485658"/>
              <a:gd name="connsiteY207" fmla="*/ 503394 h 1479935"/>
              <a:gd name="connsiteX208" fmla="*/ 742877 w 1485658"/>
              <a:gd name="connsiteY208" fmla="*/ 472957 h 1479935"/>
              <a:gd name="connsiteX209" fmla="*/ 712324 w 1485658"/>
              <a:gd name="connsiteY209" fmla="*/ 503394 h 1479935"/>
              <a:gd name="connsiteX210" fmla="*/ 771621 w 1485658"/>
              <a:gd name="connsiteY210" fmla="*/ 503394 h 1479935"/>
              <a:gd name="connsiteX211" fmla="*/ 802174 w 1485658"/>
              <a:gd name="connsiteY211" fmla="*/ 533831 h 1479935"/>
              <a:gd name="connsiteX212" fmla="*/ 832726 w 1485658"/>
              <a:gd name="connsiteY212" fmla="*/ 503394 h 1479935"/>
              <a:gd name="connsiteX213" fmla="*/ 802174 w 1485658"/>
              <a:gd name="connsiteY213" fmla="*/ 472957 h 1479935"/>
              <a:gd name="connsiteX214" fmla="*/ 771621 w 1485658"/>
              <a:gd name="connsiteY214" fmla="*/ 503394 h 1479935"/>
              <a:gd name="connsiteX215" fmla="*/ 949702 w 1485658"/>
              <a:gd name="connsiteY215" fmla="*/ 503394 h 1479935"/>
              <a:gd name="connsiteX216" fmla="*/ 980255 w 1485658"/>
              <a:gd name="connsiteY216" fmla="*/ 533831 h 1479935"/>
              <a:gd name="connsiteX217" fmla="*/ 1010807 w 1485658"/>
              <a:gd name="connsiteY217" fmla="*/ 503394 h 1479935"/>
              <a:gd name="connsiteX218" fmla="*/ 980255 w 1485658"/>
              <a:gd name="connsiteY218" fmla="*/ 472957 h 1479935"/>
              <a:gd name="connsiteX219" fmla="*/ 949702 w 1485658"/>
              <a:gd name="connsiteY219" fmla="*/ 503394 h 1479935"/>
              <a:gd name="connsiteX220" fmla="*/ 1068391 w 1485658"/>
              <a:gd name="connsiteY220" fmla="*/ 503394 h 1479935"/>
              <a:gd name="connsiteX221" fmla="*/ 1098944 w 1485658"/>
              <a:gd name="connsiteY221" fmla="*/ 533831 h 1479935"/>
              <a:gd name="connsiteX222" fmla="*/ 1129496 w 1485658"/>
              <a:gd name="connsiteY222" fmla="*/ 503394 h 1479935"/>
              <a:gd name="connsiteX223" fmla="*/ 1098944 w 1485658"/>
              <a:gd name="connsiteY223" fmla="*/ 472957 h 1479935"/>
              <a:gd name="connsiteX224" fmla="*/ 1068391 w 1485658"/>
              <a:gd name="connsiteY224" fmla="*/ 503394 h 1479935"/>
              <a:gd name="connsiteX225" fmla="*/ 1127783 w 1485658"/>
              <a:gd name="connsiteY225" fmla="*/ 503394 h 1479935"/>
              <a:gd name="connsiteX226" fmla="*/ 1158336 w 1485658"/>
              <a:gd name="connsiteY226" fmla="*/ 533831 h 1479935"/>
              <a:gd name="connsiteX227" fmla="*/ 1188888 w 1485658"/>
              <a:gd name="connsiteY227" fmla="*/ 503394 h 1479935"/>
              <a:gd name="connsiteX228" fmla="*/ 1158336 w 1485658"/>
              <a:gd name="connsiteY228" fmla="*/ 472957 h 1479935"/>
              <a:gd name="connsiteX229" fmla="*/ 1127783 w 1485658"/>
              <a:gd name="connsiteY229" fmla="*/ 503394 h 1479935"/>
              <a:gd name="connsiteX230" fmla="*/ 1187080 w 1485658"/>
              <a:gd name="connsiteY230" fmla="*/ 503394 h 1479935"/>
              <a:gd name="connsiteX231" fmla="*/ 1217633 w 1485658"/>
              <a:gd name="connsiteY231" fmla="*/ 533831 h 1479935"/>
              <a:gd name="connsiteX232" fmla="*/ 1248185 w 1485658"/>
              <a:gd name="connsiteY232" fmla="*/ 503394 h 1479935"/>
              <a:gd name="connsiteX233" fmla="*/ 1217633 w 1485658"/>
              <a:gd name="connsiteY233" fmla="*/ 472957 h 1479935"/>
              <a:gd name="connsiteX234" fmla="*/ 1187080 w 1485658"/>
              <a:gd name="connsiteY234" fmla="*/ 503394 h 1479935"/>
              <a:gd name="connsiteX235" fmla="*/ 1246472 w 1485658"/>
              <a:gd name="connsiteY235" fmla="*/ 503394 h 1479935"/>
              <a:gd name="connsiteX236" fmla="*/ 1277025 w 1485658"/>
              <a:gd name="connsiteY236" fmla="*/ 533831 h 1479935"/>
              <a:gd name="connsiteX237" fmla="*/ 1307577 w 1485658"/>
              <a:gd name="connsiteY237" fmla="*/ 503394 h 1479935"/>
              <a:gd name="connsiteX238" fmla="*/ 1277025 w 1485658"/>
              <a:gd name="connsiteY238" fmla="*/ 472957 h 1479935"/>
              <a:gd name="connsiteX239" fmla="*/ 1246472 w 1485658"/>
              <a:gd name="connsiteY239" fmla="*/ 503394 h 1479935"/>
              <a:gd name="connsiteX240" fmla="*/ 1305769 w 1485658"/>
              <a:gd name="connsiteY240" fmla="*/ 503394 h 1479935"/>
              <a:gd name="connsiteX241" fmla="*/ 1336322 w 1485658"/>
              <a:gd name="connsiteY241" fmla="*/ 533831 h 1479935"/>
              <a:gd name="connsiteX242" fmla="*/ 1366874 w 1485658"/>
              <a:gd name="connsiteY242" fmla="*/ 503394 h 1479935"/>
              <a:gd name="connsiteX243" fmla="*/ 1336322 w 1485658"/>
              <a:gd name="connsiteY243" fmla="*/ 472957 h 1479935"/>
              <a:gd name="connsiteX244" fmla="*/ 1305769 w 1485658"/>
              <a:gd name="connsiteY244" fmla="*/ 503394 h 1479935"/>
              <a:gd name="connsiteX245" fmla="*/ 95 w 1485658"/>
              <a:gd name="connsiteY245" fmla="*/ 562561 h 1479935"/>
              <a:gd name="connsiteX246" fmla="*/ 30648 w 1485658"/>
              <a:gd name="connsiteY246" fmla="*/ 592998 h 1479935"/>
              <a:gd name="connsiteX247" fmla="*/ 61200 w 1485658"/>
              <a:gd name="connsiteY247" fmla="*/ 562561 h 1479935"/>
              <a:gd name="connsiteX248" fmla="*/ 30648 w 1485658"/>
              <a:gd name="connsiteY248" fmla="*/ 532124 h 1479935"/>
              <a:gd name="connsiteX249" fmla="*/ 95 w 1485658"/>
              <a:gd name="connsiteY249" fmla="*/ 562561 h 1479935"/>
              <a:gd name="connsiteX250" fmla="*/ 118784 w 1485658"/>
              <a:gd name="connsiteY250" fmla="*/ 562561 h 1479935"/>
              <a:gd name="connsiteX251" fmla="*/ 149337 w 1485658"/>
              <a:gd name="connsiteY251" fmla="*/ 592998 h 1479935"/>
              <a:gd name="connsiteX252" fmla="*/ 179889 w 1485658"/>
              <a:gd name="connsiteY252" fmla="*/ 562561 h 1479935"/>
              <a:gd name="connsiteX253" fmla="*/ 149337 w 1485658"/>
              <a:gd name="connsiteY253" fmla="*/ 532124 h 1479935"/>
              <a:gd name="connsiteX254" fmla="*/ 118784 w 1485658"/>
              <a:gd name="connsiteY254" fmla="*/ 562561 h 1479935"/>
              <a:gd name="connsiteX255" fmla="*/ 237473 w 1485658"/>
              <a:gd name="connsiteY255" fmla="*/ 562561 h 1479935"/>
              <a:gd name="connsiteX256" fmla="*/ 268026 w 1485658"/>
              <a:gd name="connsiteY256" fmla="*/ 592998 h 1479935"/>
              <a:gd name="connsiteX257" fmla="*/ 298578 w 1485658"/>
              <a:gd name="connsiteY257" fmla="*/ 562561 h 1479935"/>
              <a:gd name="connsiteX258" fmla="*/ 268026 w 1485658"/>
              <a:gd name="connsiteY258" fmla="*/ 532124 h 1479935"/>
              <a:gd name="connsiteX259" fmla="*/ 237473 w 1485658"/>
              <a:gd name="connsiteY259" fmla="*/ 562561 h 1479935"/>
              <a:gd name="connsiteX260" fmla="*/ 534243 w 1485658"/>
              <a:gd name="connsiteY260" fmla="*/ 562561 h 1479935"/>
              <a:gd name="connsiteX261" fmla="*/ 564796 w 1485658"/>
              <a:gd name="connsiteY261" fmla="*/ 592998 h 1479935"/>
              <a:gd name="connsiteX262" fmla="*/ 595348 w 1485658"/>
              <a:gd name="connsiteY262" fmla="*/ 562561 h 1479935"/>
              <a:gd name="connsiteX263" fmla="*/ 564796 w 1485658"/>
              <a:gd name="connsiteY263" fmla="*/ 532124 h 1479935"/>
              <a:gd name="connsiteX264" fmla="*/ 534243 w 1485658"/>
              <a:gd name="connsiteY264" fmla="*/ 562561 h 1479935"/>
              <a:gd name="connsiteX265" fmla="*/ 712324 w 1485658"/>
              <a:gd name="connsiteY265" fmla="*/ 562561 h 1479935"/>
              <a:gd name="connsiteX266" fmla="*/ 742877 w 1485658"/>
              <a:gd name="connsiteY266" fmla="*/ 592998 h 1479935"/>
              <a:gd name="connsiteX267" fmla="*/ 773429 w 1485658"/>
              <a:gd name="connsiteY267" fmla="*/ 562561 h 1479935"/>
              <a:gd name="connsiteX268" fmla="*/ 742877 w 1485658"/>
              <a:gd name="connsiteY268" fmla="*/ 532124 h 1479935"/>
              <a:gd name="connsiteX269" fmla="*/ 712324 w 1485658"/>
              <a:gd name="connsiteY269" fmla="*/ 562561 h 1479935"/>
              <a:gd name="connsiteX270" fmla="*/ 771621 w 1485658"/>
              <a:gd name="connsiteY270" fmla="*/ 562561 h 1479935"/>
              <a:gd name="connsiteX271" fmla="*/ 802174 w 1485658"/>
              <a:gd name="connsiteY271" fmla="*/ 592998 h 1479935"/>
              <a:gd name="connsiteX272" fmla="*/ 832726 w 1485658"/>
              <a:gd name="connsiteY272" fmla="*/ 562561 h 1479935"/>
              <a:gd name="connsiteX273" fmla="*/ 802174 w 1485658"/>
              <a:gd name="connsiteY273" fmla="*/ 532124 h 1479935"/>
              <a:gd name="connsiteX274" fmla="*/ 771621 w 1485658"/>
              <a:gd name="connsiteY274" fmla="*/ 562561 h 1479935"/>
              <a:gd name="connsiteX275" fmla="*/ 949702 w 1485658"/>
              <a:gd name="connsiteY275" fmla="*/ 562561 h 1479935"/>
              <a:gd name="connsiteX276" fmla="*/ 980255 w 1485658"/>
              <a:gd name="connsiteY276" fmla="*/ 592998 h 1479935"/>
              <a:gd name="connsiteX277" fmla="*/ 1010807 w 1485658"/>
              <a:gd name="connsiteY277" fmla="*/ 562561 h 1479935"/>
              <a:gd name="connsiteX278" fmla="*/ 980255 w 1485658"/>
              <a:gd name="connsiteY278" fmla="*/ 532124 h 1479935"/>
              <a:gd name="connsiteX279" fmla="*/ 949702 w 1485658"/>
              <a:gd name="connsiteY279" fmla="*/ 562561 h 1479935"/>
              <a:gd name="connsiteX280" fmla="*/ 1009094 w 1485658"/>
              <a:gd name="connsiteY280" fmla="*/ 562561 h 1479935"/>
              <a:gd name="connsiteX281" fmla="*/ 1039647 w 1485658"/>
              <a:gd name="connsiteY281" fmla="*/ 592998 h 1479935"/>
              <a:gd name="connsiteX282" fmla="*/ 1070199 w 1485658"/>
              <a:gd name="connsiteY282" fmla="*/ 562561 h 1479935"/>
              <a:gd name="connsiteX283" fmla="*/ 1039647 w 1485658"/>
              <a:gd name="connsiteY283" fmla="*/ 532124 h 1479935"/>
              <a:gd name="connsiteX284" fmla="*/ 1009094 w 1485658"/>
              <a:gd name="connsiteY284" fmla="*/ 562561 h 1479935"/>
              <a:gd name="connsiteX285" fmla="*/ 1127783 w 1485658"/>
              <a:gd name="connsiteY285" fmla="*/ 562561 h 1479935"/>
              <a:gd name="connsiteX286" fmla="*/ 1158336 w 1485658"/>
              <a:gd name="connsiteY286" fmla="*/ 592998 h 1479935"/>
              <a:gd name="connsiteX287" fmla="*/ 1188888 w 1485658"/>
              <a:gd name="connsiteY287" fmla="*/ 562561 h 1479935"/>
              <a:gd name="connsiteX288" fmla="*/ 1158336 w 1485658"/>
              <a:gd name="connsiteY288" fmla="*/ 532124 h 1479935"/>
              <a:gd name="connsiteX289" fmla="*/ 1127783 w 1485658"/>
              <a:gd name="connsiteY289" fmla="*/ 562561 h 1479935"/>
              <a:gd name="connsiteX290" fmla="*/ 1365161 w 1485658"/>
              <a:gd name="connsiteY290" fmla="*/ 562561 h 1479935"/>
              <a:gd name="connsiteX291" fmla="*/ 1395714 w 1485658"/>
              <a:gd name="connsiteY291" fmla="*/ 592998 h 1479935"/>
              <a:gd name="connsiteX292" fmla="*/ 1426266 w 1485658"/>
              <a:gd name="connsiteY292" fmla="*/ 562561 h 1479935"/>
              <a:gd name="connsiteX293" fmla="*/ 1395714 w 1485658"/>
              <a:gd name="connsiteY293" fmla="*/ 532124 h 1479935"/>
              <a:gd name="connsiteX294" fmla="*/ 1365161 w 1485658"/>
              <a:gd name="connsiteY294" fmla="*/ 562561 h 1479935"/>
              <a:gd name="connsiteX295" fmla="*/ 95 w 1485658"/>
              <a:gd name="connsiteY295" fmla="*/ 621728 h 1479935"/>
              <a:gd name="connsiteX296" fmla="*/ 30648 w 1485658"/>
              <a:gd name="connsiteY296" fmla="*/ 652165 h 1479935"/>
              <a:gd name="connsiteX297" fmla="*/ 61200 w 1485658"/>
              <a:gd name="connsiteY297" fmla="*/ 621728 h 1479935"/>
              <a:gd name="connsiteX298" fmla="*/ 30648 w 1485658"/>
              <a:gd name="connsiteY298" fmla="*/ 591291 h 1479935"/>
              <a:gd name="connsiteX299" fmla="*/ 95 w 1485658"/>
              <a:gd name="connsiteY299" fmla="*/ 621728 h 1479935"/>
              <a:gd name="connsiteX300" fmla="*/ 118784 w 1485658"/>
              <a:gd name="connsiteY300" fmla="*/ 621728 h 1479935"/>
              <a:gd name="connsiteX301" fmla="*/ 149337 w 1485658"/>
              <a:gd name="connsiteY301" fmla="*/ 652165 h 1479935"/>
              <a:gd name="connsiteX302" fmla="*/ 179889 w 1485658"/>
              <a:gd name="connsiteY302" fmla="*/ 621728 h 1479935"/>
              <a:gd name="connsiteX303" fmla="*/ 149337 w 1485658"/>
              <a:gd name="connsiteY303" fmla="*/ 591291 h 1479935"/>
              <a:gd name="connsiteX304" fmla="*/ 118784 w 1485658"/>
              <a:gd name="connsiteY304" fmla="*/ 621728 h 1479935"/>
              <a:gd name="connsiteX305" fmla="*/ 237473 w 1485658"/>
              <a:gd name="connsiteY305" fmla="*/ 621728 h 1479935"/>
              <a:gd name="connsiteX306" fmla="*/ 268026 w 1485658"/>
              <a:gd name="connsiteY306" fmla="*/ 652165 h 1479935"/>
              <a:gd name="connsiteX307" fmla="*/ 298578 w 1485658"/>
              <a:gd name="connsiteY307" fmla="*/ 621728 h 1479935"/>
              <a:gd name="connsiteX308" fmla="*/ 268026 w 1485658"/>
              <a:gd name="connsiteY308" fmla="*/ 591291 h 1479935"/>
              <a:gd name="connsiteX309" fmla="*/ 237473 w 1485658"/>
              <a:gd name="connsiteY309" fmla="*/ 621728 h 1479935"/>
              <a:gd name="connsiteX310" fmla="*/ 296865 w 1485658"/>
              <a:gd name="connsiteY310" fmla="*/ 621728 h 1479935"/>
              <a:gd name="connsiteX311" fmla="*/ 327418 w 1485658"/>
              <a:gd name="connsiteY311" fmla="*/ 652165 h 1479935"/>
              <a:gd name="connsiteX312" fmla="*/ 357970 w 1485658"/>
              <a:gd name="connsiteY312" fmla="*/ 621728 h 1479935"/>
              <a:gd name="connsiteX313" fmla="*/ 327418 w 1485658"/>
              <a:gd name="connsiteY313" fmla="*/ 591291 h 1479935"/>
              <a:gd name="connsiteX314" fmla="*/ 296865 w 1485658"/>
              <a:gd name="connsiteY314" fmla="*/ 621728 h 1479935"/>
              <a:gd name="connsiteX315" fmla="*/ 356162 w 1485658"/>
              <a:gd name="connsiteY315" fmla="*/ 621728 h 1479935"/>
              <a:gd name="connsiteX316" fmla="*/ 386715 w 1485658"/>
              <a:gd name="connsiteY316" fmla="*/ 652165 h 1479935"/>
              <a:gd name="connsiteX317" fmla="*/ 417267 w 1485658"/>
              <a:gd name="connsiteY317" fmla="*/ 621728 h 1479935"/>
              <a:gd name="connsiteX318" fmla="*/ 386715 w 1485658"/>
              <a:gd name="connsiteY318" fmla="*/ 591291 h 1479935"/>
              <a:gd name="connsiteX319" fmla="*/ 356162 w 1485658"/>
              <a:gd name="connsiteY319" fmla="*/ 621728 h 1479935"/>
              <a:gd name="connsiteX320" fmla="*/ 474851 w 1485658"/>
              <a:gd name="connsiteY320" fmla="*/ 621728 h 1479935"/>
              <a:gd name="connsiteX321" fmla="*/ 505404 w 1485658"/>
              <a:gd name="connsiteY321" fmla="*/ 652165 h 1479935"/>
              <a:gd name="connsiteX322" fmla="*/ 535956 w 1485658"/>
              <a:gd name="connsiteY322" fmla="*/ 621728 h 1479935"/>
              <a:gd name="connsiteX323" fmla="*/ 505404 w 1485658"/>
              <a:gd name="connsiteY323" fmla="*/ 591291 h 1479935"/>
              <a:gd name="connsiteX324" fmla="*/ 474851 w 1485658"/>
              <a:gd name="connsiteY324" fmla="*/ 621728 h 1479935"/>
              <a:gd name="connsiteX325" fmla="*/ 593635 w 1485658"/>
              <a:gd name="connsiteY325" fmla="*/ 621728 h 1479935"/>
              <a:gd name="connsiteX326" fmla="*/ 624188 w 1485658"/>
              <a:gd name="connsiteY326" fmla="*/ 652165 h 1479935"/>
              <a:gd name="connsiteX327" fmla="*/ 654740 w 1485658"/>
              <a:gd name="connsiteY327" fmla="*/ 621728 h 1479935"/>
              <a:gd name="connsiteX328" fmla="*/ 624188 w 1485658"/>
              <a:gd name="connsiteY328" fmla="*/ 591291 h 1479935"/>
              <a:gd name="connsiteX329" fmla="*/ 593635 w 1485658"/>
              <a:gd name="connsiteY329" fmla="*/ 621728 h 1479935"/>
              <a:gd name="connsiteX330" fmla="*/ 652932 w 1485658"/>
              <a:gd name="connsiteY330" fmla="*/ 621728 h 1479935"/>
              <a:gd name="connsiteX331" fmla="*/ 683485 w 1485658"/>
              <a:gd name="connsiteY331" fmla="*/ 652165 h 1479935"/>
              <a:gd name="connsiteX332" fmla="*/ 714037 w 1485658"/>
              <a:gd name="connsiteY332" fmla="*/ 621728 h 1479935"/>
              <a:gd name="connsiteX333" fmla="*/ 683485 w 1485658"/>
              <a:gd name="connsiteY333" fmla="*/ 591291 h 1479935"/>
              <a:gd name="connsiteX334" fmla="*/ 652932 w 1485658"/>
              <a:gd name="connsiteY334" fmla="*/ 621728 h 1479935"/>
              <a:gd name="connsiteX335" fmla="*/ 712324 w 1485658"/>
              <a:gd name="connsiteY335" fmla="*/ 621728 h 1479935"/>
              <a:gd name="connsiteX336" fmla="*/ 742877 w 1485658"/>
              <a:gd name="connsiteY336" fmla="*/ 652165 h 1479935"/>
              <a:gd name="connsiteX337" fmla="*/ 773429 w 1485658"/>
              <a:gd name="connsiteY337" fmla="*/ 621728 h 1479935"/>
              <a:gd name="connsiteX338" fmla="*/ 742877 w 1485658"/>
              <a:gd name="connsiteY338" fmla="*/ 591291 h 1479935"/>
              <a:gd name="connsiteX339" fmla="*/ 712324 w 1485658"/>
              <a:gd name="connsiteY339" fmla="*/ 621728 h 1479935"/>
              <a:gd name="connsiteX340" fmla="*/ 771621 w 1485658"/>
              <a:gd name="connsiteY340" fmla="*/ 621728 h 1479935"/>
              <a:gd name="connsiteX341" fmla="*/ 802174 w 1485658"/>
              <a:gd name="connsiteY341" fmla="*/ 652165 h 1479935"/>
              <a:gd name="connsiteX342" fmla="*/ 832726 w 1485658"/>
              <a:gd name="connsiteY342" fmla="*/ 621728 h 1479935"/>
              <a:gd name="connsiteX343" fmla="*/ 802174 w 1485658"/>
              <a:gd name="connsiteY343" fmla="*/ 591291 h 1479935"/>
              <a:gd name="connsiteX344" fmla="*/ 771621 w 1485658"/>
              <a:gd name="connsiteY344" fmla="*/ 621728 h 1479935"/>
              <a:gd name="connsiteX345" fmla="*/ 831013 w 1485658"/>
              <a:gd name="connsiteY345" fmla="*/ 621728 h 1479935"/>
              <a:gd name="connsiteX346" fmla="*/ 861566 w 1485658"/>
              <a:gd name="connsiteY346" fmla="*/ 652165 h 1479935"/>
              <a:gd name="connsiteX347" fmla="*/ 892118 w 1485658"/>
              <a:gd name="connsiteY347" fmla="*/ 621728 h 1479935"/>
              <a:gd name="connsiteX348" fmla="*/ 861566 w 1485658"/>
              <a:gd name="connsiteY348" fmla="*/ 591291 h 1479935"/>
              <a:gd name="connsiteX349" fmla="*/ 831013 w 1485658"/>
              <a:gd name="connsiteY349" fmla="*/ 621728 h 1479935"/>
              <a:gd name="connsiteX350" fmla="*/ 890310 w 1485658"/>
              <a:gd name="connsiteY350" fmla="*/ 621728 h 1479935"/>
              <a:gd name="connsiteX351" fmla="*/ 920863 w 1485658"/>
              <a:gd name="connsiteY351" fmla="*/ 652165 h 1479935"/>
              <a:gd name="connsiteX352" fmla="*/ 951415 w 1485658"/>
              <a:gd name="connsiteY352" fmla="*/ 621728 h 1479935"/>
              <a:gd name="connsiteX353" fmla="*/ 920863 w 1485658"/>
              <a:gd name="connsiteY353" fmla="*/ 591291 h 1479935"/>
              <a:gd name="connsiteX354" fmla="*/ 890310 w 1485658"/>
              <a:gd name="connsiteY354" fmla="*/ 621728 h 1479935"/>
              <a:gd name="connsiteX355" fmla="*/ 949702 w 1485658"/>
              <a:gd name="connsiteY355" fmla="*/ 621728 h 1479935"/>
              <a:gd name="connsiteX356" fmla="*/ 980255 w 1485658"/>
              <a:gd name="connsiteY356" fmla="*/ 652165 h 1479935"/>
              <a:gd name="connsiteX357" fmla="*/ 1010807 w 1485658"/>
              <a:gd name="connsiteY357" fmla="*/ 621728 h 1479935"/>
              <a:gd name="connsiteX358" fmla="*/ 980255 w 1485658"/>
              <a:gd name="connsiteY358" fmla="*/ 591291 h 1479935"/>
              <a:gd name="connsiteX359" fmla="*/ 949702 w 1485658"/>
              <a:gd name="connsiteY359" fmla="*/ 621728 h 1479935"/>
              <a:gd name="connsiteX360" fmla="*/ 1009094 w 1485658"/>
              <a:gd name="connsiteY360" fmla="*/ 621728 h 1479935"/>
              <a:gd name="connsiteX361" fmla="*/ 1039647 w 1485658"/>
              <a:gd name="connsiteY361" fmla="*/ 652165 h 1479935"/>
              <a:gd name="connsiteX362" fmla="*/ 1070199 w 1485658"/>
              <a:gd name="connsiteY362" fmla="*/ 621728 h 1479935"/>
              <a:gd name="connsiteX363" fmla="*/ 1039647 w 1485658"/>
              <a:gd name="connsiteY363" fmla="*/ 591291 h 1479935"/>
              <a:gd name="connsiteX364" fmla="*/ 1009094 w 1485658"/>
              <a:gd name="connsiteY364" fmla="*/ 621728 h 1479935"/>
              <a:gd name="connsiteX365" fmla="*/ 1068391 w 1485658"/>
              <a:gd name="connsiteY365" fmla="*/ 621728 h 1479935"/>
              <a:gd name="connsiteX366" fmla="*/ 1098944 w 1485658"/>
              <a:gd name="connsiteY366" fmla="*/ 652165 h 1479935"/>
              <a:gd name="connsiteX367" fmla="*/ 1129496 w 1485658"/>
              <a:gd name="connsiteY367" fmla="*/ 621728 h 1479935"/>
              <a:gd name="connsiteX368" fmla="*/ 1098944 w 1485658"/>
              <a:gd name="connsiteY368" fmla="*/ 591291 h 1479935"/>
              <a:gd name="connsiteX369" fmla="*/ 1068391 w 1485658"/>
              <a:gd name="connsiteY369" fmla="*/ 621728 h 1479935"/>
              <a:gd name="connsiteX370" fmla="*/ 1127783 w 1485658"/>
              <a:gd name="connsiteY370" fmla="*/ 621728 h 1479935"/>
              <a:gd name="connsiteX371" fmla="*/ 1158336 w 1485658"/>
              <a:gd name="connsiteY371" fmla="*/ 652165 h 1479935"/>
              <a:gd name="connsiteX372" fmla="*/ 1188888 w 1485658"/>
              <a:gd name="connsiteY372" fmla="*/ 621728 h 1479935"/>
              <a:gd name="connsiteX373" fmla="*/ 1158336 w 1485658"/>
              <a:gd name="connsiteY373" fmla="*/ 591291 h 1479935"/>
              <a:gd name="connsiteX374" fmla="*/ 1127783 w 1485658"/>
              <a:gd name="connsiteY374" fmla="*/ 621728 h 1479935"/>
              <a:gd name="connsiteX375" fmla="*/ 1187080 w 1485658"/>
              <a:gd name="connsiteY375" fmla="*/ 621728 h 1479935"/>
              <a:gd name="connsiteX376" fmla="*/ 1217633 w 1485658"/>
              <a:gd name="connsiteY376" fmla="*/ 652165 h 1479935"/>
              <a:gd name="connsiteX377" fmla="*/ 1248185 w 1485658"/>
              <a:gd name="connsiteY377" fmla="*/ 621728 h 1479935"/>
              <a:gd name="connsiteX378" fmla="*/ 1217633 w 1485658"/>
              <a:gd name="connsiteY378" fmla="*/ 591291 h 1479935"/>
              <a:gd name="connsiteX379" fmla="*/ 1187080 w 1485658"/>
              <a:gd name="connsiteY379" fmla="*/ 621728 h 1479935"/>
              <a:gd name="connsiteX380" fmla="*/ 1246472 w 1485658"/>
              <a:gd name="connsiteY380" fmla="*/ 621728 h 1479935"/>
              <a:gd name="connsiteX381" fmla="*/ 1277025 w 1485658"/>
              <a:gd name="connsiteY381" fmla="*/ 652165 h 1479935"/>
              <a:gd name="connsiteX382" fmla="*/ 1307577 w 1485658"/>
              <a:gd name="connsiteY382" fmla="*/ 621728 h 1479935"/>
              <a:gd name="connsiteX383" fmla="*/ 1277025 w 1485658"/>
              <a:gd name="connsiteY383" fmla="*/ 591291 h 1479935"/>
              <a:gd name="connsiteX384" fmla="*/ 1246472 w 1485658"/>
              <a:gd name="connsiteY384" fmla="*/ 621728 h 1479935"/>
              <a:gd name="connsiteX385" fmla="*/ 1365161 w 1485658"/>
              <a:gd name="connsiteY385" fmla="*/ 621728 h 1479935"/>
              <a:gd name="connsiteX386" fmla="*/ 1395714 w 1485658"/>
              <a:gd name="connsiteY386" fmla="*/ 652165 h 1479935"/>
              <a:gd name="connsiteX387" fmla="*/ 1426266 w 1485658"/>
              <a:gd name="connsiteY387" fmla="*/ 621728 h 1479935"/>
              <a:gd name="connsiteX388" fmla="*/ 1395714 w 1485658"/>
              <a:gd name="connsiteY388" fmla="*/ 591291 h 1479935"/>
              <a:gd name="connsiteX389" fmla="*/ 1365161 w 1485658"/>
              <a:gd name="connsiteY389" fmla="*/ 621728 h 1479935"/>
              <a:gd name="connsiteX390" fmla="*/ 1424553 w 1485658"/>
              <a:gd name="connsiteY390" fmla="*/ 621728 h 1479935"/>
              <a:gd name="connsiteX391" fmla="*/ 1455106 w 1485658"/>
              <a:gd name="connsiteY391" fmla="*/ 652165 h 1479935"/>
              <a:gd name="connsiteX392" fmla="*/ 1485658 w 1485658"/>
              <a:gd name="connsiteY392" fmla="*/ 621728 h 1479935"/>
              <a:gd name="connsiteX393" fmla="*/ 1455106 w 1485658"/>
              <a:gd name="connsiteY393" fmla="*/ 591291 h 1479935"/>
              <a:gd name="connsiteX394" fmla="*/ 1424553 w 1485658"/>
              <a:gd name="connsiteY394" fmla="*/ 621728 h 1479935"/>
              <a:gd name="connsiteX395" fmla="*/ 118784 w 1485658"/>
              <a:gd name="connsiteY395" fmla="*/ 680800 h 1479935"/>
              <a:gd name="connsiteX396" fmla="*/ 149337 w 1485658"/>
              <a:gd name="connsiteY396" fmla="*/ 711237 h 1479935"/>
              <a:gd name="connsiteX397" fmla="*/ 179889 w 1485658"/>
              <a:gd name="connsiteY397" fmla="*/ 680800 h 1479935"/>
              <a:gd name="connsiteX398" fmla="*/ 149337 w 1485658"/>
              <a:gd name="connsiteY398" fmla="*/ 650364 h 1479935"/>
              <a:gd name="connsiteX399" fmla="*/ 118784 w 1485658"/>
              <a:gd name="connsiteY399" fmla="*/ 680800 h 1479935"/>
              <a:gd name="connsiteX400" fmla="*/ 178081 w 1485658"/>
              <a:gd name="connsiteY400" fmla="*/ 680800 h 1479935"/>
              <a:gd name="connsiteX401" fmla="*/ 208634 w 1485658"/>
              <a:gd name="connsiteY401" fmla="*/ 711237 h 1479935"/>
              <a:gd name="connsiteX402" fmla="*/ 239186 w 1485658"/>
              <a:gd name="connsiteY402" fmla="*/ 680800 h 1479935"/>
              <a:gd name="connsiteX403" fmla="*/ 208634 w 1485658"/>
              <a:gd name="connsiteY403" fmla="*/ 650364 h 1479935"/>
              <a:gd name="connsiteX404" fmla="*/ 178081 w 1485658"/>
              <a:gd name="connsiteY404" fmla="*/ 680800 h 1479935"/>
              <a:gd name="connsiteX405" fmla="*/ 237473 w 1485658"/>
              <a:gd name="connsiteY405" fmla="*/ 680800 h 1479935"/>
              <a:gd name="connsiteX406" fmla="*/ 268026 w 1485658"/>
              <a:gd name="connsiteY406" fmla="*/ 711237 h 1479935"/>
              <a:gd name="connsiteX407" fmla="*/ 298578 w 1485658"/>
              <a:gd name="connsiteY407" fmla="*/ 680800 h 1479935"/>
              <a:gd name="connsiteX408" fmla="*/ 268026 w 1485658"/>
              <a:gd name="connsiteY408" fmla="*/ 650364 h 1479935"/>
              <a:gd name="connsiteX409" fmla="*/ 237473 w 1485658"/>
              <a:gd name="connsiteY409" fmla="*/ 680800 h 1479935"/>
              <a:gd name="connsiteX410" fmla="*/ 296865 w 1485658"/>
              <a:gd name="connsiteY410" fmla="*/ 680800 h 1479935"/>
              <a:gd name="connsiteX411" fmla="*/ 327418 w 1485658"/>
              <a:gd name="connsiteY411" fmla="*/ 711237 h 1479935"/>
              <a:gd name="connsiteX412" fmla="*/ 357970 w 1485658"/>
              <a:gd name="connsiteY412" fmla="*/ 680800 h 1479935"/>
              <a:gd name="connsiteX413" fmla="*/ 327418 w 1485658"/>
              <a:gd name="connsiteY413" fmla="*/ 650364 h 1479935"/>
              <a:gd name="connsiteX414" fmla="*/ 296865 w 1485658"/>
              <a:gd name="connsiteY414" fmla="*/ 680800 h 1479935"/>
              <a:gd name="connsiteX415" fmla="*/ 474851 w 1485658"/>
              <a:gd name="connsiteY415" fmla="*/ 680800 h 1479935"/>
              <a:gd name="connsiteX416" fmla="*/ 505404 w 1485658"/>
              <a:gd name="connsiteY416" fmla="*/ 711237 h 1479935"/>
              <a:gd name="connsiteX417" fmla="*/ 535956 w 1485658"/>
              <a:gd name="connsiteY417" fmla="*/ 680800 h 1479935"/>
              <a:gd name="connsiteX418" fmla="*/ 505404 w 1485658"/>
              <a:gd name="connsiteY418" fmla="*/ 650364 h 1479935"/>
              <a:gd name="connsiteX419" fmla="*/ 474851 w 1485658"/>
              <a:gd name="connsiteY419" fmla="*/ 680800 h 1479935"/>
              <a:gd name="connsiteX420" fmla="*/ 593635 w 1485658"/>
              <a:gd name="connsiteY420" fmla="*/ 680800 h 1479935"/>
              <a:gd name="connsiteX421" fmla="*/ 624188 w 1485658"/>
              <a:gd name="connsiteY421" fmla="*/ 711237 h 1479935"/>
              <a:gd name="connsiteX422" fmla="*/ 654740 w 1485658"/>
              <a:gd name="connsiteY422" fmla="*/ 680800 h 1479935"/>
              <a:gd name="connsiteX423" fmla="*/ 624188 w 1485658"/>
              <a:gd name="connsiteY423" fmla="*/ 650364 h 1479935"/>
              <a:gd name="connsiteX424" fmla="*/ 593635 w 1485658"/>
              <a:gd name="connsiteY424" fmla="*/ 680800 h 1479935"/>
              <a:gd name="connsiteX425" fmla="*/ 652932 w 1485658"/>
              <a:gd name="connsiteY425" fmla="*/ 680800 h 1479935"/>
              <a:gd name="connsiteX426" fmla="*/ 683485 w 1485658"/>
              <a:gd name="connsiteY426" fmla="*/ 711237 h 1479935"/>
              <a:gd name="connsiteX427" fmla="*/ 714037 w 1485658"/>
              <a:gd name="connsiteY427" fmla="*/ 680800 h 1479935"/>
              <a:gd name="connsiteX428" fmla="*/ 683485 w 1485658"/>
              <a:gd name="connsiteY428" fmla="*/ 650364 h 1479935"/>
              <a:gd name="connsiteX429" fmla="*/ 652932 w 1485658"/>
              <a:gd name="connsiteY429" fmla="*/ 680800 h 1479935"/>
              <a:gd name="connsiteX430" fmla="*/ 712324 w 1485658"/>
              <a:gd name="connsiteY430" fmla="*/ 680800 h 1479935"/>
              <a:gd name="connsiteX431" fmla="*/ 742877 w 1485658"/>
              <a:gd name="connsiteY431" fmla="*/ 711237 h 1479935"/>
              <a:gd name="connsiteX432" fmla="*/ 773429 w 1485658"/>
              <a:gd name="connsiteY432" fmla="*/ 680800 h 1479935"/>
              <a:gd name="connsiteX433" fmla="*/ 742877 w 1485658"/>
              <a:gd name="connsiteY433" fmla="*/ 650364 h 1479935"/>
              <a:gd name="connsiteX434" fmla="*/ 712324 w 1485658"/>
              <a:gd name="connsiteY434" fmla="*/ 680800 h 1479935"/>
              <a:gd name="connsiteX435" fmla="*/ 831013 w 1485658"/>
              <a:gd name="connsiteY435" fmla="*/ 680800 h 1479935"/>
              <a:gd name="connsiteX436" fmla="*/ 861566 w 1485658"/>
              <a:gd name="connsiteY436" fmla="*/ 711237 h 1479935"/>
              <a:gd name="connsiteX437" fmla="*/ 892118 w 1485658"/>
              <a:gd name="connsiteY437" fmla="*/ 680800 h 1479935"/>
              <a:gd name="connsiteX438" fmla="*/ 861566 w 1485658"/>
              <a:gd name="connsiteY438" fmla="*/ 650364 h 1479935"/>
              <a:gd name="connsiteX439" fmla="*/ 831013 w 1485658"/>
              <a:gd name="connsiteY439" fmla="*/ 680800 h 1479935"/>
              <a:gd name="connsiteX440" fmla="*/ 949702 w 1485658"/>
              <a:gd name="connsiteY440" fmla="*/ 680800 h 1479935"/>
              <a:gd name="connsiteX441" fmla="*/ 980255 w 1485658"/>
              <a:gd name="connsiteY441" fmla="*/ 711237 h 1479935"/>
              <a:gd name="connsiteX442" fmla="*/ 1010807 w 1485658"/>
              <a:gd name="connsiteY442" fmla="*/ 680800 h 1479935"/>
              <a:gd name="connsiteX443" fmla="*/ 980255 w 1485658"/>
              <a:gd name="connsiteY443" fmla="*/ 650364 h 1479935"/>
              <a:gd name="connsiteX444" fmla="*/ 949702 w 1485658"/>
              <a:gd name="connsiteY444" fmla="*/ 680800 h 1479935"/>
              <a:gd name="connsiteX445" fmla="*/ 1068391 w 1485658"/>
              <a:gd name="connsiteY445" fmla="*/ 680800 h 1479935"/>
              <a:gd name="connsiteX446" fmla="*/ 1098944 w 1485658"/>
              <a:gd name="connsiteY446" fmla="*/ 711237 h 1479935"/>
              <a:gd name="connsiteX447" fmla="*/ 1129496 w 1485658"/>
              <a:gd name="connsiteY447" fmla="*/ 680800 h 1479935"/>
              <a:gd name="connsiteX448" fmla="*/ 1098944 w 1485658"/>
              <a:gd name="connsiteY448" fmla="*/ 650364 h 1479935"/>
              <a:gd name="connsiteX449" fmla="*/ 1068391 w 1485658"/>
              <a:gd name="connsiteY449" fmla="*/ 680800 h 1479935"/>
              <a:gd name="connsiteX450" fmla="*/ 1424553 w 1485658"/>
              <a:gd name="connsiteY450" fmla="*/ 680800 h 1479935"/>
              <a:gd name="connsiteX451" fmla="*/ 1455106 w 1485658"/>
              <a:gd name="connsiteY451" fmla="*/ 711237 h 1479935"/>
              <a:gd name="connsiteX452" fmla="*/ 1485658 w 1485658"/>
              <a:gd name="connsiteY452" fmla="*/ 680800 h 1479935"/>
              <a:gd name="connsiteX453" fmla="*/ 1455106 w 1485658"/>
              <a:gd name="connsiteY453" fmla="*/ 650364 h 1479935"/>
              <a:gd name="connsiteX454" fmla="*/ 1424553 w 1485658"/>
              <a:gd name="connsiteY454" fmla="*/ 680800 h 1479935"/>
              <a:gd name="connsiteX455" fmla="*/ 59392 w 1485658"/>
              <a:gd name="connsiteY455" fmla="*/ 739968 h 1479935"/>
              <a:gd name="connsiteX456" fmla="*/ 89945 w 1485658"/>
              <a:gd name="connsiteY456" fmla="*/ 770404 h 1479935"/>
              <a:gd name="connsiteX457" fmla="*/ 120497 w 1485658"/>
              <a:gd name="connsiteY457" fmla="*/ 739968 h 1479935"/>
              <a:gd name="connsiteX458" fmla="*/ 89945 w 1485658"/>
              <a:gd name="connsiteY458" fmla="*/ 709531 h 1479935"/>
              <a:gd name="connsiteX459" fmla="*/ 59392 w 1485658"/>
              <a:gd name="connsiteY459" fmla="*/ 739968 h 1479935"/>
              <a:gd name="connsiteX460" fmla="*/ 118784 w 1485658"/>
              <a:gd name="connsiteY460" fmla="*/ 739968 h 1479935"/>
              <a:gd name="connsiteX461" fmla="*/ 149337 w 1485658"/>
              <a:gd name="connsiteY461" fmla="*/ 770404 h 1479935"/>
              <a:gd name="connsiteX462" fmla="*/ 179889 w 1485658"/>
              <a:gd name="connsiteY462" fmla="*/ 739968 h 1479935"/>
              <a:gd name="connsiteX463" fmla="*/ 149337 w 1485658"/>
              <a:gd name="connsiteY463" fmla="*/ 709531 h 1479935"/>
              <a:gd name="connsiteX464" fmla="*/ 118784 w 1485658"/>
              <a:gd name="connsiteY464" fmla="*/ 739968 h 1479935"/>
              <a:gd name="connsiteX465" fmla="*/ 237473 w 1485658"/>
              <a:gd name="connsiteY465" fmla="*/ 739968 h 1479935"/>
              <a:gd name="connsiteX466" fmla="*/ 268026 w 1485658"/>
              <a:gd name="connsiteY466" fmla="*/ 770404 h 1479935"/>
              <a:gd name="connsiteX467" fmla="*/ 298578 w 1485658"/>
              <a:gd name="connsiteY467" fmla="*/ 739968 h 1479935"/>
              <a:gd name="connsiteX468" fmla="*/ 268026 w 1485658"/>
              <a:gd name="connsiteY468" fmla="*/ 709531 h 1479935"/>
              <a:gd name="connsiteX469" fmla="*/ 237473 w 1485658"/>
              <a:gd name="connsiteY469" fmla="*/ 739968 h 1479935"/>
              <a:gd name="connsiteX470" fmla="*/ 296865 w 1485658"/>
              <a:gd name="connsiteY470" fmla="*/ 739968 h 1479935"/>
              <a:gd name="connsiteX471" fmla="*/ 327418 w 1485658"/>
              <a:gd name="connsiteY471" fmla="*/ 770404 h 1479935"/>
              <a:gd name="connsiteX472" fmla="*/ 357970 w 1485658"/>
              <a:gd name="connsiteY472" fmla="*/ 739968 h 1479935"/>
              <a:gd name="connsiteX473" fmla="*/ 327418 w 1485658"/>
              <a:gd name="connsiteY473" fmla="*/ 709531 h 1479935"/>
              <a:gd name="connsiteX474" fmla="*/ 296865 w 1485658"/>
              <a:gd name="connsiteY474" fmla="*/ 739968 h 1479935"/>
              <a:gd name="connsiteX475" fmla="*/ 356162 w 1485658"/>
              <a:gd name="connsiteY475" fmla="*/ 739968 h 1479935"/>
              <a:gd name="connsiteX476" fmla="*/ 386715 w 1485658"/>
              <a:gd name="connsiteY476" fmla="*/ 770404 h 1479935"/>
              <a:gd name="connsiteX477" fmla="*/ 417267 w 1485658"/>
              <a:gd name="connsiteY477" fmla="*/ 739968 h 1479935"/>
              <a:gd name="connsiteX478" fmla="*/ 386715 w 1485658"/>
              <a:gd name="connsiteY478" fmla="*/ 709531 h 1479935"/>
              <a:gd name="connsiteX479" fmla="*/ 356162 w 1485658"/>
              <a:gd name="connsiteY479" fmla="*/ 739968 h 1479935"/>
              <a:gd name="connsiteX480" fmla="*/ 415554 w 1485658"/>
              <a:gd name="connsiteY480" fmla="*/ 739968 h 1479935"/>
              <a:gd name="connsiteX481" fmla="*/ 446107 w 1485658"/>
              <a:gd name="connsiteY481" fmla="*/ 770404 h 1479935"/>
              <a:gd name="connsiteX482" fmla="*/ 476659 w 1485658"/>
              <a:gd name="connsiteY482" fmla="*/ 739968 h 1479935"/>
              <a:gd name="connsiteX483" fmla="*/ 446107 w 1485658"/>
              <a:gd name="connsiteY483" fmla="*/ 709531 h 1479935"/>
              <a:gd name="connsiteX484" fmla="*/ 415554 w 1485658"/>
              <a:gd name="connsiteY484" fmla="*/ 739968 h 1479935"/>
              <a:gd name="connsiteX485" fmla="*/ 474851 w 1485658"/>
              <a:gd name="connsiteY485" fmla="*/ 739968 h 1479935"/>
              <a:gd name="connsiteX486" fmla="*/ 505404 w 1485658"/>
              <a:gd name="connsiteY486" fmla="*/ 770404 h 1479935"/>
              <a:gd name="connsiteX487" fmla="*/ 535956 w 1485658"/>
              <a:gd name="connsiteY487" fmla="*/ 739968 h 1479935"/>
              <a:gd name="connsiteX488" fmla="*/ 505404 w 1485658"/>
              <a:gd name="connsiteY488" fmla="*/ 709531 h 1479935"/>
              <a:gd name="connsiteX489" fmla="*/ 474851 w 1485658"/>
              <a:gd name="connsiteY489" fmla="*/ 739968 h 1479935"/>
              <a:gd name="connsiteX490" fmla="*/ 534243 w 1485658"/>
              <a:gd name="connsiteY490" fmla="*/ 739968 h 1479935"/>
              <a:gd name="connsiteX491" fmla="*/ 564796 w 1485658"/>
              <a:gd name="connsiteY491" fmla="*/ 770404 h 1479935"/>
              <a:gd name="connsiteX492" fmla="*/ 595348 w 1485658"/>
              <a:gd name="connsiteY492" fmla="*/ 739968 h 1479935"/>
              <a:gd name="connsiteX493" fmla="*/ 564796 w 1485658"/>
              <a:gd name="connsiteY493" fmla="*/ 709531 h 1479935"/>
              <a:gd name="connsiteX494" fmla="*/ 534243 w 1485658"/>
              <a:gd name="connsiteY494" fmla="*/ 739968 h 1479935"/>
              <a:gd name="connsiteX495" fmla="*/ 652932 w 1485658"/>
              <a:gd name="connsiteY495" fmla="*/ 739968 h 1479935"/>
              <a:gd name="connsiteX496" fmla="*/ 683485 w 1485658"/>
              <a:gd name="connsiteY496" fmla="*/ 770404 h 1479935"/>
              <a:gd name="connsiteX497" fmla="*/ 714037 w 1485658"/>
              <a:gd name="connsiteY497" fmla="*/ 739968 h 1479935"/>
              <a:gd name="connsiteX498" fmla="*/ 683485 w 1485658"/>
              <a:gd name="connsiteY498" fmla="*/ 709531 h 1479935"/>
              <a:gd name="connsiteX499" fmla="*/ 652932 w 1485658"/>
              <a:gd name="connsiteY499" fmla="*/ 739968 h 1479935"/>
              <a:gd name="connsiteX500" fmla="*/ 890310 w 1485658"/>
              <a:gd name="connsiteY500" fmla="*/ 739968 h 1479935"/>
              <a:gd name="connsiteX501" fmla="*/ 920863 w 1485658"/>
              <a:gd name="connsiteY501" fmla="*/ 770404 h 1479935"/>
              <a:gd name="connsiteX502" fmla="*/ 951415 w 1485658"/>
              <a:gd name="connsiteY502" fmla="*/ 739968 h 1479935"/>
              <a:gd name="connsiteX503" fmla="*/ 920863 w 1485658"/>
              <a:gd name="connsiteY503" fmla="*/ 709531 h 1479935"/>
              <a:gd name="connsiteX504" fmla="*/ 890310 w 1485658"/>
              <a:gd name="connsiteY504" fmla="*/ 739968 h 1479935"/>
              <a:gd name="connsiteX505" fmla="*/ 1009094 w 1485658"/>
              <a:gd name="connsiteY505" fmla="*/ 739968 h 1479935"/>
              <a:gd name="connsiteX506" fmla="*/ 1039647 w 1485658"/>
              <a:gd name="connsiteY506" fmla="*/ 770404 h 1479935"/>
              <a:gd name="connsiteX507" fmla="*/ 1070199 w 1485658"/>
              <a:gd name="connsiteY507" fmla="*/ 739968 h 1479935"/>
              <a:gd name="connsiteX508" fmla="*/ 1039647 w 1485658"/>
              <a:gd name="connsiteY508" fmla="*/ 709531 h 1479935"/>
              <a:gd name="connsiteX509" fmla="*/ 1009094 w 1485658"/>
              <a:gd name="connsiteY509" fmla="*/ 739968 h 1479935"/>
              <a:gd name="connsiteX510" fmla="*/ 1068391 w 1485658"/>
              <a:gd name="connsiteY510" fmla="*/ 739968 h 1479935"/>
              <a:gd name="connsiteX511" fmla="*/ 1098944 w 1485658"/>
              <a:gd name="connsiteY511" fmla="*/ 770404 h 1479935"/>
              <a:gd name="connsiteX512" fmla="*/ 1129496 w 1485658"/>
              <a:gd name="connsiteY512" fmla="*/ 739968 h 1479935"/>
              <a:gd name="connsiteX513" fmla="*/ 1098944 w 1485658"/>
              <a:gd name="connsiteY513" fmla="*/ 709531 h 1479935"/>
              <a:gd name="connsiteX514" fmla="*/ 1068391 w 1485658"/>
              <a:gd name="connsiteY514" fmla="*/ 739968 h 1479935"/>
              <a:gd name="connsiteX515" fmla="*/ 1127783 w 1485658"/>
              <a:gd name="connsiteY515" fmla="*/ 739968 h 1479935"/>
              <a:gd name="connsiteX516" fmla="*/ 1158336 w 1485658"/>
              <a:gd name="connsiteY516" fmla="*/ 770404 h 1479935"/>
              <a:gd name="connsiteX517" fmla="*/ 1188888 w 1485658"/>
              <a:gd name="connsiteY517" fmla="*/ 739968 h 1479935"/>
              <a:gd name="connsiteX518" fmla="*/ 1158336 w 1485658"/>
              <a:gd name="connsiteY518" fmla="*/ 709531 h 1479935"/>
              <a:gd name="connsiteX519" fmla="*/ 1127783 w 1485658"/>
              <a:gd name="connsiteY519" fmla="*/ 739968 h 1479935"/>
              <a:gd name="connsiteX520" fmla="*/ 1187080 w 1485658"/>
              <a:gd name="connsiteY520" fmla="*/ 739968 h 1479935"/>
              <a:gd name="connsiteX521" fmla="*/ 1217633 w 1485658"/>
              <a:gd name="connsiteY521" fmla="*/ 770404 h 1479935"/>
              <a:gd name="connsiteX522" fmla="*/ 1248185 w 1485658"/>
              <a:gd name="connsiteY522" fmla="*/ 739968 h 1479935"/>
              <a:gd name="connsiteX523" fmla="*/ 1217633 w 1485658"/>
              <a:gd name="connsiteY523" fmla="*/ 709531 h 1479935"/>
              <a:gd name="connsiteX524" fmla="*/ 1187080 w 1485658"/>
              <a:gd name="connsiteY524" fmla="*/ 739968 h 1479935"/>
              <a:gd name="connsiteX525" fmla="*/ 1305769 w 1485658"/>
              <a:gd name="connsiteY525" fmla="*/ 739968 h 1479935"/>
              <a:gd name="connsiteX526" fmla="*/ 1336322 w 1485658"/>
              <a:gd name="connsiteY526" fmla="*/ 770404 h 1479935"/>
              <a:gd name="connsiteX527" fmla="*/ 1366874 w 1485658"/>
              <a:gd name="connsiteY527" fmla="*/ 739968 h 1479935"/>
              <a:gd name="connsiteX528" fmla="*/ 1336322 w 1485658"/>
              <a:gd name="connsiteY528" fmla="*/ 709531 h 1479935"/>
              <a:gd name="connsiteX529" fmla="*/ 1305769 w 1485658"/>
              <a:gd name="connsiteY529" fmla="*/ 739968 h 1479935"/>
              <a:gd name="connsiteX530" fmla="*/ 1365161 w 1485658"/>
              <a:gd name="connsiteY530" fmla="*/ 739968 h 1479935"/>
              <a:gd name="connsiteX531" fmla="*/ 1395714 w 1485658"/>
              <a:gd name="connsiteY531" fmla="*/ 770404 h 1479935"/>
              <a:gd name="connsiteX532" fmla="*/ 1426266 w 1485658"/>
              <a:gd name="connsiteY532" fmla="*/ 739968 h 1479935"/>
              <a:gd name="connsiteX533" fmla="*/ 1395714 w 1485658"/>
              <a:gd name="connsiteY533" fmla="*/ 709531 h 1479935"/>
              <a:gd name="connsiteX534" fmla="*/ 1365161 w 1485658"/>
              <a:gd name="connsiteY534" fmla="*/ 739968 h 1479935"/>
              <a:gd name="connsiteX535" fmla="*/ 1424553 w 1485658"/>
              <a:gd name="connsiteY535" fmla="*/ 739968 h 1479935"/>
              <a:gd name="connsiteX536" fmla="*/ 1455106 w 1485658"/>
              <a:gd name="connsiteY536" fmla="*/ 770404 h 1479935"/>
              <a:gd name="connsiteX537" fmla="*/ 1485658 w 1485658"/>
              <a:gd name="connsiteY537" fmla="*/ 739968 h 1479935"/>
              <a:gd name="connsiteX538" fmla="*/ 1455106 w 1485658"/>
              <a:gd name="connsiteY538" fmla="*/ 709531 h 1479935"/>
              <a:gd name="connsiteX539" fmla="*/ 1424553 w 1485658"/>
              <a:gd name="connsiteY539" fmla="*/ 739968 h 1479935"/>
              <a:gd name="connsiteX540" fmla="*/ 95 w 1485658"/>
              <a:gd name="connsiteY540" fmla="*/ 799040 h 1479935"/>
              <a:gd name="connsiteX541" fmla="*/ 30648 w 1485658"/>
              <a:gd name="connsiteY541" fmla="*/ 829477 h 1479935"/>
              <a:gd name="connsiteX542" fmla="*/ 61200 w 1485658"/>
              <a:gd name="connsiteY542" fmla="*/ 799040 h 1479935"/>
              <a:gd name="connsiteX543" fmla="*/ 30648 w 1485658"/>
              <a:gd name="connsiteY543" fmla="*/ 768603 h 1479935"/>
              <a:gd name="connsiteX544" fmla="*/ 95 w 1485658"/>
              <a:gd name="connsiteY544" fmla="*/ 799040 h 1479935"/>
              <a:gd name="connsiteX545" fmla="*/ 118784 w 1485658"/>
              <a:gd name="connsiteY545" fmla="*/ 799040 h 1479935"/>
              <a:gd name="connsiteX546" fmla="*/ 149337 w 1485658"/>
              <a:gd name="connsiteY546" fmla="*/ 829477 h 1479935"/>
              <a:gd name="connsiteX547" fmla="*/ 179889 w 1485658"/>
              <a:gd name="connsiteY547" fmla="*/ 799040 h 1479935"/>
              <a:gd name="connsiteX548" fmla="*/ 149337 w 1485658"/>
              <a:gd name="connsiteY548" fmla="*/ 768603 h 1479935"/>
              <a:gd name="connsiteX549" fmla="*/ 118784 w 1485658"/>
              <a:gd name="connsiteY549" fmla="*/ 799040 h 1479935"/>
              <a:gd name="connsiteX550" fmla="*/ 178081 w 1485658"/>
              <a:gd name="connsiteY550" fmla="*/ 799040 h 1479935"/>
              <a:gd name="connsiteX551" fmla="*/ 208634 w 1485658"/>
              <a:gd name="connsiteY551" fmla="*/ 829477 h 1479935"/>
              <a:gd name="connsiteX552" fmla="*/ 239186 w 1485658"/>
              <a:gd name="connsiteY552" fmla="*/ 799040 h 1479935"/>
              <a:gd name="connsiteX553" fmla="*/ 208634 w 1485658"/>
              <a:gd name="connsiteY553" fmla="*/ 768603 h 1479935"/>
              <a:gd name="connsiteX554" fmla="*/ 178081 w 1485658"/>
              <a:gd name="connsiteY554" fmla="*/ 799040 h 1479935"/>
              <a:gd name="connsiteX555" fmla="*/ 237473 w 1485658"/>
              <a:gd name="connsiteY555" fmla="*/ 799040 h 1479935"/>
              <a:gd name="connsiteX556" fmla="*/ 268026 w 1485658"/>
              <a:gd name="connsiteY556" fmla="*/ 829477 h 1479935"/>
              <a:gd name="connsiteX557" fmla="*/ 298578 w 1485658"/>
              <a:gd name="connsiteY557" fmla="*/ 799040 h 1479935"/>
              <a:gd name="connsiteX558" fmla="*/ 268026 w 1485658"/>
              <a:gd name="connsiteY558" fmla="*/ 768603 h 1479935"/>
              <a:gd name="connsiteX559" fmla="*/ 237473 w 1485658"/>
              <a:gd name="connsiteY559" fmla="*/ 799040 h 1479935"/>
              <a:gd name="connsiteX560" fmla="*/ 415554 w 1485658"/>
              <a:gd name="connsiteY560" fmla="*/ 799040 h 1479935"/>
              <a:gd name="connsiteX561" fmla="*/ 446107 w 1485658"/>
              <a:gd name="connsiteY561" fmla="*/ 829477 h 1479935"/>
              <a:gd name="connsiteX562" fmla="*/ 476659 w 1485658"/>
              <a:gd name="connsiteY562" fmla="*/ 799040 h 1479935"/>
              <a:gd name="connsiteX563" fmla="*/ 446107 w 1485658"/>
              <a:gd name="connsiteY563" fmla="*/ 768603 h 1479935"/>
              <a:gd name="connsiteX564" fmla="*/ 415554 w 1485658"/>
              <a:gd name="connsiteY564" fmla="*/ 799040 h 1479935"/>
              <a:gd name="connsiteX565" fmla="*/ 474851 w 1485658"/>
              <a:gd name="connsiteY565" fmla="*/ 799040 h 1479935"/>
              <a:gd name="connsiteX566" fmla="*/ 505404 w 1485658"/>
              <a:gd name="connsiteY566" fmla="*/ 829477 h 1479935"/>
              <a:gd name="connsiteX567" fmla="*/ 535956 w 1485658"/>
              <a:gd name="connsiteY567" fmla="*/ 799040 h 1479935"/>
              <a:gd name="connsiteX568" fmla="*/ 505404 w 1485658"/>
              <a:gd name="connsiteY568" fmla="*/ 768603 h 1479935"/>
              <a:gd name="connsiteX569" fmla="*/ 474851 w 1485658"/>
              <a:gd name="connsiteY569" fmla="*/ 799040 h 1479935"/>
              <a:gd name="connsiteX570" fmla="*/ 534243 w 1485658"/>
              <a:gd name="connsiteY570" fmla="*/ 799040 h 1479935"/>
              <a:gd name="connsiteX571" fmla="*/ 564796 w 1485658"/>
              <a:gd name="connsiteY571" fmla="*/ 829477 h 1479935"/>
              <a:gd name="connsiteX572" fmla="*/ 595348 w 1485658"/>
              <a:gd name="connsiteY572" fmla="*/ 799040 h 1479935"/>
              <a:gd name="connsiteX573" fmla="*/ 564796 w 1485658"/>
              <a:gd name="connsiteY573" fmla="*/ 768603 h 1479935"/>
              <a:gd name="connsiteX574" fmla="*/ 534243 w 1485658"/>
              <a:gd name="connsiteY574" fmla="*/ 799040 h 1479935"/>
              <a:gd name="connsiteX575" fmla="*/ 593635 w 1485658"/>
              <a:gd name="connsiteY575" fmla="*/ 799040 h 1479935"/>
              <a:gd name="connsiteX576" fmla="*/ 624188 w 1485658"/>
              <a:gd name="connsiteY576" fmla="*/ 829477 h 1479935"/>
              <a:gd name="connsiteX577" fmla="*/ 654740 w 1485658"/>
              <a:gd name="connsiteY577" fmla="*/ 799040 h 1479935"/>
              <a:gd name="connsiteX578" fmla="*/ 624188 w 1485658"/>
              <a:gd name="connsiteY578" fmla="*/ 768603 h 1479935"/>
              <a:gd name="connsiteX579" fmla="*/ 593635 w 1485658"/>
              <a:gd name="connsiteY579" fmla="*/ 799040 h 1479935"/>
              <a:gd name="connsiteX580" fmla="*/ 712324 w 1485658"/>
              <a:gd name="connsiteY580" fmla="*/ 799040 h 1479935"/>
              <a:gd name="connsiteX581" fmla="*/ 742877 w 1485658"/>
              <a:gd name="connsiteY581" fmla="*/ 829477 h 1479935"/>
              <a:gd name="connsiteX582" fmla="*/ 773429 w 1485658"/>
              <a:gd name="connsiteY582" fmla="*/ 799040 h 1479935"/>
              <a:gd name="connsiteX583" fmla="*/ 742877 w 1485658"/>
              <a:gd name="connsiteY583" fmla="*/ 768603 h 1479935"/>
              <a:gd name="connsiteX584" fmla="*/ 712324 w 1485658"/>
              <a:gd name="connsiteY584" fmla="*/ 799040 h 1479935"/>
              <a:gd name="connsiteX585" fmla="*/ 771621 w 1485658"/>
              <a:gd name="connsiteY585" fmla="*/ 799040 h 1479935"/>
              <a:gd name="connsiteX586" fmla="*/ 802174 w 1485658"/>
              <a:gd name="connsiteY586" fmla="*/ 829477 h 1479935"/>
              <a:gd name="connsiteX587" fmla="*/ 832726 w 1485658"/>
              <a:gd name="connsiteY587" fmla="*/ 799040 h 1479935"/>
              <a:gd name="connsiteX588" fmla="*/ 802174 w 1485658"/>
              <a:gd name="connsiteY588" fmla="*/ 768603 h 1479935"/>
              <a:gd name="connsiteX589" fmla="*/ 771621 w 1485658"/>
              <a:gd name="connsiteY589" fmla="*/ 799040 h 1479935"/>
              <a:gd name="connsiteX590" fmla="*/ 949702 w 1485658"/>
              <a:gd name="connsiteY590" fmla="*/ 799040 h 1479935"/>
              <a:gd name="connsiteX591" fmla="*/ 980255 w 1485658"/>
              <a:gd name="connsiteY591" fmla="*/ 829477 h 1479935"/>
              <a:gd name="connsiteX592" fmla="*/ 1010807 w 1485658"/>
              <a:gd name="connsiteY592" fmla="*/ 799040 h 1479935"/>
              <a:gd name="connsiteX593" fmla="*/ 980255 w 1485658"/>
              <a:gd name="connsiteY593" fmla="*/ 768603 h 1479935"/>
              <a:gd name="connsiteX594" fmla="*/ 949702 w 1485658"/>
              <a:gd name="connsiteY594" fmla="*/ 799040 h 1479935"/>
              <a:gd name="connsiteX595" fmla="*/ 1009094 w 1485658"/>
              <a:gd name="connsiteY595" fmla="*/ 799040 h 1479935"/>
              <a:gd name="connsiteX596" fmla="*/ 1039647 w 1485658"/>
              <a:gd name="connsiteY596" fmla="*/ 829477 h 1479935"/>
              <a:gd name="connsiteX597" fmla="*/ 1070199 w 1485658"/>
              <a:gd name="connsiteY597" fmla="*/ 799040 h 1479935"/>
              <a:gd name="connsiteX598" fmla="*/ 1039647 w 1485658"/>
              <a:gd name="connsiteY598" fmla="*/ 768603 h 1479935"/>
              <a:gd name="connsiteX599" fmla="*/ 1009094 w 1485658"/>
              <a:gd name="connsiteY599" fmla="*/ 799040 h 1479935"/>
              <a:gd name="connsiteX600" fmla="*/ 1127783 w 1485658"/>
              <a:gd name="connsiteY600" fmla="*/ 799040 h 1479935"/>
              <a:gd name="connsiteX601" fmla="*/ 1158336 w 1485658"/>
              <a:gd name="connsiteY601" fmla="*/ 829477 h 1479935"/>
              <a:gd name="connsiteX602" fmla="*/ 1188888 w 1485658"/>
              <a:gd name="connsiteY602" fmla="*/ 799040 h 1479935"/>
              <a:gd name="connsiteX603" fmla="*/ 1158336 w 1485658"/>
              <a:gd name="connsiteY603" fmla="*/ 768603 h 1479935"/>
              <a:gd name="connsiteX604" fmla="*/ 1127783 w 1485658"/>
              <a:gd name="connsiteY604" fmla="*/ 799040 h 1479935"/>
              <a:gd name="connsiteX605" fmla="*/ 1246472 w 1485658"/>
              <a:gd name="connsiteY605" fmla="*/ 799040 h 1479935"/>
              <a:gd name="connsiteX606" fmla="*/ 1277025 w 1485658"/>
              <a:gd name="connsiteY606" fmla="*/ 829477 h 1479935"/>
              <a:gd name="connsiteX607" fmla="*/ 1307577 w 1485658"/>
              <a:gd name="connsiteY607" fmla="*/ 799040 h 1479935"/>
              <a:gd name="connsiteX608" fmla="*/ 1277025 w 1485658"/>
              <a:gd name="connsiteY608" fmla="*/ 768603 h 1479935"/>
              <a:gd name="connsiteX609" fmla="*/ 1246472 w 1485658"/>
              <a:gd name="connsiteY609" fmla="*/ 799040 h 1479935"/>
              <a:gd name="connsiteX610" fmla="*/ 1365161 w 1485658"/>
              <a:gd name="connsiteY610" fmla="*/ 799040 h 1479935"/>
              <a:gd name="connsiteX611" fmla="*/ 1395714 w 1485658"/>
              <a:gd name="connsiteY611" fmla="*/ 829477 h 1479935"/>
              <a:gd name="connsiteX612" fmla="*/ 1426266 w 1485658"/>
              <a:gd name="connsiteY612" fmla="*/ 799040 h 1479935"/>
              <a:gd name="connsiteX613" fmla="*/ 1395714 w 1485658"/>
              <a:gd name="connsiteY613" fmla="*/ 768603 h 1479935"/>
              <a:gd name="connsiteX614" fmla="*/ 1365161 w 1485658"/>
              <a:gd name="connsiteY614" fmla="*/ 799040 h 1479935"/>
              <a:gd name="connsiteX615" fmla="*/ 95 w 1485658"/>
              <a:gd name="connsiteY615" fmla="*/ 858207 h 1479935"/>
              <a:gd name="connsiteX616" fmla="*/ 30648 w 1485658"/>
              <a:gd name="connsiteY616" fmla="*/ 888644 h 1479935"/>
              <a:gd name="connsiteX617" fmla="*/ 61200 w 1485658"/>
              <a:gd name="connsiteY617" fmla="*/ 858207 h 1479935"/>
              <a:gd name="connsiteX618" fmla="*/ 30648 w 1485658"/>
              <a:gd name="connsiteY618" fmla="*/ 827770 h 1479935"/>
              <a:gd name="connsiteX619" fmla="*/ 95 w 1485658"/>
              <a:gd name="connsiteY619" fmla="*/ 858207 h 1479935"/>
              <a:gd name="connsiteX620" fmla="*/ 118784 w 1485658"/>
              <a:gd name="connsiteY620" fmla="*/ 858207 h 1479935"/>
              <a:gd name="connsiteX621" fmla="*/ 149337 w 1485658"/>
              <a:gd name="connsiteY621" fmla="*/ 888644 h 1479935"/>
              <a:gd name="connsiteX622" fmla="*/ 179889 w 1485658"/>
              <a:gd name="connsiteY622" fmla="*/ 858207 h 1479935"/>
              <a:gd name="connsiteX623" fmla="*/ 149337 w 1485658"/>
              <a:gd name="connsiteY623" fmla="*/ 827770 h 1479935"/>
              <a:gd name="connsiteX624" fmla="*/ 118784 w 1485658"/>
              <a:gd name="connsiteY624" fmla="*/ 858207 h 1479935"/>
              <a:gd name="connsiteX625" fmla="*/ 178081 w 1485658"/>
              <a:gd name="connsiteY625" fmla="*/ 858207 h 1479935"/>
              <a:gd name="connsiteX626" fmla="*/ 208634 w 1485658"/>
              <a:gd name="connsiteY626" fmla="*/ 888644 h 1479935"/>
              <a:gd name="connsiteX627" fmla="*/ 239186 w 1485658"/>
              <a:gd name="connsiteY627" fmla="*/ 858207 h 1479935"/>
              <a:gd name="connsiteX628" fmla="*/ 208634 w 1485658"/>
              <a:gd name="connsiteY628" fmla="*/ 827770 h 1479935"/>
              <a:gd name="connsiteX629" fmla="*/ 178081 w 1485658"/>
              <a:gd name="connsiteY629" fmla="*/ 858207 h 1479935"/>
              <a:gd name="connsiteX630" fmla="*/ 356162 w 1485658"/>
              <a:gd name="connsiteY630" fmla="*/ 858207 h 1479935"/>
              <a:gd name="connsiteX631" fmla="*/ 386715 w 1485658"/>
              <a:gd name="connsiteY631" fmla="*/ 888644 h 1479935"/>
              <a:gd name="connsiteX632" fmla="*/ 417267 w 1485658"/>
              <a:gd name="connsiteY632" fmla="*/ 858207 h 1479935"/>
              <a:gd name="connsiteX633" fmla="*/ 386715 w 1485658"/>
              <a:gd name="connsiteY633" fmla="*/ 827770 h 1479935"/>
              <a:gd name="connsiteX634" fmla="*/ 356162 w 1485658"/>
              <a:gd name="connsiteY634" fmla="*/ 858207 h 1479935"/>
              <a:gd name="connsiteX635" fmla="*/ 474851 w 1485658"/>
              <a:gd name="connsiteY635" fmla="*/ 858207 h 1479935"/>
              <a:gd name="connsiteX636" fmla="*/ 505404 w 1485658"/>
              <a:gd name="connsiteY636" fmla="*/ 888644 h 1479935"/>
              <a:gd name="connsiteX637" fmla="*/ 535956 w 1485658"/>
              <a:gd name="connsiteY637" fmla="*/ 858207 h 1479935"/>
              <a:gd name="connsiteX638" fmla="*/ 505404 w 1485658"/>
              <a:gd name="connsiteY638" fmla="*/ 827770 h 1479935"/>
              <a:gd name="connsiteX639" fmla="*/ 474851 w 1485658"/>
              <a:gd name="connsiteY639" fmla="*/ 858207 h 1479935"/>
              <a:gd name="connsiteX640" fmla="*/ 771621 w 1485658"/>
              <a:gd name="connsiteY640" fmla="*/ 858207 h 1479935"/>
              <a:gd name="connsiteX641" fmla="*/ 802174 w 1485658"/>
              <a:gd name="connsiteY641" fmla="*/ 888644 h 1479935"/>
              <a:gd name="connsiteX642" fmla="*/ 832726 w 1485658"/>
              <a:gd name="connsiteY642" fmla="*/ 858207 h 1479935"/>
              <a:gd name="connsiteX643" fmla="*/ 802174 w 1485658"/>
              <a:gd name="connsiteY643" fmla="*/ 827770 h 1479935"/>
              <a:gd name="connsiteX644" fmla="*/ 771621 w 1485658"/>
              <a:gd name="connsiteY644" fmla="*/ 858207 h 1479935"/>
              <a:gd name="connsiteX645" fmla="*/ 831013 w 1485658"/>
              <a:gd name="connsiteY645" fmla="*/ 858207 h 1479935"/>
              <a:gd name="connsiteX646" fmla="*/ 861566 w 1485658"/>
              <a:gd name="connsiteY646" fmla="*/ 888644 h 1479935"/>
              <a:gd name="connsiteX647" fmla="*/ 892118 w 1485658"/>
              <a:gd name="connsiteY647" fmla="*/ 858207 h 1479935"/>
              <a:gd name="connsiteX648" fmla="*/ 861566 w 1485658"/>
              <a:gd name="connsiteY648" fmla="*/ 827770 h 1479935"/>
              <a:gd name="connsiteX649" fmla="*/ 831013 w 1485658"/>
              <a:gd name="connsiteY649" fmla="*/ 858207 h 1479935"/>
              <a:gd name="connsiteX650" fmla="*/ 890310 w 1485658"/>
              <a:gd name="connsiteY650" fmla="*/ 858207 h 1479935"/>
              <a:gd name="connsiteX651" fmla="*/ 920863 w 1485658"/>
              <a:gd name="connsiteY651" fmla="*/ 888644 h 1479935"/>
              <a:gd name="connsiteX652" fmla="*/ 951415 w 1485658"/>
              <a:gd name="connsiteY652" fmla="*/ 858207 h 1479935"/>
              <a:gd name="connsiteX653" fmla="*/ 920863 w 1485658"/>
              <a:gd name="connsiteY653" fmla="*/ 827770 h 1479935"/>
              <a:gd name="connsiteX654" fmla="*/ 890310 w 1485658"/>
              <a:gd name="connsiteY654" fmla="*/ 858207 h 1479935"/>
              <a:gd name="connsiteX655" fmla="*/ 949702 w 1485658"/>
              <a:gd name="connsiteY655" fmla="*/ 858207 h 1479935"/>
              <a:gd name="connsiteX656" fmla="*/ 980255 w 1485658"/>
              <a:gd name="connsiteY656" fmla="*/ 888644 h 1479935"/>
              <a:gd name="connsiteX657" fmla="*/ 1010807 w 1485658"/>
              <a:gd name="connsiteY657" fmla="*/ 858207 h 1479935"/>
              <a:gd name="connsiteX658" fmla="*/ 980255 w 1485658"/>
              <a:gd name="connsiteY658" fmla="*/ 827770 h 1479935"/>
              <a:gd name="connsiteX659" fmla="*/ 949702 w 1485658"/>
              <a:gd name="connsiteY659" fmla="*/ 858207 h 1479935"/>
              <a:gd name="connsiteX660" fmla="*/ 1068391 w 1485658"/>
              <a:gd name="connsiteY660" fmla="*/ 858207 h 1479935"/>
              <a:gd name="connsiteX661" fmla="*/ 1098944 w 1485658"/>
              <a:gd name="connsiteY661" fmla="*/ 888644 h 1479935"/>
              <a:gd name="connsiteX662" fmla="*/ 1129496 w 1485658"/>
              <a:gd name="connsiteY662" fmla="*/ 858207 h 1479935"/>
              <a:gd name="connsiteX663" fmla="*/ 1098944 w 1485658"/>
              <a:gd name="connsiteY663" fmla="*/ 827770 h 1479935"/>
              <a:gd name="connsiteX664" fmla="*/ 1068391 w 1485658"/>
              <a:gd name="connsiteY664" fmla="*/ 858207 h 1479935"/>
              <a:gd name="connsiteX665" fmla="*/ 1127783 w 1485658"/>
              <a:gd name="connsiteY665" fmla="*/ 858207 h 1479935"/>
              <a:gd name="connsiteX666" fmla="*/ 1158336 w 1485658"/>
              <a:gd name="connsiteY666" fmla="*/ 888644 h 1479935"/>
              <a:gd name="connsiteX667" fmla="*/ 1188888 w 1485658"/>
              <a:gd name="connsiteY667" fmla="*/ 858207 h 1479935"/>
              <a:gd name="connsiteX668" fmla="*/ 1158336 w 1485658"/>
              <a:gd name="connsiteY668" fmla="*/ 827770 h 1479935"/>
              <a:gd name="connsiteX669" fmla="*/ 1127783 w 1485658"/>
              <a:gd name="connsiteY669" fmla="*/ 858207 h 1479935"/>
              <a:gd name="connsiteX670" fmla="*/ 1187080 w 1485658"/>
              <a:gd name="connsiteY670" fmla="*/ 858207 h 1479935"/>
              <a:gd name="connsiteX671" fmla="*/ 1217633 w 1485658"/>
              <a:gd name="connsiteY671" fmla="*/ 888644 h 1479935"/>
              <a:gd name="connsiteX672" fmla="*/ 1248185 w 1485658"/>
              <a:gd name="connsiteY672" fmla="*/ 858207 h 1479935"/>
              <a:gd name="connsiteX673" fmla="*/ 1217633 w 1485658"/>
              <a:gd name="connsiteY673" fmla="*/ 827770 h 1479935"/>
              <a:gd name="connsiteX674" fmla="*/ 1187080 w 1485658"/>
              <a:gd name="connsiteY674" fmla="*/ 858207 h 1479935"/>
              <a:gd name="connsiteX675" fmla="*/ 1246472 w 1485658"/>
              <a:gd name="connsiteY675" fmla="*/ 858207 h 1479935"/>
              <a:gd name="connsiteX676" fmla="*/ 1277025 w 1485658"/>
              <a:gd name="connsiteY676" fmla="*/ 888644 h 1479935"/>
              <a:gd name="connsiteX677" fmla="*/ 1307577 w 1485658"/>
              <a:gd name="connsiteY677" fmla="*/ 858207 h 1479935"/>
              <a:gd name="connsiteX678" fmla="*/ 1277025 w 1485658"/>
              <a:gd name="connsiteY678" fmla="*/ 827770 h 1479935"/>
              <a:gd name="connsiteX679" fmla="*/ 1246472 w 1485658"/>
              <a:gd name="connsiteY679" fmla="*/ 858207 h 1479935"/>
              <a:gd name="connsiteX680" fmla="*/ 1365161 w 1485658"/>
              <a:gd name="connsiteY680" fmla="*/ 858207 h 1479935"/>
              <a:gd name="connsiteX681" fmla="*/ 1395714 w 1485658"/>
              <a:gd name="connsiteY681" fmla="*/ 888644 h 1479935"/>
              <a:gd name="connsiteX682" fmla="*/ 1426266 w 1485658"/>
              <a:gd name="connsiteY682" fmla="*/ 858207 h 1479935"/>
              <a:gd name="connsiteX683" fmla="*/ 1395714 w 1485658"/>
              <a:gd name="connsiteY683" fmla="*/ 827770 h 1479935"/>
              <a:gd name="connsiteX684" fmla="*/ 1365161 w 1485658"/>
              <a:gd name="connsiteY684" fmla="*/ 858207 h 1479935"/>
              <a:gd name="connsiteX685" fmla="*/ 1424553 w 1485658"/>
              <a:gd name="connsiteY685" fmla="*/ 858207 h 1479935"/>
              <a:gd name="connsiteX686" fmla="*/ 1455106 w 1485658"/>
              <a:gd name="connsiteY686" fmla="*/ 888644 h 1479935"/>
              <a:gd name="connsiteX687" fmla="*/ 1485658 w 1485658"/>
              <a:gd name="connsiteY687" fmla="*/ 858207 h 1479935"/>
              <a:gd name="connsiteX688" fmla="*/ 1455106 w 1485658"/>
              <a:gd name="connsiteY688" fmla="*/ 827770 h 1479935"/>
              <a:gd name="connsiteX689" fmla="*/ 1424553 w 1485658"/>
              <a:gd name="connsiteY689" fmla="*/ 858207 h 1479935"/>
              <a:gd name="connsiteX690" fmla="*/ 95 w 1485658"/>
              <a:gd name="connsiteY690" fmla="*/ 917374 h 1479935"/>
              <a:gd name="connsiteX691" fmla="*/ 30648 w 1485658"/>
              <a:gd name="connsiteY691" fmla="*/ 947811 h 1479935"/>
              <a:gd name="connsiteX692" fmla="*/ 61200 w 1485658"/>
              <a:gd name="connsiteY692" fmla="*/ 917374 h 1479935"/>
              <a:gd name="connsiteX693" fmla="*/ 30648 w 1485658"/>
              <a:gd name="connsiteY693" fmla="*/ 886937 h 1479935"/>
              <a:gd name="connsiteX694" fmla="*/ 95 w 1485658"/>
              <a:gd name="connsiteY694" fmla="*/ 917374 h 1479935"/>
              <a:gd name="connsiteX695" fmla="*/ 593635 w 1485658"/>
              <a:gd name="connsiteY695" fmla="*/ 917374 h 1479935"/>
              <a:gd name="connsiteX696" fmla="*/ 624188 w 1485658"/>
              <a:gd name="connsiteY696" fmla="*/ 947811 h 1479935"/>
              <a:gd name="connsiteX697" fmla="*/ 654740 w 1485658"/>
              <a:gd name="connsiteY697" fmla="*/ 917374 h 1479935"/>
              <a:gd name="connsiteX698" fmla="*/ 624188 w 1485658"/>
              <a:gd name="connsiteY698" fmla="*/ 886937 h 1479935"/>
              <a:gd name="connsiteX699" fmla="*/ 593635 w 1485658"/>
              <a:gd name="connsiteY699" fmla="*/ 917374 h 1479935"/>
              <a:gd name="connsiteX700" fmla="*/ 712324 w 1485658"/>
              <a:gd name="connsiteY700" fmla="*/ 917374 h 1479935"/>
              <a:gd name="connsiteX701" fmla="*/ 742877 w 1485658"/>
              <a:gd name="connsiteY701" fmla="*/ 947811 h 1479935"/>
              <a:gd name="connsiteX702" fmla="*/ 773429 w 1485658"/>
              <a:gd name="connsiteY702" fmla="*/ 917374 h 1479935"/>
              <a:gd name="connsiteX703" fmla="*/ 742877 w 1485658"/>
              <a:gd name="connsiteY703" fmla="*/ 886937 h 1479935"/>
              <a:gd name="connsiteX704" fmla="*/ 712324 w 1485658"/>
              <a:gd name="connsiteY704" fmla="*/ 917374 h 1479935"/>
              <a:gd name="connsiteX705" fmla="*/ 771621 w 1485658"/>
              <a:gd name="connsiteY705" fmla="*/ 917374 h 1479935"/>
              <a:gd name="connsiteX706" fmla="*/ 802174 w 1485658"/>
              <a:gd name="connsiteY706" fmla="*/ 947811 h 1479935"/>
              <a:gd name="connsiteX707" fmla="*/ 832726 w 1485658"/>
              <a:gd name="connsiteY707" fmla="*/ 917374 h 1479935"/>
              <a:gd name="connsiteX708" fmla="*/ 802174 w 1485658"/>
              <a:gd name="connsiteY708" fmla="*/ 886937 h 1479935"/>
              <a:gd name="connsiteX709" fmla="*/ 771621 w 1485658"/>
              <a:gd name="connsiteY709" fmla="*/ 917374 h 1479935"/>
              <a:gd name="connsiteX710" fmla="*/ 890310 w 1485658"/>
              <a:gd name="connsiteY710" fmla="*/ 917374 h 1479935"/>
              <a:gd name="connsiteX711" fmla="*/ 920863 w 1485658"/>
              <a:gd name="connsiteY711" fmla="*/ 947811 h 1479935"/>
              <a:gd name="connsiteX712" fmla="*/ 951415 w 1485658"/>
              <a:gd name="connsiteY712" fmla="*/ 917374 h 1479935"/>
              <a:gd name="connsiteX713" fmla="*/ 920863 w 1485658"/>
              <a:gd name="connsiteY713" fmla="*/ 886937 h 1479935"/>
              <a:gd name="connsiteX714" fmla="*/ 890310 w 1485658"/>
              <a:gd name="connsiteY714" fmla="*/ 917374 h 1479935"/>
              <a:gd name="connsiteX715" fmla="*/ 949702 w 1485658"/>
              <a:gd name="connsiteY715" fmla="*/ 917374 h 1479935"/>
              <a:gd name="connsiteX716" fmla="*/ 980255 w 1485658"/>
              <a:gd name="connsiteY716" fmla="*/ 947811 h 1479935"/>
              <a:gd name="connsiteX717" fmla="*/ 1010807 w 1485658"/>
              <a:gd name="connsiteY717" fmla="*/ 917374 h 1479935"/>
              <a:gd name="connsiteX718" fmla="*/ 980255 w 1485658"/>
              <a:gd name="connsiteY718" fmla="*/ 886937 h 1479935"/>
              <a:gd name="connsiteX719" fmla="*/ 949702 w 1485658"/>
              <a:gd name="connsiteY719" fmla="*/ 917374 h 1479935"/>
              <a:gd name="connsiteX720" fmla="*/ 1127783 w 1485658"/>
              <a:gd name="connsiteY720" fmla="*/ 917374 h 1479935"/>
              <a:gd name="connsiteX721" fmla="*/ 1158336 w 1485658"/>
              <a:gd name="connsiteY721" fmla="*/ 947811 h 1479935"/>
              <a:gd name="connsiteX722" fmla="*/ 1188888 w 1485658"/>
              <a:gd name="connsiteY722" fmla="*/ 917374 h 1479935"/>
              <a:gd name="connsiteX723" fmla="*/ 1158336 w 1485658"/>
              <a:gd name="connsiteY723" fmla="*/ 886937 h 1479935"/>
              <a:gd name="connsiteX724" fmla="*/ 1127783 w 1485658"/>
              <a:gd name="connsiteY724" fmla="*/ 917374 h 1479935"/>
              <a:gd name="connsiteX725" fmla="*/ 1187080 w 1485658"/>
              <a:gd name="connsiteY725" fmla="*/ 917374 h 1479935"/>
              <a:gd name="connsiteX726" fmla="*/ 1217633 w 1485658"/>
              <a:gd name="connsiteY726" fmla="*/ 947811 h 1479935"/>
              <a:gd name="connsiteX727" fmla="*/ 1248185 w 1485658"/>
              <a:gd name="connsiteY727" fmla="*/ 917374 h 1479935"/>
              <a:gd name="connsiteX728" fmla="*/ 1217633 w 1485658"/>
              <a:gd name="connsiteY728" fmla="*/ 886937 h 1479935"/>
              <a:gd name="connsiteX729" fmla="*/ 1187080 w 1485658"/>
              <a:gd name="connsiteY729" fmla="*/ 917374 h 1479935"/>
              <a:gd name="connsiteX730" fmla="*/ 1424553 w 1485658"/>
              <a:gd name="connsiteY730" fmla="*/ 917374 h 1479935"/>
              <a:gd name="connsiteX731" fmla="*/ 1455106 w 1485658"/>
              <a:gd name="connsiteY731" fmla="*/ 947811 h 1479935"/>
              <a:gd name="connsiteX732" fmla="*/ 1485658 w 1485658"/>
              <a:gd name="connsiteY732" fmla="*/ 917374 h 1479935"/>
              <a:gd name="connsiteX733" fmla="*/ 1455106 w 1485658"/>
              <a:gd name="connsiteY733" fmla="*/ 886937 h 1479935"/>
              <a:gd name="connsiteX734" fmla="*/ 1424553 w 1485658"/>
              <a:gd name="connsiteY734" fmla="*/ 917374 h 1479935"/>
              <a:gd name="connsiteX735" fmla="*/ 95 w 1485658"/>
              <a:gd name="connsiteY735" fmla="*/ 976446 h 1479935"/>
              <a:gd name="connsiteX736" fmla="*/ 30648 w 1485658"/>
              <a:gd name="connsiteY736" fmla="*/ 1006883 h 1479935"/>
              <a:gd name="connsiteX737" fmla="*/ 61200 w 1485658"/>
              <a:gd name="connsiteY737" fmla="*/ 976446 h 1479935"/>
              <a:gd name="connsiteX738" fmla="*/ 30648 w 1485658"/>
              <a:gd name="connsiteY738" fmla="*/ 946009 h 1479935"/>
              <a:gd name="connsiteX739" fmla="*/ 95 w 1485658"/>
              <a:gd name="connsiteY739" fmla="*/ 976446 h 1479935"/>
              <a:gd name="connsiteX740" fmla="*/ 178081 w 1485658"/>
              <a:gd name="connsiteY740" fmla="*/ 976446 h 1479935"/>
              <a:gd name="connsiteX741" fmla="*/ 208634 w 1485658"/>
              <a:gd name="connsiteY741" fmla="*/ 1006883 h 1479935"/>
              <a:gd name="connsiteX742" fmla="*/ 239186 w 1485658"/>
              <a:gd name="connsiteY742" fmla="*/ 976446 h 1479935"/>
              <a:gd name="connsiteX743" fmla="*/ 208634 w 1485658"/>
              <a:gd name="connsiteY743" fmla="*/ 946009 h 1479935"/>
              <a:gd name="connsiteX744" fmla="*/ 178081 w 1485658"/>
              <a:gd name="connsiteY744" fmla="*/ 976446 h 1479935"/>
              <a:gd name="connsiteX745" fmla="*/ 356162 w 1485658"/>
              <a:gd name="connsiteY745" fmla="*/ 976446 h 1479935"/>
              <a:gd name="connsiteX746" fmla="*/ 386715 w 1485658"/>
              <a:gd name="connsiteY746" fmla="*/ 1006883 h 1479935"/>
              <a:gd name="connsiteX747" fmla="*/ 417267 w 1485658"/>
              <a:gd name="connsiteY747" fmla="*/ 976446 h 1479935"/>
              <a:gd name="connsiteX748" fmla="*/ 386715 w 1485658"/>
              <a:gd name="connsiteY748" fmla="*/ 946009 h 1479935"/>
              <a:gd name="connsiteX749" fmla="*/ 356162 w 1485658"/>
              <a:gd name="connsiteY749" fmla="*/ 976446 h 1479935"/>
              <a:gd name="connsiteX750" fmla="*/ 415554 w 1485658"/>
              <a:gd name="connsiteY750" fmla="*/ 976446 h 1479935"/>
              <a:gd name="connsiteX751" fmla="*/ 446107 w 1485658"/>
              <a:gd name="connsiteY751" fmla="*/ 1006883 h 1479935"/>
              <a:gd name="connsiteX752" fmla="*/ 476659 w 1485658"/>
              <a:gd name="connsiteY752" fmla="*/ 976446 h 1479935"/>
              <a:gd name="connsiteX753" fmla="*/ 446107 w 1485658"/>
              <a:gd name="connsiteY753" fmla="*/ 946009 h 1479935"/>
              <a:gd name="connsiteX754" fmla="*/ 415554 w 1485658"/>
              <a:gd name="connsiteY754" fmla="*/ 976446 h 1479935"/>
              <a:gd name="connsiteX755" fmla="*/ 534243 w 1485658"/>
              <a:gd name="connsiteY755" fmla="*/ 976446 h 1479935"/>
              <a:gd name="connsiteX756" fmla="*/ 564796 w 1485658"/>
              <a:gd name="connsiteY756" fmla="*/ 1006883 h 1479935"/>
              <a:gd name="connsiteX757" fmla="*/ 595348 w 1485658"/>
              <a:gd name="connsiteY757" fmla="*/ 976446 h 1479935"/>
              <a:gd name="connsiteX758" fmla="*/ 564796 w 1485658"/>
              <a:gd name="connsiteY758" fmla="*/ 946009 h 1479935"/>
              <a:gd name="connsiteX759" fmla="*/ 534243 w 1485658"/>
              <a:gd name="connsiteY759" fmla="*/ 976446 h 1479935"/>
              <a:gd name="connsiteX760" fmla="*/ 593635 w 1485658"/>
              <a:gd name="connsiteY760" fmla="*/ 976446 h 1479935"/>
              <a:gd name="connsiteX761" fmla="*/ 624188 w 1485658"/>
              <a:gd name="connsiteY761" fmla="*/ 1006883 h 1479935"/>
              <a:gd name="connsiteX762" fmla="*/ 654740 w 1485658"/>
              <a:gd name="connsiteY762" fmla="*/ 976446 h 1479935"/>
              <a:gd name="connsiteX763" fmla="*/ 624188 w 1485658"/>
              <a:gd name="connsiteY763" fmla="*/ 946009 h 1479935"/>
              <a:gd name="connsiteX764" fmla="*/ 593635 w 1485658"/>
              <a:gd name="connsiteY764" fmla="*/ 976446 h 1479935"/>
              <a:gd name="connsiteX765" fmla="*/ 712324 w 1485658"/>
              <a:gd name="connsiteY765" fmla="*/ 976446 h 1479935"/>
              <a:gd name="connsiteX766" fmla="*/ 742877 w 1485658"/>
              <a:gd name="connsiteY766" fmla="*/ 1006883 h 1479935"/>
              <a:gd name="connsiteX767" fmla="*/ 773429 w 1485658"/>
              <a:gd name="connsiteY767" fmla="*/ 976446 h 1479935"/>
              <a:gd name="connsiteX768" fmla="*/ 742877 w 1485658"/>
              <a:gd name="connsiteY768" fmla="*/ 946009 h 1479935"/>
              <a:gd name="connsiteX769" fmla="*/ 712324 w 1485658"/>
              <a:gd name="connsiteY769" fmla="*/ 976446 h 1479935"/>
              <a:gd name="connsiteX770" fmla="*/ 831013 w 1485658"/>
              <a:gd name="connsiteY770" fmla="*/ 976446 h 1479935"/>
              <a:gd name="connsiteX771" fmla="*/ 861566 w 1485658"/>
              <a:gd name="connsiteY771" fmla="*/ 1006883 h 1479935"/>
              <a:gd name="connsiteX772" fmla="*/ 892118 w 1485658"/>
              <a:gd name="connsiteY772" fmla="*/ 976446 h 1479935"/>
              <a:gd name="connsiteX773" fmla="*/ 861566 w 1485658"/>
              <a:gd name="connsiteY773" fmla="*/ 946009 h 1479935"/>
              <a:gd name="connsiteX774" fmla="*/ 831013 w 1485658"/>
              <a:gd name="connsiteY774" fmla="*/ 976446 h 1479935"/>
              <a:gd name="connsiteX775" fmla="*/ 890310 w 1485658"/>
              <a:gd name="connsiteY775" fmla="*/ 976446 h 1479935"/>
              <a:gd name="connsiteX776" fmla="*/ 920863 w 1485658"/>
              <a:gd name="connsiteY776" fmla="*/ 1006883 h 1479935"/>
              <a:gd name="connsiteX777" fmla="*/ 951415 w 1485658"/>
              <a:gd name="connsiteY777" fmla="*/ 976446 h 1479935"/>
              <a:gd name="connsiteX778" fmla="*/ 920863 w 1485658"/>
              <a:gd name="connsiteY778" fmla="*/ 946009 h 1479935"/>
              <a:gd name="connsiteX779" fmla="*/ 890310 w 1485658"/>
              <a:gd name="connsiteY779" fmla="*/ 976446 h 1479935"/>
              <a:gd name="connsiteX780" fmla="*/ 949702 w 1485658"/>
              <a:gd name="connsiteY780" fmla="*/ 976446 h 1479935"/>
              <a:gd name="connsiteX781" fmla="*/ 980255 w 1485658"/>
              <a:gd name="connsiteY781" fmla="*/ 1006883 h 1479935"/>
              <a:gd name="connsiteX782" fmla="*/ 1010807 w 1485658"/>
              <a:gd name="connsiteY782" fmla="*/ 976446 h 1479935"/>
              <a:gd name="connsiteX783" fmla="*/ 980255 w 1485658"/>
              <a:gd name="connsiteY783" fmla="*/ 946009 h 1479935"/>
              <a:gd name="connsiteX784" fmla="*/ 949702 w 1485658"/>
              <a:gd name="connsiteY784" fmla="*/ 976446 h 1479935"/>
              <a:gd name="connsiteX785" fmla="*/ 1009094 w 1485658"/>
              <a:gd name="connsiteY785" fmla="*/ 976446 h 1479935"/>
              <a:gd name="connsiteX786" fmla="*/ 1039647 w 1485658"/>
              <a:gd name="connsiteY786" fmla="*/ 1006883 h 1479935"/>
              <a:gd name="connsiteX787" fmla="*/ 1070199 w 1485658"/>
              <a:gd name="connsiteY787" fmla="*/ 976446 h 1479935"/>
              <a:gd name="connsiteX788" fmla="*/ 1039647 w 1485658"/>
              <a:gd name="connsiteY788" fmla="*/ 946009 h 1479935"/>
              <a:gd name="connsiteX789" fmla="*/ 1009094 w 1485658"/>
              <a:gd name="connsiteY789" fmla="*/ 976446 h 1479935"/>
              <a:gd name="connsiteX790" fmla="*/ 1068391 w 1485658"/>
              <a:gd name="connsiteY790" fmla="*/ 976446 h 1479935"/>
              <a:gd name="connsiteX791" fmla="*/ 1098944 w 1485658"/>
              <a:gd name="connsiteY791" fmla="*/ 1006883 h 1479935"/>
              <a:gd name="connsiteX792" fmla="*/ 1129496 w 1485658"/>
              <a:gd name="connsiteY792" fmla="*/ 976446 h 1479935"/>
              <a:gd name="connsiteX793" fmla="*/ 1098944 w 1485658"/>
              <a:gd name="connsiteY793" fmla="*/ 946009 h 1479935"/>
              <a:gd name="connsiteX794" fmla="*/ 1068391 w 1485658"/>
              <a:gd name="connsiteY794" fmla="*/ 976446 h 1479935"/>
              <a:gd name="connsiteX795" fmla="*/ 1127783 w 1485658"/>
              <a:gd name="connsiteY795" fmla="*/ 976446 h 1479935"/>
              <a:gd name="connsiteX796" fmla="*/ 1158336 w 1485658"/>
              <a:gd name="connsiteY796" fmla="*/ 1006883 h 1479935"/>
              <a:gd name="connsiteX797" fmla="*/ 1188888 w 1485658"/>
              <a:gd name="connsiteY797" fmla="*/ 976446 h 1479935"/>
              <a:gd name="connsiteX798" fmla="*/ 1158336 w 1485658"/>
              <a:gd name="connsiteY798" fmla="*/ 946009 h 1479935"/>
              <a:gd name="connsiteX799" fmla="*/ 1127783 w 1485658"/>
              <a:gd name="connsiteY799" fmla="*/ 976446 h 1479935"/>
              <a:gd name="connsiteX800" fmla="*/ 1187080 w 1485658"/>
              <a:gd name="connsiteY800" fmla="*/ 976446 h 1479935"/>
              <a:gd name="connsiteX801" fmla="*/ 1217633 w 1485658"/>
              <a:gd name="connsiteY801" fmla="*/ 1006883 h 1479935"/>
              <a:gd name="connsiteX802" fmla="*/ 1248185 w 1485658"/>
              <a:gd name="connsiteY802" fmla="*/ 976446 h 1479935"/>
              <a:gd name="connsiteX803" fmla="*/ 1217633 w 1485658"/>
              <a:gd name="connsiteY803" fmla="*/ 946009 h 1479935"/>
              <a:gd name="connsiteX804" fmla="*/ 1187080 w 1485658"/>
              <a:gd name="connsiteY804" fmla="*/ 976446 h 1479935"/>
              <a:gd name="connsiteX805" fmla="*/ 1305769 w 1485658"/>
              <a:gd name="connsiteY805" fmla="*/ 976446 h 1479935"/>
              <a:gd name="connsiteX806" fmla="*/ 1336322 w 1485658"/>
              <a:gd name="connsiteY806" fmla="*/ 1006883 h 1479935"/>
              <a:gd name="connsiteX807" fmla="*/ 1366874 w 1485658"/>
              <a:gd name="connsiteY807" fmla="*/ 976446 h 1479935"/>
              <a:gd name="connsiteX808" fmla="*/ 1336322 w 1485658"/>
              <a:gd name="connsiteY808" fmla="*/ 946009 h 1479935"/>
              <a:gd name="connsiteX809" fmla="*/ 1305769 w 1485658"/>
              <a:gd name="connsiteY809" fmla="*/ 976446 h 1479935"/>
              <a:gd name="connsiteX810" fmla="*/ 474851 w 1485658"/>
              <a:gd name="connsiteY810" fmla="*/ 1035613 h 1479935"/>
              <a:gd name="connsiteX811" fmla="*/ 505404 w 1485658"/>
              <a:gd name="connsiteY811" fmla="*/ 1066050 h 1479935"/>
              <a:gd name="connsiteX812" fmla="*/ 535956 w 1485658"/>
              <a:gd name="connsiteY812" fmla="*/ 1035613 h 1479935"/>
              <a:gd name="connsiteX813" fmla="*/ 505404 w 1485658"/>
              <a:gd name="connsiteY813" fmla="*/ 1005176 h 1479935"/>
              <a:gd name="connsiteX814" fmla="*/ 474851 w 1485658"/>
              <a:gd name="connsiteY814" fmla="*/ 1035613 h 1479935"/>
              <a:gd name="connsiteX815" fmla="*/ 534243 w 1485658"/>
              <a:gd name="connsiteY815" fmla="*/ 1035613 h 1479935"/>
              <a:gd name="connsiteX816" fmla="*/ 564796 w 1485658"/>
              <a:gd name="connsiteY816" fmla="*/ 1066050 h 1479935"/>
              <a:gd name="connsiteX817" fmla="*/ 595348 w 1485658"/>
              <a:gd name="connsiteY817" fmla="*/ 1035613 h 1479935"/>
              <a:gd name="connsiteX818" fmla="*/ 564796 w 1485658"/>
              <a:gd name="connsiteY818" fmla="*/ 1005176 h 1479935"/>
              <a:gd name="connsiteX819" fmla="*/ 534243 w 1485658"/>
              <a:gd name="connsiteY819" fmla="*/ 1035613 h 1479935"/>
              <a:gd name="connsiteX820" fmla="*/ 593635 w 1485658"/>
              <a:gd name="connsiteY820" fmla="*/ 1035613 h 1479935"/>
              <a:gd name="connsiteX821" fmla="*/ 624188 w 1485658"/>
              <a:gd name="connsiteY821" fmla="*/ 1066050 h 1479935"/>
              <a:gd name="connsiteX822" fmla="*/ 654740 w 1485658"/>
              <a:gd name="connsiteY822" fmla="*/ 1035613 h 1479935"/>
              <a:gd name="connsiteX823" fmla="*/ 624188 w 1485658"/>
              <a:gd name="connsiteY823" fmla="*/ 1005176 h 1479935"/>
              <a:gd name="connsiteX824" fmla="*/ 593635 w 1485658"/>
              <a:gd name="connsiteY824" fmla="*/ 1035613 h 1479935"/>
              <a:gd name="connsiteX825" fmla="*/ 890310 w 1485658"/>
              <a:gd name="connsiteY825" fmla="*/ 1035613 h 1479935"/>
              <a:gd name="connsiteX826" fmla="*/ 920863 w 1485658"/>
              <a:gd name="connsiteY826" fmla="*/ 1066050 h 1479935"/>
              <a:gd name="connsiteX827" fmla="*/ 951415 w 1485658"/>
              <a:gd name="connsiteY827" fmla="*/ 1035613 h 1479935"/>
              <a:gd name="connsiteX828" fmla="*/ 920863 w 1485658"/>
              <a:gd name="connsiteY828" fmla="*/ 1005176 h 1479935"/>
              <a:gd name="connsiteX829" fmla="*/ 890310 w 1485658"/>
              <a:gd name="connsiteY829" fmla="*/ 1035613 h 1479935"/>
              <a:gd name="connsiteX830" fmla="*/ 949702 w 1485658"/>
              <a:gd name="connsiteY830" fmla="*/ 1035613 h 1479935"/>
              <a:gd name="connsiteX831" fmla="*/ 980255 w 1485658"/>
              <a:gd name="connsiteY831" fmla="*/ 1066050 h 1479935"/>
              <a:gd name="connsiteX832" fmla="*/ 1010807 w 1485658"/>
              <a:gd name="connsiteY832" fmla="*/ 1035613 h 1479935"/>
              <a:gd name="connsiteX833" fmla="*/ 980255 w 1485658"/>
              <a:gd name="connsiteY833" fmla="*/ 1005176 h 1479935"/>
              <a:gd name="connsiteX834" fmla="*/ 949702 w 1485658"/>
              <a:gd name="connsiteY834" fmla="*/ 1035613 h 1479935"/>
              <a:gd name="connsiteX835" fmla="*/ 1187080 w 1485658"/>
              <a:gd name="connsiteY835" fmla="*/ 1035613 h 1479935"/>
              <a:gd name="connsiteX836" fmla="*/ 1217633 w 1485658"/>
              <a:gd name="connsiteY836" fmla="*/ 1066050 h 1479935"/>
              <a:gd name="connsiteX837" fmla="*/ 1248185 w 1485658"/>
              <a:gd name="connsiteY837" fmla="*/ 1035613 h 1479935"/>
              <a:gd name="connsiteX838" fmla="*/ 1217633 w 1485658"/>
              <a:gd name="connsiteY838" fmla="*/ 1005176 h 1479935"/>
              <a:gd name="connsiteX839" fmla="*/ 1187080 w 1485658"/>
              <a:gd name="connsiteY839" fmla="*/ 1035613 h 1479935"/>
              <a:gd name="connsiteX840" fmla="*/ 1246472 w 1485658"/>
              <a:gd name="connsiteY840" fmla="*/ 1035613 h 1479935"/>
              <a:gd name="connsiteX841" fmla="*/ 1277025 w 1485658"/>
              <a:gd name="connsiteY841" fmla="*/ 1066050 h 1479935"/>
              <a:gd name="connsiteX842" fmla="*/ 1307577 w 1485658"/>
              <a:gd name="connsiteY842" fmla="*/ 1035613 h 1479935"/>
              <a:gd name="connsiteX843" fmla="*/ 1277025 w 1485658"/>
              <a:gd name="connsiteY843" fmla="*/ 1005176 h 1479935"/>
              <a:gd name="connsiteX844" fmla="*/ 1246472 w 1485658"/>
              <a:gd name="connsiteY844" fmla="*/ 1035613 h 1479935"/>
              <a:gd name="connsiteX845" fmla="*/ 652932 w 1485658"/>
              <a:gd name="connsiteY845" fmla="*/ 1094685 h 1479935"/>
              <a:gd name="connsiteX846" fmla="*/ 683485 w 1485658"/>
              <a:gd name="connsiteY846" fmla="*/ 1125122 h 1479935"/>
              <a:gd name="connsiteX847" fmla="*/ 714037 w 1485658"/>
              <a:gd name="connsiteY847" fmla="*/ 1094685 h 1479935"/>
              <a:gd name="connsiteX848" fmla="*/ 683485 w 1485658"/>
              <a:gd name="connsiteY848" fmla="*/ 1064249 h 1479935"/>
              <a:gd name="connsiteX849" fmla="*/ 652932 w 1485658"/>
              <a:gd name="connsiteY849" fmla="*/ 1094685 h 1479935"/>
              <a:gd name="connsiteX850" fmla="*/ 712324 w 1485658"/>
              <a:gd name="connsiteY850" fmla="*/ 1094685 h 1479935"/>
              <a:gd name="connsiteX851" fmla="*/ 742877 w 1485658"/>
              <a:gd name="connsiteY851" fmla="*/ 1125122 h 1479935"/>
              <a:gd name="connsiteX852" fmla="*/ 773429 w 1485658"/>
              <a:gd name="connsiteY852" fmla="*/ 1094685 h 1479935"/>
              <a:gd name="connsiteX853" fmla="*/ 742877 w 1485658"/>
              <a:gd name="connsiteY853" fmla="*/ 1064249 h 1479935"/>
              <a:gd name="connsiteX854" fmla="*/ 712324 w 1485658"/>
              <a:gd name="connsiteY854" fmla="*/ 1094685 h 1479935"/>
              <a:gd name="connsiteX855" fmla="*/ 949702 w 1485658"/>
              <a:gd name="connsiteY855" fmla="*/ 1094685 h 1479935"/>
              <a:gd name="connsiteX856" fmla="*/ 980255 w 1485658"/>
              <a:gd name="connsiteY856" fmla="*/ 1125122 h 1479935"/>
              <a:gd name="connsiteX857" fmla="*/ 1010807 w 1485658"/>
              <a:gd name="connsiteY857" fmla="*/ 1094685 h 1479935"/>
              <a:gd name="connsiteX858" fmla="*/ 980255 w 1485658"/>
              <a:gd name="connsiteY858" fmla="*/ 1064249 h 1479935"/>
              <a:gd name="connsiteX859" fmla="*/ 949702 w 1485658"/>
              <a:gd name="connsiteY859" fmla="*/ 1094685 h 1479935"/>
              <a:gd name="connsiteX860" fmla="*/ 1068391 w 1485658"/>
              <a:gd name="connsiteY860" fmla="*/ 1094685 h 1479935"/>
              <a:gd name="connsiteX861" fmla="*/ 1098944 w 1485658"/>
              <a:gd name="connsiteY861" fmla="*/ 1125122 h 1479935"/>
              <a:gd name="connsiteX862" fmla="*/ 1129496 w 1485658"/>
              <a:gd name="connsiteY862" fmla="*/ 1094685 h 1479935"/>
              <a:gd name="connsiteX863" fmla="*/ 1098944 w 1485658"/>
              <a:gd name="connsiteY863" fmla="*/ 1064249 h 1479935"/>
              <a:gd name="connsiteX864" fmla="*/ 1068391 w 1485658"/>
              <a:gd name="connsiteY864" fmla="*/ 1094685 h 1479935"/>
              <a:gd name="connsiteX865" fmla="*/ 1187080 w 1485658"/>
              <a:gd name="connsiteY865" fmla="*/ 1094685 h 1479935"/>
              <a:gd name="connsiteX866" fmla="*/ 1217633 w 1485658"/>
              <a:gd name="connsiteY866" fmla="*/ 1125122 h 1479935"/>
              <a:gd name="connsiteX867" fmla="*/ 1248185 w 1485658"/>
              <a:gd name="connsiteY867" fmla="*/ 1094685 h 1479935"/>
              <a:gd name="connsiteX868" fmla="*/ 1217633 w 1485658"/>
              <a:gd name="connsiteY868" fmla="*/ 1064249 h 1479935"/>
              <a:gd name="connsiteX869" fmla="*/ 1187080 w 1485658"/>
              <a:gd name="connsiteY869" fmla="*/ 1094685 h 1479935"/>
              <a:gd name="connsiteX870" fmla="*/ 1305769 w 1485658"/>
              <a:gd name="connsiteY870" fmla="*/ 1094685 h 1479935"/>
              <a:gd name="connsiteX871" fmla="*/ 1336322 w 1485658"/>
              <a:gd name="connsiteY871" fmla="*/ 1125122 h 1479935"/>
              <a:gd name="connsiteX872" fmla="*/ 1366874 w 1485658"/>
              <a:gd name="connsiteY872" fmla="*/ 1094685 h 1479935"/>
              <a:gd name="connsiteX873" fmla="*/ 1336322 w 1485658"/>
              <a:gd name="connsiteY873" fmla="*/ 1064249 h 1479935"/>
              <a:gd name="connsiteX874" fmla="*/ 1305769 w 1485658"/>
              <a:gd name="connsiteY874" fmla="*/ 1094685 h 1479935"/>
              <a:gd name="connsiteX875" fmla="*/ 1365161 w 1485658"/>
              <a:gd name="connsiteY875" fmla="*/ 1094685 h 1479935"/>
              <a:gd name="connsiteX876" fmla="*/ 1395714 w 1485658"/>
              <a:gd name="connsiteY876" fmla="*/ 1125122 h 1479935"/>
              <a:gd name="connsiteX877" fmla="*/ 1426266 w 1485658"/>
              <a:gd name="connsiteY877" fmla="*/ 1094685 h 1479935"/>
              <a:gd name="connsiteX878" fmla="*/ 1395714 w 1485658"/>
              <a:gd name="connsiteY878" fmla="*/ 1064249 h 1479935"/>
              <a:gd name="connsiteX879" fmla="*/ 1365161 w 1485658"/>
              <a:gd name="connsiteY879" fmla="*/ 1094685 h 1479935"/>
              <a:gd name="connsiteX880" fmla="*/ 1424553 w 1485658"/>
              <a:gd name="connsiteY880" fmla="*/ 1094685 h 1479935"/>
              <a:gd name="connsiteX881" fmla="*/ 1455106 w 1485658"/>
              <a:gd name="connsiteY881" fmla="*/ 1125122 h 1479935"/>
              <a:gd name="connsiteX882" fmla="*/ 1485658 w 1485658"/>
              <a:gd name="connsiteY882" fmla="*/ 1094685 h 1479935"/>
              <a:gd name="connsiteX883" fmla="*/ 1455106 w 1485658"/>
              <a:gd name="connsiteY883" fmla="*/ 1064249 h 1479935"/>
              <a:gd name="connsiteX884" fmla="*/ 1424553 w 1485658"/>
              <a:gd name="connsiteY884" fmla="*/ 1094685 h 1479935"/>
              <a:gd name="connsiteX885" fmla="*/ 474851 w 1485658"/>
              <a:gd name="connsiteY885" fmla="*/ 1153853 h 1479935"/>
              <a:gd name="connsiteX886" fmla="*/ 505404 w 1485658"/>
              <a:gd name="connsiteY886" fmla="*/ 1184289 h 1479935"/>
              <a:gd name="connsiteX887" fmla="*/ 535956 w 1485658"/>
              <a:gd name="connsiteY887" fmla="*/ 1153853 h 1479935"/>
              <a:gd name="connsiteX888" fmla="*/ 505404 w 1485658"/>
              <a:gd name="connsiteY888" fmla="*/ 1123416 h 1479935"/>
              <a:gd name="connsiteX889" fmla="*/ 474851 w 1485658"/>
              <a:gd name="connsiteY889" fmla="*/ 1153853 h 1479935"/>
              <a:gd name="connsiteX890" fmla="*/ 593635 w 1485658"/>
              <a:gd name="connsiteY890" fmla="*/ 1153853 h 1479935"/>
              <a:gd name="connsiteX891" fmla="*/ 624188 w 1485658"/>
              <a:gd name="connsiteY891" fmla="*/ 1184289 h 1479935"/>
              <a:gd name="connsiteX892" fmla="*/ 654740 w 1485658"/>
              <a:gd name="connsiteY892" fmla="*/ 1153853 h 1479935"/>
              <a:gd name="connsiteX893" fmla="*/ 624188 w 1485658"/>
              <a:gd name="connsiteY893" fmla="*/ 1123416 h 1479935"/>
              <a:gd name="connsiteX894" fmla="*/ 593635 w 1485658"/>
              <a:gd name="connsiteY894" fmla="*/ 1153853 h 1479935"/>
              <a:gd name="connsiteX895" fmla="*/ 652932 w 1485658"/>
              <a:gd name="connsiteY895" fmla="*/ 1153853 h 1479935"/>
              <a:gd name="connsiteX896" fmla="*/ 683485 w 1485658"/>
              <a:gd name="connsiteY896" fmla="*/ 1184289 h 1479935"/>
              <a:gd name="connsiteX897" fmla="*/ 714037 w 1485658"/>
              <a:gd name="connsiteY897" fmla="*/ 1153853 h 1479935"/>
              <a:gd name="connsiteX898" fmla="*/ 683485 w 1485658"/>
              <a:gd name="connsiteY898" fmla="*/ 1123416 h 1479935"/>
              <a:gd name="connsiteX899" fmla="*/ 652932 w 1485658"/>
              <a:gd name="connsiteY899" fmla="*/ 1153853 h 1479935"/>
              <a:gd name="connsiteX900" fmla="*/ 831013 w 1485658"/>
              <a:gd name="connsiteY900" fmla="*/ 1153853 h 1479935"/>
              <a:gd name="connsiteX901" fmla="*/ 861566 w 1485658"/>
              <a:gd name="connsiteY901" fmla="*/ 1184289 h 1479935"/>
              <a:gd name="connsiteX902" fmla="*/ 892118 w 1485658"/>
              <a:gd name="connsiteY902" fmla="*/ 1153853 h 1479935"/>
              <a:gd name="connsiteX903" fmla="*/ 861566 w 1485658"/>
              <a:gd name="connsiteY903" fmla="*/ 1123416 h 1479935"/>
              <a:gd name="connsiteX904" fmla="*/ 831013 w 1485658"/>
              <a:gd name="connsiteY904" fmla="*/ 1153853 h 1479935"/>
              <a:gd name="connsiteX905" fmla="*/ 949702 w 1485658"/>
              <a:gd name="connsiteY905" fmla="*/ 1153853 h 1479935"/>
              <a:gd name="connsiteX906" fmla="*/ 980255 w 1485658"/>
              <a:gd name="connsiteY906" fmla="*/ 1184289 h 1479935"/>
              <a:gd name="connsiteX907" fmla="*/ 1010807 w 1485658"/>
              <a:gd name="connsiteY907" fmla="*/ 1153853 h 1479935"/>
              <a:gd name="connsiteX908" fmla="*/ 980255 w 1485658"/>
              <a:gd name="connsiteY908" fmla="*/ 1123416 h 1479935"/>
              <a:gd name="connsiteX909" fmla="*/ 949702 w 1485658"/>
              <a:gd name="connsiteY909" fmla="*/ 1153853 h 1479935"/>
              <a:gd name="connsiteX910" fmla="*/ 1187080 w 1485658"/>
              <a:gd name="connsiteY910" fmla="*/ 1153853 h 1479935"/>
              <a:gd name="connsiteX911" fmla="*/ 1217633 w 1485658"/>
              <a:gd name="connsiteY911" fmla="*/ 1184289 h 1479935"/>
              <a:gd name="connsiteX912" fmla="*/ 1248185 w 1485658"/>
              <a:gd name="connsiteY912" fmla="*/ 1153853 h 1479935"/>
              <a:gd name="connsiteX913" fmla="*/ 1217633 w 1485658"/>
              <a:gd name="connsiteY913" fmla="*/ 1123416 h 1479935"/>
              <a:gd name="connsiteX914" fmla="*/ 1187080 w 1485658"/>
              <a:gd name="connsiteY914" fmla="*/ 1153853 h 1479935"/>
              <a:gd name="connsiteX915" fmla="*/ 1246472 w 1485658"/>
              <a:gd name="connsiteY915" fmla="*/ 1153853 h 1479935"/>
              <a:gd name="connsiteX916" fmla="*/ 1277025 w 1485658"/>
              <a:gd name="connsiteY916" fmla="*/ 1184289 h 1479935"/>
              <a:gd name="connsiteX917" fmla="*/ 1307577 w 1485658"/>
              <a:gd name="connsiteY917" fmla="*/ 1153853 h 1479935"/>
              <a:gd name="connsiteX918" fmla="*/ 1277025 w 1485658"/>
              <a:gd name="connsiteY918" fmla="*/ 1123416 h 1479935"/>
              <a:gd name="connsiteX919" fmla="*/ 1246472 w 1485658"/>
              <a:gd name="connsiteY919" fmla="*/ 1153853 h 1479935"/>
              <a:gd name="connsiteX920" fmla="*/ 1424553 w 1485658"/>
              <a:gd name="connsiteY920" fmla="*/ 1153853 h 1479935"/>
              <a:gd name="connsiteX921" fmla="*/ 1455106 w 1485658"/>
              <a:gd name="connsiteY921" fmla="*/ 1184289 h 1479935"/>
              <a:gd name="connsiteX922" fmla="*/ 1485658 w 1485658"/>
              <a:gd name="connsiteY922" fmla="*/ 1153853 h 1479935"/>
              <a:gd name="connsiteX923" fmla="*/ 1455106 w 1485658"/>
              <a:gd name="connsiteY923" fmla="*/ 1123416 h 1479935"/>
              <a:gd name="connsiteX924" fmla="*/ 1424553 w 1485658"/>
              <a:gd name="connsiteY924" fmla="*/ 1153853 h 1479935"/>
              <a:gd name="connsiteX925" fmla="*/ 474851 w 1485658"/>
              <a:gd name="connsiteY925" fmla="*/ 1212925 h 1479935"/>
              <a:gd name="connsiteX926" fmla="*/ 505404 w 1485658"/>
              <a:gd name="connsiteY926" fmla="*/ 1243362 h 1479935"/>
              <a:gd name="connsiteX927" fmla="*/ 535956 w 1485658"/>
              <a:gd name="connsiteY927" fmla="*/ 1212925 h 1479935"/>
              <a:gd name="connsiteX928" fmla="*/ 505404 w 1485658"/>
              <a:gd name="connsiteY928" fmla="*/ 1182488 h 1479935"/>
              <a:gd name="connsiteX929" fmla="*/ 474851 w 1485658"/>
              <a:gd name="connsiteY929" fmla="*/ 1212925 h 1479935"/>
              <a:gd name="connsiteX930" fmla="*/ 534243 w 1485658"/>
              <a:gd name="connsiteY930" fmla="*/ 1212925 h 1479935"/>
              <a:gd name="connsiteX931" fmla="*/ 564796 w 1485658"/>
              <a:gd name="connsiteY931" fmla="*/ 1243362 h 1479935"/>
              <a:gd name="connsiteX932" fmla="*/ 595348 w 1485658"/>
              <a:gd name="connsiteY932" fmla="*/ 1212925 h 1479935"/>
              <a:gd name="connsiteX933" fmla="*/ 564796 w 1485658"/>
              <a:gd name="connsiteY933" fmla="*/ 1182488 h 1479935"/>
              <a:gd name="connsiteX934" fmla="*/ 534243 w 1485658"/>
              <a:gd name="connsiteY934" fmla="*/ 1212925 h 1479935"/>
              <a:gd name="connsiteX935" fmla="*/ 652932 w 1485658"/>
              <a:gd name="connsiteY935" fmla="*/ 1212925 h 1479935"/>
              <a:gd name="connsiteX936" fmla="*/ 683485 w 1485658"/>
              <a:gd name="connsiteY936" fmla="*/ 1243362 h 1479935"/>
              <a:gd name="connsiteX937" fmla="*/ 714037 w 1485658"/>
              <a:gd name="connsiteY937" fmla="*/ 1212925 h 1479935"/>
              <a:gd name="connsiteX938" fmla="*/ 683485 w 1485658"/>
              <a:gd name="connsiteY938" fmla="*/ 1182488 h 1479935"/>
              <a:gd name="connsiteX939" fmla="*/ 652932 w 1485658"/>
              <a:gd name="connsiteY939" fmla="*/ 1212925 h 1479935"/>
              <a:gd name="connsiteX940" fmla="*/ 890310 w 1485658"/>
              <a:gd name="connsiteY940" fmla="*/ 1212925 h 1479935"/>
              <a:gd name="connsiteX941" fmla="*/ 920863 w 1485658"/>
              <a:gd name="connsiteY941" fmla="*/ 1243362 h 1479935"/>
              <a:gd name="connsiteX942" fmla="*/ 951415 w 1485658"/>
              <a:gd name="connsiteY942" fmla="*/ 1212925 h 1479935"/>
              <a:gd name="connsiteX943" fmla="*/ 920863 w 1485658"/>
              <a:gd name="connsiteY943" fmla="*/ 1182488 h 1479935"/>
              <a:gd name="connsiteX944" fmla="*/ 890310 w 1485658"/>
              <a:gd name="connsiteY944" fmla="*/ 1212925 h 1479935"/>
              <a:gd name="connsiteX945" fmla="*/ 949702 w 1485658"/>
              <a:gd name="connsiteY945" fmla="*/ 1212925 h 1479935"/>
              <a:gd name="connsiteX946" fmla="*/ 980255 w 1485658"/>
              <a:gd name="connsiteY946" fmla="*/ 1243362 h 1479935"/>
              <a:gd name="connsiteX947" fmla="*/ 1010807 w 1485658"/>
              <a:gd name="connsiteY947" fmla="*/ 1212925 h 1479935"/>
              <a:gd name="connsiteX948" fmla="*/ 980255 w 1485658"/>
              <a:gd name="connsiteY948" fmla="*/ 1182488 h 1479935"/>
              <a:gd name="connsiteX949" fmla="*/ 949702 w 1485658"/>
              <a:gd name="connsiteY949" fmla="*/ 1212925 h 1479935"/>
              <a:gd name="connsiteX950" fmla="*/ 1009094 w 1485658"/>
              <a:gd name="connsiteY950" fmla="*/ 1212925 h 1479935"/>
              <a:gd name="connsiteX951" fmla="*/ 1039647 w 1485658"/>
              <a:gd name="connsiteY951" fmla="*/ 1243362 h 1479935"/>
              <a:gd name="connsiteX952" fmla="*/ 1070199 w 1485658"/>
              <a:gd name="connsiteY952" fmla="*/ 1212925 h 1479935"/>
              <a:gd name="connsiteX953" fmla="*/ 1039647 w 1485658"/>
              <a:gd name="connsiteY953" fmla="*/ 1182488 h 1479935"/>
              <a:gd name="connsiteX954" fmla="*/ 1009094 w 1485658"/>
              <a:gd name="connsiteY954" fmla="*/ 1212925 h 1479935"/>
              <a:gd name="connsiteX955" fmla="*/ 1068391 w 1485658"/>
              <a:gd name="connsiteY955" fmla="*/ 1212925 h 1479935"/>
              <a:gd name="connsiteX956" fmla="*/ 1098944 w 1485658"/>
              <a:gd name="connsiteY956" fmla="*/ 1243362 h 1479935"/>
              <a:gd name="connsiteX957" fmla="*/ 1129496 w 1485658"/>
              <a:gd name="connsiteY957" fmla="*/ 1212925 h 1479935"/>
              <a:gd name="connsiteX958" fmla="*/ 1098944 w 1485658"/>
              <a:gd name="connsiteY958" fmla="*/ 1182488 h 1479935"/>
              <a:gd name="connsiteX959" fmla="*/ 1068391 w 1485658"/>
              <a:gd name="connsiteY959" fmla="*/ 1212925 h 1479935"/>
              <a:gd name="connsiteX960" fmla="*/ 1127783 w 1485658"/>
              <a:gd name="connsiteY960" fmla="*/ 1212925 h 1479935"/>
              <a:gd name="connsiteX961" fmla="*/ 1158336 w 1485658"/>
              <a:gd name="connsiteY961" fmla="*/ 1243362 h 1479935"/>
              <a:gd name="connsiteX962" fmla="*/ 1188888 w 1485658"/>
              <a:gd name="connsiteY962" fmla="*/ 1212925 h 1479935"/>
              <a:gd name="connsiteX963" fmla="*/ 1158336 w 1485658"/>
              <a:gd name="connsiteY963" fmla="*/ 1182488 h 1479935"/>
              <a:gd name="connsiteX964" fmla="*/ 1127783 w 1485658"/>
              <a:gd name="connsiteY964" fmla="*/ 1212925 h 1479935"/>
              <a:gd name="connsiteX965" fmla="*/ 1187080 w 1485658"/>
              <a:gd name="connsiteY965" fmla="*/ 1212925 h 1479935"/>
              <a:gd name="connsiteX966" fmla="*/ 1217633 w 1485658"/>
              <a:gd name="connsiteY966" fmla="*/ 1243362 h 1479935"/>
              <a:gd name="connsiteX967" fmla="*/ 1248185 w 1485658"/>
              <a:gd name="connsiteY967" fmla="*/ 1212925 h 1479935"/>
              <a:gd name="connsiteX968" fmla="*/ 1217633 w 1485658"/>
              <a:gd name="connsiteY968" fmla="*/ 1182488 h 1479935"/>
              <a:gd name="connsiteX969" fmla="*/ 1187080 w 1485658"/>
              <a:gd name="connsiteY969" fmla="*/ 1212925 h 1479935"/>
              <a:gd name="connsiteX970" fmla="*/ 1305769 w 1485658"/>
              <a:gd name="connsiteY970" fmla="*/ 1212925 h 1479935"/>
              <a:gd name="connsiteX971" fmla="*/ 1336322 w 1485658"/>
              <a:gd name="connsiteY971" fmla="*/ 1243362 h 1479935"/>
              <a:gd name="connsiteX972" fmla="*/ 1366874 w 1485658"/>
              <a:gd name="connsiteY972" fmla="*/ 1212925 h 1479935"/>
              <a:gd name="connsiteX973" fmla="*/ 1336322 w 1485658"/>
              <a:gd name="connsiteY973" fmla="*/ 1182488 h 1479935"/>
              <a:gd name="connsiteX974" fmla="*/ 1305769 w 1485658"/>
              <a:gd name="connsiteY974" fmla="*/ 1212925 h 1479935"/>
              <a:gd name="connsiteX975" fmla="*/ 1365161 w 1485658"/>
              <a:gd name="connsiteY975" fmla="*/ 1212925 h 1479935"/>
              <a:gd name="connsiteX976" fmla="*/ 1395714 w 1485658"/>
              <a:gd name="connsiteY976" fmla="*/ 1243362 h 1479935"/>
              <a:gd name="connsiteX977" fmla="*/ 1426266 w 1485658"/>
              <a:gd name="connsiteY977" fmla="*/ 1212925 h 1479935"/>
              <a:gd name="connsiteX978" fmla="*/ 1395714 w 1485658"/>
              <a:gd name="connsiteY978" fmla="*/ 1182488 h 1479935"/>
              <a:gd name="connsiteX979" fmla="*/ 1365161 w 1485658"/>
              <a:gd name="connsiteY979" fmla="*/ 1212925 h 1479935"/>
              <a:gd name="connsiteX980" fmla="*/ 1424553 w 1485658"/>
              <a:gd name="connsiteY980" fmla="*/ 1212925 h 1479935"/>
              <a:gd name="connsiteX981" fmla="*/ 1455106 w 1485658"/>
              <a:gd name="connsiteY981" fmla="*/ 1243362 h 1479935"/>
              <a:gd name="connsiteX982" fmla="*/ 1485658 w 1485658"/>
              <a:gd name="connsiteY982" fmla="*/ 1212925 h 1479935"/>
              <a:gd name="connsiteX983" fmla="*/ 1455106 w 1485658"/>
              <a:gd name="connsiteY983" fmla="*/ 1182488 h 1479935"/>
              <a:gd name="connsiteX984" fmla="*/ 1424553 w 1485658"/>
              <a:gd name="connsiteY984" fmla="*/ 1212925 h 1479935"/>
              <a:gd name="connsiteX985" fmla="*/ 474851 w 1485658"/>
              <a:gd name="connsiteY985" fmla="*/ 1272092 h 1479935"/>
              <a:gd name="connsiteX986" fmla="*/ 505404 w 1485658"/>
              <a:gd name="connsiteY986" fmla="*/ 1302529 h 1479935"/>
              <a:gd name="connsiteX987" fmla="*/ 535956 w 1485658"/>
              <a:gd name="connsiteY987" fmla="*/ 1272092 h 1479935"/>
              <a:gd name="connsiteX988" fmla="*/ 505404 w 1485658"/>
              <a:gd name="connsiteY988" fmla="*/ 1241655 h 1479935"/>
              <a:gd name="connsiteX989" fmla="*/ 474851 w 1485658"/>
              <a:gd name="connsiteY989" fmla="*/ 1272092 h 1479935"/>
              <a:gd name="connsiteX990" fmla="*/ 534243 w 1485658"/>
              <a:gd name="connsiteY990" fmla="*/ 1272092 h 1479935"/>
              <a:gd name="connsiteX991" fmla="*/ 564796 w 1485658"/>
              <a:gd name="connsiteY991" fmla="*/ 1302529 h 1479935"/>
              <a:gd name="connsiteX992" fmla="*/ 595348 w 1485658"/>
              <a:gd name="connsiteY992" fmla="*/ 1272092 h 1479935"/>
              <a:gd name="connsiteX993" fmla="*/ 564796 w 1485658"/>
              <a:gd name="connsiteY993" fmla="*/ 1241655 h 1479935"/>
              <a:gd name="connsiteX994" fmla="*/ 534243 w 1485658"/>
              <a:gd name="connsiteY994" fmla="*/ 1272092 h 1479935"/>
              <a:gd name="connsiteX995" fmla="*/ 712324 w 1485658"/>
              <a:gd name="connsiteY995" fmla="*/ 1272092 h 1479935"/>
              <a:gd name="connsiteX996" fmla="*/ 742877 w 1485658"/>
              <a:gd name="connsiteY996" fmla="*/ 1302529 h 1479935"/>
              <a:gd name="connsiteX997" fmla="*/ 773429 w 1485658"/>
              <a:gd name="connsiteY997" fmla="*/ 1272092 h 1479935"/>
              <a:gd name="connsiteX998" fmla="*/ 742877 w 1485658"/>
              <a:gd name="connsiteY998" fmla="*/ 1241655 h 1479935"/>
              <a:gd name="connsiteX999" fmla="*/ 712324 w 1485658"/>
              <a:gd name="connsiteY999" fmla="*/ 1272092 h 1479935"/>
              <a:gd name="connsiteX1000" fmla="*/ 771621 w 1485658"/>
              <a:gd name="connsiteY1000" fmla="*/ 1272092 h 1479935"/>
              <a:gd name="connsiteX1001" fmla="*/ 802174 w 1485658"/>
              <a:gd name="connsiteY1001" fmla="*/ 1302529 h 1479935"/>
              <a:gd name="connsiteX1002" fmla="*/ 832726 w 1485658"/>
              <a:gd name="connsiteY1002" fmla="*/ 1272092 h 1479935"/>
              <a:gd name="connsiteX1003" fmla="*/ 802174 w 1485658"/>
              <a:gd name="connsiteY1003" fmla="*/ 1241655 h 1479935"/>
              <a:gd name="connsiteX1004" fmla="*/ 771621 w 1485658"/>
              <a:gd name="connsiteY1004" fmla="*/ 1272092 h 1479935"/>
              <a:gd name="connsiteX1005" fmla="*/ 831013 w 1485658"/>
              <a:gd name="connsiteY1005" fmla="*/ 1272092 h 1479935"/>
              <a:gd name="connsiteX1006" fmla="*/ 861566 w 1485658"/>
              <a:gd name="connsiteY1006" fmla="*/ 1302529 h 1479935"/>
              <a:gd name="connsiteX1007" fmla="*/ 892118 w 1485658"/>
              <a:gd name="connsiteY1007" fmla="*/ 1272092 h 1479935"/>
              <a:gd name="connsiteX1008" fmla="*/ 861566 w 1485658"/>
              <a:gd name="connsiteY1008" fmla="*/ 1241655 h 1479935"/>
              <a:gd name="connsiteX1009" fmla="*/ 831013 w 1485658"/>
              <a:gd name="connsiteY1009" fmla="*/ 1272092 h 1479935"/>
              <a:gd name="connsiteX1010" fmla="*/ 890310 w 1485658"/>
              <a:gd name="connsiteY1010" fmla="*/ 1272092 h 1479935"/>
              <a:gd name="connsiteX1011" fmla="*/ 920863 w 1485658"/>
              <a:gd name="connsiteY1011" fmla="*/ 1302529 h 1479935"/>
              <a:gd name="connsiteX1012" fmla="*/ 951415 w 1485658"/>
              <a:gd name="connsiteY1012" fmla="*/ 1272092 h 1479935"/>
              <a:gd name="connsiteX1013" fmla="*/ 920863 w 1485658"/>
              <a:gd name="connsiteY1013" fmla="*/ 1241655 h 1479935"/>
              <a:gd name="connsiteX1014" fmla="*/ 890310 w 1485658"/>
              <a:gd name="connsiteY1014" fmla="*/ 1272092 h 1479935"/>
              <a:gd name="connsiteX1015" fmla="*/ 1009094 w 1485658"/>
              <a:gd name="connsiteY1015" fmla="*/ 1272092 h 1479935"/>
              <a:gd name="connsiteX1016" fmla="*/ 1039647 w 1485658"/>
              <a:gd name="connsiteY1016" fmla="*/ 1302529 h 1479935"/>
              <a:gd name="connsiteX1017" fmla="*/ 1070199 w 1485658"/>
              <a:gd name="connsiteY1017" fmla="*/ 1272092 h 1479935"/>
              <a:gd name="connsiteX1018" fmla="*/ 1039647 w 1485658"/>
              <a:gd name="connsiteY1018" fmla="*/ 1241655 h 1479935"/>
              <a:gd name="connsiteX1019" fmla="*/ 1009094 w 1485658"/>
              <a:gd name="connsiteY1019" fmla="*/ 1272092 h 1479935"/>
              <a:gd name="connsiteX1020" fmla="*/ 1068391 w 1485658"/>
              <a:gd name="connsiteY1020" fmla="*/ 1272092 h 1479935"/>
              <a:gd name="connsiteX1021" fmla="*/ 1098944 w 1485658"/>
              <a:gd name="connsiteY1021" fmla="*/ 1302529 h 1479935"/>
              <a:gd name="connsiteX1022" fmla="*/ 1129496 w 1485658"/>
              <a:gd name="connsiteY1022" fmla="*/ 1272092 h 1479935"/>
              <a:gd name="connsiteX1023" fmla="*/ 1098944 w 1485658"/>
              <a:gd name="connsiteY1023" fmla="*/ 1241655 h 1479935"/>
              <a:gd name="connsiteX1024" fmla="*/ 1068391 w 1485658"/>
              <a:gd name="connsiteY1024" fmla="*/ 1272092 h 1479935"/>
              <a:gd name="connsiteX1025" fmla="*/ 1187080 w 1485658"/>
              <a:gd name="connsiteY1025" fmla="*/ 1272092 h 1479935"/>
              <a:gd name="connsiteX1026" fmla="*/ 1217633 w 1485658"/>
              <a:gd name="connsiteY1026" fmla="*/ 1302529 h 1479935"/>
              <a:gd name="connsiteX1027" fmla="*/ 1248185 w 1485658"/>
              <a:gd name="connsiteY1027" fmla="*/ 1272092 h 1479935"/>
              <a:gd name="connsiteX1028" fmla="*/ 1217633 w 1485658"/>
              <a:gd name="connsiteY1028" fmla="*/ 1241655 h 1479935"/>
              <a:gd name="connsiteX1029" fmla="*/ 1187080 w 1485658"/>
              <a:gd name="connsiteY1029" fmla="*/ 1272092 h 1479935"/>
              <a:gd name="connsiteX1030" fmla="*/ 1246472 w 1485658"/>
              <a:gd name="connsiteY1030" fmla="*/ 1272092 h 1479935"/>
              <a:gd name="connsiteX1031" fmla="*/ 1277025 w 1485658"/>
              <a:gd name="connsiteY1031" fmla="*/ 1302529 h 1479935"/>
              <a:gd name="connsiteX1032" fmla="*/ 1307577 w 1485658"/>
              <a:gd name="connsiteY1032" fmla="*/ 1272092 h 1479935"/>
              <a:gd name="connsiteX1033" fmla="*/ 1277025 w 1485658"/>
              <a:gd name="connsiteY1033" fmla="*/ 1241655 h 1479935"/>
              <a:gd name="connsiteX1034" fmla="*/ 1246472 w 1485658"/>
              <a:gd name="connsiteY1034" fmla="*/ 1272092 h 1479935"/>
              <a:gd name="connsiteX1035" fmla="*/ 1305769 w 1485658"/>
              <a:gd name="connsiteY1035" fmla="*/ 1272092 h 1479935"/>
              <a:gd name="connsiteX1036" fmla="*/ 1336322 w 1485658"/>
              <a:gd name="connsiteY1036" fmla="*/ 1302529 h 1479935"/>
              <a:gd name="connsiteX1037" fmla="*/ 1366874 w 1485658"/>
              <a:gd name="connsiteY1037" fmla="*/ 1272092 h 1479935"/>
              <a:gd name="connsiteX1038" fmla="*/ 1336322 w 1485658"/>
              <a:gd name="connsiteY1038" fmla="*/ 1241655 h 1479935"/>
              <a:gd name="connsiteX1039" fmla="*/ 1305769 w 1485658"/>
              <a:gd name="connsiteY1039" fmla="*/ 1272092 h 1479935"/>
              <a:gd name="connsiteX1040" fmla="*/ 1365161 w 1485658"/>
              <a:gd name="connsiteY1040" fmla="*/ 1272092 h 1479935"/>
              <a:gd name="connsiteX1041" fmla="*/ 1395714 w 1485658"/>
              <a:gd name="connsiteY1041" fmla="*/ 1302529 h 1479935"/>
              <a:gd name="connsiteX1042" fmla="*/ 1426266 w 1485658"/>
              <a:gd name="connsiteY1042" fmla="*/ 1272092 h 1479935"/>
              <a:gd name="connsiteX1043" fmla="*/ 1395714 w 1485658"/>
              <a:gd name="connsiteY1043" fmla="*/ 1241655 h 1479935"/>
              <a:gd name="connsiteX1044" fmla="*/ 1365161 w 1485658"/>
              <a:gd name="connsiteY1044" fmla="*/ 1272092 h 1479935"/>
              <a:gd name="connsiteX1045" fmla="*/ 1424553 w 1485658"/>
              <a:gd name="connsiteY1045" fmla="*/ 1272092 h 1479935"/>
              <a:gd name="connsiteX1046" fmla="*/ 1455106 w 1485658"/>
              <a:gd name="connsiteY1046" fmla="*/ 1302529 h 1479935"/>
              <a:gd name="connsiteX1047" fmla="*/ 1485658 w 1485658"/>
              <a:gd name="connsiteY1047" fmla="*/ 1272092 h 1479935"/>
              <a:gd name="connsiteX1048" fmla="*/ 1455106 w 1485658"/>
              <a:gd name="connsiteY1048" fmla="*/ 1241655 h 1479935"/>
              <a:gd name="connsiteX1049" fmla="*/ 1424553 w 1485658"/>
              <a:gd name="connsiteY1049" fmla="*/ 1272092 h 1479935"/>
              <a:gd name="connsiteX1050" fmla="*/ 474851 w 1485658"/>
              <a:gd name="connsiteY1050" fmla="*/ 1331259 h 1479935"/>
              <a:gd name="connsiteX1051" fmla="*/ 505404 w 1485658"/>
              <a:gd name="connsiteY1051" fmla="*/ 1361696 h 1479935"/>
              <a:gd name="connsiteX1052" fmla="*/ 535956 w 1485658"/>
              <a:gd name="connsiteY1052" fmla="*/ 1331259 h 1479935"/>
              <a:gd name="connsiteX1053" fmla="*/ 505404 w 1485658"/>
              <a:gd name="connsiteY1053" fmla="*/ 1300822 h 1479935"/>
              <a:gd name="connsiteX1054" fmla="*/ 474851 w 1485658"/>
              <a:gd name="connsiteY1054" fmla="*/ 1331259 h 1479935"/>
              <a:gd name="connsiteX1055" fmla="*/ 593635 w 1485658"/>
              <a:gd name="connsiteY1055" fmla="*/ 1331259 h 1479935"/>
              <a:gd name="connsiteX1056" fmla="*/ 624188 w 1485658"/>
              <a:gd name="connsiteY1056" fmla="*/ 1361696 h 1479935"/>
              <a:gd name="connsiteX1057" fmla="*/ 654740 w 1485658"/>
              <a:gd name="connsiteY1057" fmla="*/ 1331259 h 1479935"/>
              <a:gd name="connsiteX1058" fmla="*/ 624188 w 1485658"/>
              <a:gd name="connsiteY1058" fmla="*/ 1300822 h 1479935"/>
              <a:gd name="connsiteX1059" fmla="*/ 593635 w 1485658"/>
              <a:gd name="connsiteY1059" fmla="*/ 1331259 h 1479935"/>
              <a:gd name="connsiteX1060" fmla="*/ 771621 w 1485658"/>
              <a:gd name="connsiteY1060" fmla="*/ 1331259 h 1479935"/>
              <a:gd name="connsiteX1061" fmla="*/ 802174 w 1485658"/>
              <a:gd name="connsiteY1061" fmla="*/ 1361696 h 1479935"/>
              <a:gd name="connsiteX1062" fmla="*/ 832726 w 1485658"/>
              <a:gd name="connsiteY1062" fmla="*/ 1331259 h 1479935"/>
              <a:gd name="connsiteX1063" fmla="*/ 802174 w 1485658"/>
              <a:gd name="connsiteY1063" fmla="*/ 1300822 h 1479935"/>
              <a:gd name="connsiteX1064" fmla="*/ 771621 w 1485658"/>
              <a:gd name="connsiteY1064" fmla="*/ 1331259 h 1479935"/>
              <a:gd name="connsiteX1065" fmla="*/ 831013 w 1485658"/>
              <a:gd name="connsiteY1065" fmla="*/ 1331259 h 1479935"/>
              <a:gd name="connsiteX1066" fmla="*/ 861566 w 1485658"/>
              <a:gd name="connsiteY1066" fmla="*/ 1361696 h 1479935"/>
              <a:gd name="connsiteX1067" fmla="*/ 892118 w 1485658"/>
              <a:gd name="connsiteY1067" fmla="*/ 1331259 h 1479935"/>
              <a:gd name="connsiteX1068" fmla="*/ 861566 w 1485658"/>
              <a:gd name="connsiteY1068" fmla="*/ 1300822 h 1479935"/>
              <a:gd name="connsiteX1069" fmla="*/ 831013 w 1485658"/>
              <a:gd name="connsiteY1069" fmla="*/ 1331259 h 1479935"/>
              <a:gd name="connsiteX1070" fmla="*/ 1246472 w 1485658"/>
              <a:gd name="connsiteY1070" fmla="*/ 1331259 h 1479935"/>
              <a:gd name="connsiteX1071" fmla="*/ 1277025 w 1485658"/>
              <a:gd name="connsiteY1071" fmla="*/ 1361696 h 1479935"/>
              <a:gd name="connsiteX1072" fmla="*/ 1307577 w 1485658"/>
              <a:gd name="connsiteY1072" fmla="*/ 1331259 h 1479935"/>
              <a:gd name="connsiteX1073" fmla="*/ 1277025 w 1485658"/>
              <a:gd name="connsiteY1073" fmla="*/ 1300822 h 1479935"/>
              <a:gd name="connsiteX1074" fmla="*/ 1246472 w 1485658"/>
              <a:gd name="connsiteY1074" fmla="*/ 1331259 h 1479935"/>
              <a:gd name="connsiteX1075" fmla="*/ 1305769 w 1485658"/>
              <a:gd name="connsiteY1075" fmla="*/ 1331259 h 1479935"/>
              <a:gd name="connsiteX1076" fmla="*/ 1336322 w 1485658"/>
              <a:gd name="connsiteY1076" fmla="*/ 1361696 h 1479935"/>
              <a:gd name="connsiteX1077" fmla="*/ 1366874 w 1485658"/>
              <a:gd name="connsiteY1077" fmla="*/ 1331259 h 1479935"/>
              <a:gd name="connsiteX1078" fmla="*/ 1336322 w 1485658"/>
              <a:gd name="connsiteY1078" fmla="*/ 1300822 h 1479935"/>
              <a:gd name="connsiteX1079" fmla="*/ 1305769 w 1485658"/>
              <a:gd name="connsiteY1079" fmla="*/ 1331259 h 1479935"/>
              <a:gd name="connsiteX1080" fmla="*/ 1424553 w 1485658"/>
              <a:gd name="connsiteY1080" fmla="*/ 1331259 h 1479935"/>
              <a:gd name="connsiteX1081" fmla="*/ 1455106 w 1485658"/>
              <a:gd name="connsiteY1081" fmla="*/ 1361696 h 1479935"/>
              <a:gd name="connsiteX1082" fmla="*/ 1485658 w 1485658"/>
              <a:gd name="connsiteY1082" fmla="*/ 1331259 h 1479935"/>
              <a:gd name="connsiteX1083" fmla="*/ 1455106 w 1485658"/>
              <a:gd name="connsiteY1083" fmla="*/ 1300822 h 1479935"/>
              <a:gd name="connsiteX1084" fmla="*/ 1424553 w 1485658"/>
              <a:gd name="connsiteY1084" fmla="*/ 1331259 h 1479935"/>
              <a:gd name="connsiteX1085" fmla="*/ 712324 w 1485658"/>
              <a:gd name="connsiteY1085" fmla="*/ 1390331 h 1479935"/>
              <a:gd name="connsiteX1086" fmla="*/ 742877 w 1485658"/>
              <a:gd name="connsiteY1086" fmla="*/ 1420768 h 1479935"/>
              <a:gd name="connsiteX1087" fmla="*/ 773429 w 1485658"/>
              <a:gd name="connsiteY1087" fmla="*/ 1390331 h 1479935"/>
              <a:gd name="connsiteX1088" fmla="*/ 742877 w 1485658"/>
              <a:gd name="connsiteY1088" fmla="*/ 1359894 h 1479935"/>
              <a:gd name="connsiteX1089" fmla="*/ 712324 w 1485658"/>
              <a:gd name="connsiteY1089" fmla="*/ 1390331 h 1479935"/>
              <a:gd name="connsiteX1090" fmla="*/ 771621 w 1485658"/>
              <a:gd name="connsiteY1090" fmla="*/ 1390331 h 1479935"/>
              <a:gd name="connsiteX1091" fmla="*/ 802174 w 1485658"/>
              <a:gd name="connsiteY1091" fmla="*/ 1420768 h 1479935"/>
              <a:gd name="connsiteX1092" fmla="*/ 832726 w 1485658"/>
              <a:gd name="connsiteY1092" fmla="*/ 1390331 h 1479935"/>
              <a:gd name="connsiteX1093" fmla="*/ 802174 w 1485658"/>
              <a:gd name="connsiteY1093" fmla="*/ 1359894 h 1479935"/>
              <a:gd name="connsiteX1094" fmla="*/ 771621 w 1485658"/>
              <a:gd name="connsiteY1094" fmla="*/ 1390331 h 1479935"/>
              <a:gd name="connsiteX1095" fmla="*/ 949702 w 1485658"/>
              <a:gd name="connsiteY1095" fmla="*/ 1390331 h 1479935"/>
              <a:gd name="connsiteX1096" fmla="*/ 980255 w 1485658"/>
              <a:gd name="connsiteY1096" fmla="*/ 1420768 h 1479935"/>
              <a:gd name="connsiteX1097" fmla="*/ 1010807 w 1485658"/>
              <a:gd name="connsiteY1097" fmla="*/ 1390331 h 1479935"/>
              <a:gd name="connsiteX1098" fmla="*/ 980255 w 1485658"/>
              <a:gd name="connsiteY1098" fmla="*/ 1359894 h 1479935"/>
              <a:gd name="connsiteX1099" fmla="*/ 949702 w 1485658"/>
              <a:gd name="connsiteY1099" fmla="*/ 1390331 h 1479935"/>
              <a:gd name="connsiteX1100" fmla="*/ 1068391 w 1485658"/>
              <a:gd name="connsiteY1100" fmla="*/ 1390331 h 1479935"/>
              <a:gd name="connsiteX1101" fmla="*/ 1098944 w 1485658"/>
              <a:gd name="connsiteY1101" fmla="*/ 1420768 h 1479935"/>
              <a:gd name="connsiteX1102" fmla="*/ 1129496 w 1485658"/>
              <a:gd name="connsiteY1102" fmla="*/ 1390331 h 1479935"/>
              <a:gd name="connsiteX1103" fmla="*/ 1098944 w 1485658"/>
              <a:gd name="connsiteY1103" fmla="*/ 1359894 h 1479935"/>
              <a:gd name="connsiteX1104" fmla="*/ 1068391 w 1485658"/>
              <a:gd name="connsiteY1104" fmla="*/ 1390331 h 1479935"/>
              <a:gd name="connsiteX1105" fmla="*/ 1127783 w 1485658"/>
              <a:gd name="connsiteY1105" fmla="*/ 1390331 h 1479935"/>
              <a:gd name="connsiteX1106" fmla="*/ 1158336 w 1485658"/>
              <a:gd name="connsiteY1106" fmla="*/ 1420768 h 1479935"/>
              <a:gd name="connsiteX1107" fmla="*/ 1188888 w 1485658"/>
              <a:gd name="connsiteY1107" fmla="*/ 1390331 h 1479935"/>
              <a:gd name="connsiteX1108" fmla="*/ 1158336 w 1485658"/>
              <a:gd name="connsiteY1108" fmla="*/ 1359894 h 1479935"/>
              <a:gd name="connsiteX1109" fmla="*/ 1127783 w 1485658"/>
              <a:gd name="connsiteY1109" fmla="*/ 1390331 h 1479935"/>
              <a:gd name="connsiteX1110" fmla="*/ 1187080 w 1485658"/>
              <a:gd name="connsiteY1110" fmla="*/ 1390331 h 1479935"/>
              <a:gd name="connsiteX1111" fmla="*/ 1217633 w 1485658"/>
              <a:gd name="connsiteY1111" fmla="*/ 1420768 h 1479935"/>
              <a:gd name="connsiteX1112" fmla="*/ 1248185 w 1485658"/>
              <a:gd name="connsiteY1112" fmla="*/ 1390331 h 1479935"/>
              <a:gd name="connsiteX1113" fmla="*/ 1217633 w 1485658"/>
              <a:gd name="connsiteY1113" fmla="*/ 1359894 h 1479935"/>
              <a:gd name="connsiteX1114" fmla="*/ 1187080 w 1485658"/>
              <a:gd name="connsiteY1114" fmla="*/ 1390331 h 1479935"/>
              <a:gd name="connsiteX1115" fmla="*/ 1246472 w 1485658"/>
              <a:gd name="connsiteY1115" fmla="*/ 1390331 h 1479935"/>
              <a:gd name="connsiteX1116" fmla="*/ 1277025 w 1485658"/>
              <a:gd name="connsiteY1116" fmla="*/ 1420768 h 1479935"/>
              <a:gd name="connsiteX1117" fmla="*/ 1307577 w 1485658"/>
              <a:gd name="connsiteY1117" fmla="*/ 1390331 h 1479935"/>
              <a:gd name="connsiteX1118" fmla="*/ 1277025 w 1485658"/>
              <a:gd name="connsiteY1118" fmla="*/ 1359894 h 1479935"/>
              <a:gd name="connsiteX1119" fmla="*/ 1246472 w 1485658"/>
              <a:gd name="connsiteY1119" fmla="*/ 1390331 h 1479935"/>
              <a:gd name="connsiteX1120" fmla="*/ 1424553 w 1485658"/>
              <a:gd name="connsiteY1120" fmla="*/ 1390331 h 1479935"/>
              <a:gd name="connsiteX1121" fmla="*/ 1455106 w 1485658"/>
              <a:gd name="connsiteY1121" fmla="*/ 1420768 h 1479935"/>
              <a:gd name="connsiteX1122" fmla="*/ 1485658 w 1485658"/>
              <a:gd name="connsiteY1122" fmla="*/ 1390331 h 1479935"/>
              <a:gd name="connsiteX1123" fmla="*/ 1455106 w 1485658"/>
              <a:gd name="connsiteY1123" fmla="*/ 1359894 h 1479935"/>
              <a:gd name="connsiteX1124" fmla="*/ 1424553 w 1485658"/>
              <a:gd name="connsiteY1124" fmla="*/ 1390331 h 1479935"/>
              <a:gd name="connsiteX1125" fmla="*/ 474851 w 1485658"/>
              <a:gd name="connsiteY1125" fmla="*/ 1449498 h 1479935"/>
              <a:gd name="connsiteX1126" fmla="*/ 505404 w 1485658"/>
              <a:gd name="connsiteY1126" fmla="*/ 1479935 h 1479935"/>
              <a:gd name="connsiteX1127" fmla="*/ 535956 w 1485658"/>
              <a:gd name="connsiteY1127" fmla="*/ 1449498 h 1479935"/>
              <a:gd name="connsiteX1128" fmla="*/ 505404 w 1485658"/>
              <a:gd name="connsiteY1128" fmla="*/ 1419061 h 1479935"/>
              <a:gd name="connsiteX1129" fmla="*/ 474851 w 1485658"/>
              <a:gd name="connsiteY1129" fmla="*/ 1449498 h 1479935"/>
              <a:gd name="connsiteX1130" fmla="*/ 593635 w 1485658"/>
              <a:gd name="connsiteY1130" fmla="*/ 1449498 h 1479935"/>
              <a:gd name="connsiteX1131" fmla="*/ 624188 w 1485658"/>
              <a:gd name="connsiteY1131" fmla="*/ 1479935 h 1479935"/>
              <a:gd name="connsiteX1132" fmla="*/ 654740 w 1485658"/>
              <a:gd name="connsiteY1132" fmla="*/ 1449498 h 1479935"/>
              <a:gd name="connsiteX1133" fmla="*/ 624188 w 1485658"/>
              <a:gd name="connsiteY1133" fmla="*/ 1419061 h 1479935"/>
              <a:gd name="connsiteX1134" fmla="*/ 593635 w 1485658"/>
              <a:gd name="connsiteY1134" fmla="*/ 1449498 h 1479935"/>
              <a:gd name="connsiteX1135" fmla="*/ 712324 w 1485658"/>
              <a:gd name="connsiteY1135" fmla="*/ 1449498 h 1479935"/>
              <a:gd name="connsiteX1136" fmla="*/ 742877 w 1485658"/>
              <a:gd name="connsiteY1136" fmla="*/ 1479935 h 1479935"/>
              <a:gd name="connsiteX1137" fmla="*/ 773429 w 1485658"/>
              <a:gd name="connsiteY1137" fmla="*/ 1449498 h 1479935"/>
              <a:gd name="connsiteX1138" fmla="*/ 742877 w 1485658"/>
              <a:gd name="connsiteY1138" fmla="*/ 1419061 h 1479935"/>
              <a:gd name="connsiteX1139" fmla="*/ 712324 w 1485658"/>
              <a:gd name="connsiteY1139" fmla="*/ 1449498 h 1479935"/>
              <a:gd name="connsiteX1140" fmla="*/ 831013 w 1485658"/>
              <a:gd name="connsiteY1140" fmla="*/ 1449498 h 1479935"/>
              <a:gd name="connsiteX1141" fmla="*/ 861566 w 1485658"/>
              <a:gd name="connsiteY1141" fmla="*/ 1479935 h 1479935"/>
              <a:gd name="connsiteX1142" fmla="*/ 892118 w 1485658"/>
              <a:gd name="connsiteY1142" fmla="*/ 1449498 h 1479935"/>
              <a:gd name="connsiteX1143" fmla="*/ 861566 w 1485658"/>
              <a:gd name="connsiteY1143" fmla="*/ 1419061 h 1479935"/>
              <a:gd name="connsiteX1144" fmla="*/ 831013 w 1485658"/>
              <a:gd name="connsiteY1144" fmla="*/ 1449498 h 1479935"/>
              <a:gd name="connsiteX1145" fmla="*/ 1009094 w 1485658"/>
              <a:gd name="connsiteY1145" fmla="*/ 1449498 h 1479935"/>
              <a:gd name="connsiteX1146" fmla="*/ 1039647 w 1485658"/>
              <a:gd name="connsiteY1146" fmla="*/ 1479935 h 1479935"/>
              <a:gd name="connsiteX1147" fmla="*/ 1070199 w 1485658"/>
              <a:gd name="connsiteY1147" fmla="*/ 1449498 h 1479935"/>
              <a:gd name="connsiteX1148" fmla="*/ 1039647 w 1485658"/>
              <a:gd name="connsiteY1148" fmla="*/ 1419061 h 1479935"/>
              <a:gd name="connsiteX1149" fmla="*/ 1009094 w 1485658"/>
              <a:gd name="connsiteY1149" fmla="*/ 1449498 h 1479935"/>
              <a:gd name="connsiteX1150" fmla="*/ 1068391 w 1485658"/>
              <a:gd name="connsiteY1150" fmla="*/ 1449498 h 1479935"/>
              <a:gd name="connsiteX1151" fmla="*/ 1098944 w 1485658"/>
              <a:gd name="connsiteY1151" fmla="*/ 1479935 h 1479935"/>
              <a:gd name="connsiteX1152" fmla="*/ 1129496 w 1485658"/>
              <a:gd name="connsiteY1152" fmla="*/ 1449498 h 1479935"/>
              <a:gd name="connsiteX1153" fmla="*/ 1098944 w 1485658"/>
              <a:gd name="connsiteY1153" fmla="*/ 1419061 h 1479935"/>
              <a:gd name="connsiteX1154" fmla="*/ 1068391 w 1485658"/>
              <a:gd name="connsiteY1154" fmla="*/ 1449498 h 1479935"/>
              <a:gd name="connsiteX1155" fmla="*/ 1127783 w 1485658"/>
              <a:gd name="connsiteY1155" fmla="*/ 1449498 h 1479935"/>
              <a:gd name="connsiteX1156" fmla="*/ 1158336 w 1485658"/>
              <a:gd name="connsiteY1156" fmla="*/ 1479935 h 1479935"/>
              <a:gd name="connsiteX1157" fmla="*/ 1188888 w 1485658"/>
              <a:gd name="connsiteY1157" fmla="*/ 1449498 h 1479935"/>
              <a:gd name="connsiteX1158" fmla="*/ 1158336 w 1485658"/>
              <a:gd name="connsiteY1158" fmla="*/ 1419061 h 1479935"/>
              <a:gd name="connsiteX1159" fmla="*/ 1127783 w 1485658"/>
              <a:gd name="connsiteY1159" fmla="*/ 1449498 h 1479935"/>
              <a:gd name="connsiteX1160" fmla="*/ 1187080 w 1485658"/>
              <a:gd name="connsiteY1160" fmla="*/ 1449498 h 1479935"/>
              <a:gd name="connsiteX1161" fmla="*/ 1217633 w 1485658"/>
              <a:gd name="connsiteY1161" fmla="*/ 1479935 h 1479935"/>
              <a:gd name="connsiteX1162" fmla="*/ 1248185 w 1485658"/>
              <a:gd name="connsiteY1162" fmla="*/ 1449498 h 1479935"/>
              <a:gd name="connsiteX1163" fmla="*/ 1217633 w 1485658"/>
              <a:gd name="connsiteY1163" fmla="*/ 1419061 h 1479935"/>
              <a:gd name="connsiteX1164" fmla="*/ 1187080 w 1485658"/>
              <a:gd name="connsiteY1164" fmla="*/ 1449498 h 1479935"/>
              <a:gd name="connsiteX1165" fmla="*/ 1246472 w 1485658"/>
              <a:gd name="connsiteY1165" fmla="*/ 1449498 h 1479935"/>
              <a:gd name="connsiteX1166" fmla="*/ 1277025 w 1485658"/>
              <a:gd name="connsiteY1166" fmla="*/ 1479935 h 1479935"/>
              <a:gd name="connsiteX1167" fmla="*/ 1307577 w 1485658"/>
              <a:gd name="connsiteY1167" fmla="*/ 1449498 h 1479935"/>
              <a:gd name="connsiteX1168" fmla="*/ 1277025 w 1485658"/>
              <a:gd name="connsiteY1168" fmla="*/ 1419061 h 1479935"/>
              <a:gd name="connsiteX1169" fmla="*/ 1246472 w 1485658"/>
              <a:gd name="connsiteY1169" fmla="*/ 1449498 h 1479935"/>
              <a:gd name="connsiteX1170" fmla="*/ 1305769 w 1485658"/>
              <a:gd name="connsiteY1170" fmla="*/ 1449498 h 1479935"/>
              <a:gd name="connsiteX1171" fmla="*/ 1336322 w 1485658"/>
              <a:gd name="connsiteY1171" fmla="*/ 1479935 h 1479935"/>
              <a:gd name="connsiteX1172" fmla="*/ 1366874 w 1485658"/>
              <a:gd name="connsiteY1172" fmla="*/ 1449498 h 1479935"/>
              <a:gd name="connsiteX1173" fmla="*/ 1336322 w 1485658"/>
              <a:gd name="connsiteY1173" fmla="*/ 1419061 h 1479935"/>
              <a:gd name="connsiteX1174" fmla="*/ 1305769 w 1485658"/>
              <a:gd name="connsiteY1174" fmla="*/ 1449498 h 1479935"/>
              <a:gd name="connsiteX1175" fmla="*/ 1365161 w 1485658"/>
              <a:gd name="connsiteY1175" fmla="*/ 1449498 h 1479935"/>
              <a:gd name="connsiteX1176" fmla="*/ 1395714 w 1485658"/>
              <a:gd name="connsiteY1176" fmla="*/ 1479935 h 1479935"/>
              <a:gd name="connsiteX1177" fmla="*/ 1426266 w 1485658"/>
              <a:gd name="connsiteY1177" fmla="*/ 1449498 h 1479935"/>
              <a:gd name="connsiteX1178" fmla="*/ 1395714 w 1485658"/>
              <a:gd name="connsiteY1178" fmla="*/ 1419061 h 1479935"/>
              <a:gd name="connsiteX1179" fmla="*/ 1365161 w 1485658"/>
              <a:gd name="connsiteY1179" fmla="*/ 1449498 h 1479935"/>
              <a:gd name="connsiteX1180" fmla="*/ 1424553 w 1485658"/>
              <a:gd name="connsiteY1180" fmla="*/ 1449498 h 1479935"/>
              <a:gd name="connsiteX1181" fmla="*/ 1455106 w 1485658"/>
              <a:gd name="connsiteY1181" fmla="*/ 1479935 h 1479935"/>
              <a:gd name="connsiteX1182" fmla="*/ 1485658 w 1485658"/>
              <a:gd name="connsiteY1182" fmla="*/ 1449498 h 1479935"/>
              <a:gd name="connsiteX1183" fmla="*/ 1455106 w 1485658"/>
              <a:gd name="connsiteY1183" fmla="*/ 1419061 h 1479935"/>
              <a:gd name="connsiteX1184" fmla="*/ 1424553 w 1485658"/>
              <a:gd name="connsiteY1184" fmla="*/ 1449498 h 1479935"/>
              <a:gd name="connsiteX1185" fmla="*/ 207777 w 1485658"/>
              <a:gd name="connsiteY1185" fmla="*/ 0 h 1479935"/>
              <a:gd name="connsiteX1186" fmla="*/ 207777 w 1485658"/>
              <a:gd name="connsiteY1186" fmla="*/ 0 h 1479935"/>
              <a:gd name="connsiteX1187" fmla="*/ 415554 w 1485658"/>
              <a:gd name="connsiteY1187" fmla="*/ 206990 h 1479935"/>
              <a:gd name="connsiteX1188" fmla="*/ 415554 w 1485658"/>
              <a:gd name="connsiteY1188" fmla="*/ 206990 h 1479935"/>
              <a:gd name="connsiteX1189" fmla="*/ 207777 w 1485658"/>
              <a:gd name="connsiteY1189" fmla="*/ 413980 h 1479935"/>
              <a:gd name="connsiteX1190" fmla="*/ 207777 w 1485658"/>
              <a:gd name="connsiteY1190" fmla="*/ 413980 h 1479935"/>
              <a:gd name="connsiteX1191" fmla="*/ 0 w 1485658"/>
              <a:gd name="connsiteY1191" fmla="*/ 206990 h 1479935"/>
              <a:gd name="connsiteX1192" fmla="*/ 0 w 1485658"/>
              <a:gd name="connsiteY1192" fmla="*/ 206990 h 1479935"/>
              <a:gd name="connsiteX1193" fmla="*/ 207777 w 1485658"/>
              <a:gd name="connsiteY1193" fmla="*/ 0 h 1479935"/>
              <a:gd name="connsiteX1194" fmla="*/ 356162 w 1485658"/>
              <a:gd name="connsiteY1194" fmla="*/ 206895 h 1479935"/>
              <a:gd name="connsiteX1195" fmla="*/ 356162 w 1485658"/>
              <a:gd name="connsiteY1195" fmla="*/ 206895 h 1479935"/>
              <a:gd name="connsiteX1196" fmla="*/ 207777 w 1485658"/>
              <a:gd name="connsiteY1196" fmla="*/ 59072 h 1479935"/>
              <a:gd name="connsiteX1197" fmla="*/ 207777 w 1485658"/>
              <a:gd name="connsiteY1197" fmla="*/ 59072 h 1479935"/>
              <a:gd name="connsiteX1198" fmla="*/ 59392 w 1485658"/>
              <a:gd name="connsiteY1198" fmla="*/ 206895 h 1479935"/>
              <a:gd name="connsiteX1199" fmla="*/ 59392 w 1485658"/>
              <a:gd name="connsiteY1199" fmla="*/ 206895 h 1479935"/>
              <a:gd name="connsiteX1200" fmla="*/ 207777 w 1485658"/>
              <a:gd name="connsiteY1200" fmla="*/ 354718 h 1479935"/>
              <a:gd name="connsiteX1201" fmla="*/ 207777 w 1485658"/>
              <a:gd name="connsiteY1201" fmla="*/ 354718 h 1479935"/>
              <a:gd name="connsiteX1202" fmla="*/ 356162 w 1485658"/>
              <a:gd name="connsiteY1202" fmla="*/ 206895 h 1479935"/>
              <a:gd name="connsiteX1203" fmla="*/ 1276168 w 1485658"/>
              <a:gd name="connsiteY1203" fmla="*/ 0 h 1479935"/>
              <a:gd name="connsiteX1204" fmla="*/ 1276168 w 1485658"/>
              <a:gd name="connsiteY1204" fmla="*/ 0 h 1479935"/>
              <a:gd name="connsiteX1205" fmla="*/ 1483945 w 1485658"/>
              <a:gd name="connsiteY1205" fmla="*/ 206990 h 1479935"/>
              <a:gd name="connsiteX1206" fmla="*/ 1483945 w 1485658"/>
              <a:gd name="connsiteY1206" fmla="*/ 206990 h 1479935"/>
              <a:gd name="connsiteX1207" fmla="*/ 1276168 w 1485658"/>
              <a:gd name="connsiteY1207" fmla="*/ 413980 h 1479935"/>
              <a:gd name="connsiteX1208" fmla="*/ 1276168 w 1485658"/>
              <a:gd name="connsiteY1208" fmla="*/ 413980 h 1479935"/>
              <a:gd name="connsiteX1209" fmla="*/ 1068391 w 1485658"/>
              <a:gd name="connsiteY1209" fmla="*/ 206990 h 1479935"/>
              <a:gd name="connsiteX1210" fmla="*/ 1068391 w 1485658"/>
              <a:gd name="connsiteY1210" fmla="*/ 206990 h 1479935"/>
              <a:gd name="connsiteX1211" fmla="*/ 1276168 w 1485658"/>
              <a:gd name="connsiteY1211" fmla="*/ 0 h 1479935"/>
              <a:gd name="connsiteX1212" fmla="*/ 1424553 w 1485658"/>
              <a:gd name="connsiteY1212" fmla="*/ 206895 h 1479935"/>
              <a:gd name="connsiteX1213" fmla="*/ 1424553 w 1485658"/>
              <a:gd name="connsiteY1213" fmla="*/ 206895 h 1479935"/>
              <a:gd name="connsiteX1214" fmla="*/ 1276168 w 1485658"/>
              <a:gd name="connsiteY1214" fmla="*/ 59072 h 1479935"/>
              <a:gd name="connsiteX1215" fmla="*/ 1276168 w 1485658"/>
              <a:gd name="connsiteY1215" fmla="*/ 59072 h 1479935"/>
              <a:gd name="connsiteX1216" fmla="*/ 1127783 w 1485658"/>
              <a:gd name="connsiteY1216" fmla="*/ 206895 h 1479935"/>
              <a:gd name="connsiteX1217" fmla="*/ 1127783 w 1485658"/>
              <a:gd name="connsiteY1217" fmla="*/ 206895 h 1479935"/>
              <a:gd name="connsiteX1218" fmla="*/ 1276168 w 1485658"/>
              <a:gd name="connsiteY1218" fmla="*/ 354718 h 1479935"/>
              <a:gd name="connsiteX1219" fmla="*/ 1276168 w 1485658"/>
              <a:gd name="connsiteY1219" fmla="*/ 354718 h 1479935"/>
              <a:gd name="connsiteX1220" fmla="*/ 1424553 w 1485658"/>
              <a:gd name="connsiteY1220" fmla="*/ 206895 h 1479935"/>
              <a:gd name="connsiteX1221" fmla="*/ 207777 w 1485658"/>
              <a:gd name="connsiteY1221" fmla="*/ 1064249 h 1479935"/>
              <a:gd name="connsiteX1222" fmla="*/ 207777 w 1485658"/>
              <a:gd name="connsiteY1222" fmla="*/ 1064249 h 1479935"/>
              <a:gd name="connsiteX1223" fmla="*/ 415554 w 1485658"/>
              <a:gd name="connsiteY1223" fmla="*/ 1271238 h 1479935"/>
              <a:gd name="connsiteX1224" fmla="*/ 415554 w 1485658"/>
              <a:gd name="connsiteY1224" fmla="*/ 1271238 h 1479935"/>
              <a:gd name="connsiteX1225" fmla="*/ 207777 w 1485658"/>
              <a:gd name="connsiteY1225" fmla="*/ 1478228 h 1479935"/>
              <a:gd name="connsiteX1226" fmla="*/ 207777 w 1485658"/>
              <a:gd name="connsiteY1226" fmla="*/ 1478228 h 1479935"/>
              <a:gd name="connsiteX1227" fmla="*/ 0 w 1485658"/>
              <a:gd name="connsiteY1227" fmla="*/ 1271238 h 1479935"/>
              <a:gd name="connsiteX1228" fmla="*/ 0 w 1485658"/>
              <a:gd name="connsiteY1228" fmla="*/ 1271238 h 1479935"/>
              <a:gd name="connsiteX1229" fmla="*/ 207777 w 1485658"/>
              <a:gd name="connsiteY1229" fmla="*/ 1064249 h 1479935"/>
              <a:gd name="connsiteX1230" fmla="*/ 356162 w 1485658"/>
              <a:gd name="connsiteY1230" fmla="*/ 1271238 h 1479935"/>
              <a:gd name="connsiteX1231" fmla="*/ 356162 w 1485658"/>
              <a:gd name="connsiteY1231" fmla="*/ 1271238 h 1479935"/>
              <a:gd name="connsiteX1232" fmla="*/ 207777 w 1485658"/>
              <a:gd name="connsiteY1232" fmla="*/ 1123416 h 1479935"/>
              <a:gd name="connsiteX1233" fmla="*/ 207777 w 1485658"/>
              <a:gd name="connsiteY1233" fmla="*/ 1123416 h 1479935"/>
              <a:gd name="connsiteX1234" fmla="*/ 59392 w 1485658"/>
              <a:gd name="connsiteY1234" fmla="*/ 1271238 h 1479935"/>
              <a:gd name="connsiteX1235" fmla="*/ 59392 w 1485658"/>
              <a:gd name="connsiteY1235" fmla="*/ 1271238 h 1479935"/>
              <a:gd name="connsiteX1236" fmla="*/ 207777 w 1485658"/>
              <a:gd name="connsiteY1236" fmla="*/ 1419061 h 1479935"/>
              <a:gd name="connsiteX1237" fmla="*/ 207777 w 1485658"/>
              <a:gd name="connsiteY1237" fmla="*/ 1419061 h 1479935"/>
              <a:gd name="connsiteX1238" fmla="*/ 356162 w 1485658"/>
              <a:gd name="connsiteY1238" fmla="*/ 1271238 h 1479935"/>
              <a:gd name="connsiteX1239" fmla="*/ 118784 w 1485658"/>
              <a:gd name="connsiteY1239" fmla="*/ 206895 h 1479935"/>
              <a:gd name="connsiteX1240" fmla="*/ 207777 w 1485658"/>
              <a:gd name="connsiteY1240" fmla="*/ 295551 h 1479935"/>
              <a:gd name="connsiteX1241" fmla="*/ 296770 w 1485658"/>
              <a:gd name="connsiteY1241" fmla="*/ 206895 h 1479935"/>
              <a:gd name="connsiteX1242" fmla="*/ 207777 w 1485658"/>
              <a:gd name="connsiteY1242" fmla="*/ 118239 h 1479935"/>
              <a:gd name="connsiteX1243" fmla="*/ 118784 w 1485658"/>
              <a:gd name="connsiteY1243" fmla="*/ 206895 h 1479935"/>
              <a:gd name="connsiteX1244" fmla="*/ 1187080 w 1485658"/>
              <a:gd name="connsiteY1244" fmla="*/ 206895 h 1479935"/>
              <a:gd name="connsiteX1245" fmla="*/ 1276073 w 1485658"/>
              <a:gd name="connsiteY1245" fmla="*/ 295551 h 1479935"/>
              <a:gd name="connsiteX1246" fmla="*/ 1365066 w 1485658"/>
              <a:gd name="connsiteY1246" fmla="*/ 206895 h 1479935"/>
              <a:gd name="connsiteX1247" fmla="*/ 1276073 w 1485658"/>
              <a:gd name="connsiteY1247" fmla="*/ 118239 h 1479935"/>
              <a:gd name="connsiteX1248" fmla="*/ 1187080 w 1485658"/>
              <a:gd name="connsiteY1248" fmla="*/ 206895 h 1479935"/>
              <a:gd name="connsiteX1249" fmla="*/ 118784 w 1485658"/>
              <a:gd name="connsiteY1249" fmla="*/ 1271238 h 1479935"/>
              <a:gd name="connsiteX1250" fmla="*/ 207777 w 1485658"/>
              <a:gd name="connsiteY1250" fmla="*/ 1359894 h 1479935"/>
              <a:gd name="connsiteX1251" fmla="*/ 296770 w 1485658"/>
              <a:gd name="connsiteY1251" fmla="*/ 1271238 h 1479935"/>
              <a:gd name="connsiteX1252" fmla="*/ 207777 w 1485658"/>
              <a:gd name="connsiteY1252" fmla="*/ 1182583 h 1479935"/>
              <a:gd name="connsiteX1253" fmla="*/ 118784 w 1485658"/>
              <a:gd name="connsiteY1253" fmla="*/ 1271238 h 1479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</a:cxnLst>
            <a:rect l="l" t="t" r="r" b="b"/>
            <a:pathLst>
              <a:path w="1485658" h="1479935">
                <a:moveTo>
                  <a:pt x="564796" y="0"/>
                </a:moveTo>
                <a:cubicBezTo>
                  <a:pt x="581643" y="0"/>
                  <a:pt x="595348" y="13654"/>
                  <a:pt x="595348" y="30437"/>
                </a:cubicBezTo>
                <a:cubicBezTo>
                  <a:pt x="595348" y="47220"/>
                  <a:pt x="581643" y="60874"/>
                  <a:pt x="564796" y="60874"/>
                </a:cubicBezTo>
                <a:cubicBezTo>
                  <a:pt x="547949" y="60874"/>
                  <a:pt x="534243" y="47220"/>
                  <a:pt x="534243" y="30437"/>
                </a:cubicBezTo>
                <a:cubicBezTo>
                  <a:pt x="534243" y="13654"/>
                  <a:pt x="547949" y="0"/>
                  <a:pt x="564796" y="0"/>
                </a:cubicBezTo>
                <a:close/>
                <a:moveTo>
                  <a:pt x="593635" y="30437"/>
                </a:moveTo>
                <a:cubicBezTo>
                  <a:pt x="593635" y="47220"/>
                  <a:pt x="607341" y="60874"/>
                  <a:pt x="624188" y="60874"/>
                </a:cubicBezTo>
                <a:cubicBezTo>
                  <a:pt x="641035" y="60874"/>
                  <a:pt x="654740" y="47220"/>
                  <a:pt x="654740" y="30437"/>
                </a:cubicBezTo>
                <a:cubicBezTo>
                  <a:pt x="654740" y="13654"/>
                  <a:pt x="641035" y="0"/>
                  <a:pt x="624188" y="0"/>
                </a:cubicBezTo>
                <a:cubicBezTo>
                  <a:pt x="607341" y="0"/>
                  <a:pt x="593635" y="13654"/>
                  <a:pt x="593635" y="30437"/>
                </a:cubicBezTo>
                <a:close/>
                <a:moveTo>
                  <a:pt x="652932" y="30437"/>
                </a:moveTo>
                <a:cubicBezTo>
                  <a:pt x="652932" y="47220"/>
                  <a:pt x="666638" y="60874"/>
                  <a:pt x="683485" y="60874"/>
                </a:cubicBezTo>
                <a:cubicBezTo>
                  <a:pt x="700332" y="60874"/>
                  <a:pt x="714037" y="47220"/>
                  <a:pt x="714037" y="30437"/>
                </a:cubicBezTo>
                <a:cubicBezTo>
                  <a:pt x="714037" y="13654"/>
                  <a:pt x="700332" y="0"/>
                  <a:pt x="683485" y="0"/>
                </a:cubicBezTo>
                <a:cubicBezTo>
                  <a:pt x="666638" y="0"/>
                  <a:pt x="652932" y="13654"/>
                  <a:pt x="652932" y="30437"/>
                </a:cubicBezTo>
                <a:close/>
                <a:moveTo>
                  <a:pt x="831013" y="30437"/>
                </a:moveTo>
                <a:cubicBezTo>
                  <a:pt x="831013" y="47220"/>
                  <a:pt x="844719" y="60874"/>
                  <a:pt x="861566" y="60874"/>
                </a:cubicBezTo>
                <a:cubicBezTo>
                  <a:pt x="878413" y="60874"/>
                  <a:pt x="892118" y="47220"/>
                  <a:pt x="892118" y="30437"/>
                </a:cubicBezTo>
                <a:cubicBezTo>
                  <a:pt x="892118" y="13654"/>
                  <a:pt x="878413" y="0"/>
                  <a:pt x="861566" y="0"/>
                </a:cubicBezTo>
                <a:cubicBezTo>
                  <a:pt x="844719" y="0"/>
                  <a:pt x="831013" y="13654"/>
                  <a:pt x="831013" y="30437"/>
                </a:cubicBezTo>
                <a:close/>
                <a:moveTo>
                  <a:pt x="949702" y="30437"/>
                </a:moveTo>
                <a:cubicBezTo>
                  <a:pt x="949702" y="47220"/>
                  <a:pt x="963408" y="60874"/>
                  <a:pt x="980255" y="60874"/>
                </a:cubicBezTo>
                <a:cubicBezTo>
                  <a:pt x="997101" y="60874"/>
                  <a:pt x="1010807" y="47220"/>
                  <a:pt x="1010807" y="30437"/>
                </a:cubicBezTo>
                <a:cubicBezTo>
                  <a:pt x="1010807" y="13654"/>
                  <a:pt x="997101" y="0"/>
                  <a:pt x="980255" y="0"/>
                </a:cubicBezTo>
                <a:cubicBezTo>
                  <a:pt x="963408" y="0"/>
                  <a:pt x="949702" y="13654"/>
                  <a:pt x="949702" y="30437"/>
                </a:cubicBezTo>
                <a:close/>
                <a:moveTo>
                  <a:pt x="593635" y="89509"/>
                </a:moveTo>
                <a:cubicBezTo>
                  <a:pt x="593635" y="106292"/>
                  <a:pt x="607341" y="119946"/>
                  <a:pt x="624188" y="119946"/>
                </a:cubicBezTo>
                <a:cubicBezTo>
                  <a:pt x="641035" y="119946"/>
                  <a:pt x="654740" y="106292"/>
                  <a:pt x="654740" y="89509"/>
                </a:cubicBezTo>
                <a:cubicBezTo>
                  <a:pt x="654740" y="72726"/>
                  <a:pt x="641035" y="59072"/>
                  <a:pt x="624188" y="59072"/>
                </a:cubicBezTo>
                <a:cubicBezTo>
                  <a:pt x="607341" y="59072"/>
                  <a:pt x="593635" y="72726"/>
                  <a:pt x="593635" y="89509"/>
                </a:cubicBezTo>
                <a:close/>
                <a:moveTo>
                  <a:pt x="771621" y="89509"/>
                </a:moveTo>
                <a:cubicBezTo>
                  <a:pt x="771621" y="106292"/>
                  <a:pt x="785327" y="119946"/>
                  <a:pt x="802174" y="119946"/>
                </a:cubicBezTo>
                <a:cubicBezTo>
                  <a:pt x="819021" y="119946"/>
                  <a:pt x="832726" y="106292"/>
                  <a:pt x="832726" y="89509"/>
                </a:cubicBezTo>
                <a:cubicBezTo>
                  <a:pt x="832726" y="72726"/>
                  <a:pt x="819021" y="59072"/>
                  <a:pt x="802174" y="59072"/>
                </a:cubicBezTo>
                <a:cubicBezTo>
                  <a:pt x="785327" y="59072"/>
                  <a:pt x="771621" y="72726"/>
                  <a:pt x="771621" y="89509"/>
                </a:cubicBezTo>
                <a:close/>
                <a:moveTo>
                  <a:pt x="890310" y="89509"/>
                </a:moveTo>
                <a:cubicBezTo>
                  <a:pt x="890310" y="106292"/>
                  <a:pt x="904016" y="119946"/>
                  <a:pt x="920863" y="119946"/>
                </a:cubicBezTo>
                <a:cubicBezTo>
                  <a:pt x="937709" y="119946"/>
                  <a:pt x="951415" y="106292"/>
                  <a:pt x="951415" y="89509"/>
                </a:cubicBezTo>
                <a:cubicBezTo>
                  <a:pt x="951415" y="72726"/>
                  <a:pt x="937709" y="59072"/>
                  <a:pt x="920863" y="59072"/>
                </a:cubicBezTo>
                <a:cubicBezTo>
                  <a:pt x="904016" y="59072"/>
                  <a:pt x="890310" y="72726"/>
                  <a:pt x="890310" y="89509"/>
                </a:cubicBezTo>
                <a:close/>
                <a:moveTo>
                  <a:pt x="474851" y="148676"/>
                </a:moveTo>
                <a:cubicBezTo>
                  <a:pt x="474851" y="165459"/>
                  <a:pt x="488557" y="179113"/>
                  <a:pt x="505404" y="179113"/>
                </a:cubicBezTo>
                <a:cubicBezTo>
                  <a:pt x="522250" y="179113"/>
                  <a:pt x="535956" y="165459"/>
                  <a:pt x="535956" y="148676"/>
                </a:cubicBezTo>
                <a:cubicBezTo>
                  <a:pt x="535956" y="131893"/>
                  <a:pt x="522250" y="118239"/>
                  <a:pt x="505404" y="118239"/>
                </a:cubicBezTo>
                <a:cubicBezTo>
                  <a:pt x="488557" y="118239"/>
                  <a:pt x="474851" y="131893"/>
                  <a:pt x="474851" y="148676"/>
                </a:cubicBezTo>
                <a:close/>
                <a:moveTo>
                  <a:pt x="712324" y="148676"/>
                </a:moveTo>
                <a:cubicBezTo>
                  <a:pt x="712324" y="165459"/>
                  <a:pt x="726030" y="179113"/>
                  <a:pt x="742877" y="179113"/>
                </a:cubicBezTo>
                <a:cubicBezTo>
                  <a:pt x="759724" y="179113"/>
                  <a:pt x="773429" y="165459"/>
                  <a:pt x="773429" y="148676"/>
                </a:cubicBezTo>
                <a:cubicBezTo>
                  <a:pt x="773429" y="131893"/>
                  <a:pt x="759724" y="118239"/>
                  <a:pt x="742877" y="118239"/>
                </a:cubicBezTo>
                <a:cubicBezTo>
                  <a:pt x="726030" y="118239"/>
                  <a:pt x="712324" y="131893"/>
                  <a:pt x="712324" y="148676"/>
                </a:cubicBezTo>
                <a:close/>
                <a:moveTo>
                  <a:pt x="949702" y="148676"/>
                </a:moveTo>
                <a:cubicBezTo>
                  <a:pt x="949702" y="165459"/>
                  <a:pt x="963408" y="179113"/>
                  <a:pt x="980255" y="179113"/>
                </a:cubicBezTo>
                <a:cubicBezTo>
                  <a:pt x="997101" y="179113"/>
                  <a:pt x="1010807" y="165459"/>
                  <a:pt x="1010807" y="148676"/>
                </a:cubicBezTo>
                <a:cubicBezTo>
                  <a:pt x="1010807" y="131893"/>
                  <a:pt x="997101" y="118239"/>
                  <a:pt x="980255" y="118239"/>
                </a:cubicBezTo>
                <a:cubicBezTo>
                  <a:pt x="963408" y="118239"/>
                  <a:pt x="949702" y="131893"/>
                  <a:pt x="949702" y="148676"/>
                </a:cubicBezTo>
                <a:close/>
                <a:moveTo>
                  <a:pt x="474851" y="207843"/>
                </a:moveTo>
                <a:cubicBezTo>
                  <a:pt x="474851" y="224626"/>
                  <a:pt x="488557" y="238280"/>
                  <a:pt x="505404" y="238280"/>
                </a:cubicBezTo>
                <a:cubicBezTo>
                  <a:pt x="522250" y="238280"/>
                  <a:pt x="535956" y="224626"/>
                  <a:pt x="535956" y="207843"/>
                </a:cubicBezTo>
                <a:cubicBezTo>
                  <a:pt x="535956" y="191060"/>
                  <a:pt x="522250" y="177406"/>
                  <a:pt x="505404" y="177406"/>
                </a:cubicBezTo>
                <a:cubicBezTo>
                  <a:pt x="488557" y="177406"/>
                  <a:pt x="474851" y="191060"/>
                  <a:pt x="474851" y="207843"/>
                </a:cubicBezTo>
                <a:close/>
                <a:moveTo>
                  <a:pt x="534243" y="207843"/>
                </a:moveTo>
                <a:cubicBezTo>
                  <a:pt x="534243" y="224626"/>
                  <a:pt x="547949" y="238280"/>
                  <a:pt x="564796" y="238280"/>
                </a:cubicBezTo>
                <a:cubicBezTo>
                  <a:pt x="581643" y="238280"/>
                  <a:pt x="595348" y="224626"/>
                  <a:pt x="595348" y="207843"/>
                </a:cubicBezTo>
                <a:cubicBezTo>
                  <a:pt x="595348" y="191060"/>
                  <a:pt x="581643" y="177406"/>
                  <a:pt x="564796" y="177406"/>
                </a:cubicBezTo>
                <a:cubicBezTo>
                  <a:pt x="547949" y="177406"/>
                  <a:pt x="534243" y="191060"/>
                  <a:pt x="534243" y="207843"/>
                </a:cubicBezTo>
                <a:close/>
                <a:moveTo>
                  <a:pt x="593635" y="207843"/>
                </a:moveTo>
                <a:cubicBezTo>
                  <a:pt x="593635" y="224626"/>
                  <a:pt x="607341" y="238280"/>
                  <a:pt x="624188" y="238280"/>
                </a:cubicBezTo>
                <a:cubicBezTo>
                  <a:pt x="641035" y="238280"/>
                  <a:pt x="654740" y="224626"/>
                  <a:pt x="654740" y="207843"/>
                </a:cubicBezTo>
                <a:cubicBezTo>
                  <a:pt x="654740" y="191060"/>
                  <a:pt x="641035" y="177406"/>
                  <a:pt x="624188" y="177406"/>
                </a:cubicBezTo>
                <a:cubicBezTo>
                  <a:pt x="607341" y="177406"/>
                  <a:pt x="593635" y="191060"/>
                  <a:pt x="593635" y="207843"/>
                </a:cubicBezTo>
                <a:close/>
                <a:moveTo>
                  <a:pt x="652932" y="207843"/>
                </a:moveTo>
                <a:cubicBezTo>
                  <a:pt x="652932" y="224626"/>
                  <a:pt x="666638" y="238280"/>
                  <a:pt x="683485" y="238280"/>
                </a:cubicBezTo>
                <a:cubicBezTo>
                  <a:pt x="700332" y="238280"/>
                  <a:pt x="714037" y="224626"/>
                  <a:pt x="714037" y="207843"/>
                </a:cubicBezTo>
                <a:cubicBezTo>
                  <a:pt x="714037" y="191060"/>
                  <a:pt x="700332" y="177406"/>
                  <a:pt x="683485" y="177406"/>
                </a:cubicBezTo>
                <a:cubicBezTo>
                  <a:pt x="666638" y="177406"/>
                  <a:pt x="652932" y="191060"/>
                  <a:pt x="652932" y="207843"/>
                </a:cubicBezTo>
                <a:close/>
                <a:moveTo>
                  <a:pt x="771621" y="207843"/>
                </a:moveTo>
                <a:cubicBezTo>
                  <a:pt x="771621" y="224626"/>
                  <a:pt x="785327" y="238280"/>
                  <a:pt x="802174" y="238280"/>
                </a:cubicBezTo>
                <a:cubicBezTo>
                  <a:pt x="819021" y="238280"/>
                  <a:pt x="832726" y="224626"/>
                  <a:pt x="832726" y="207843"/>
                </a:cubicBezTo>
                <a:cubicBezTo>
                  <a:pt x="832726" y="191060"/>
                  <a:pt x="819021" y="177406"/>
                  <a:pt x="802174" y="177406"/>
                </a:cubicBezTo>
                <a:cubicBezTo>
                  <a:pt x="785327" y="177406"/>
                  <a:pt x="771621" y="191060"/>
                  <a:pt x="771621" y="207843"/>
                </a:cubicBezTo>
                <a:close/>
                <a:moveTo>
                  <a:pt x="831013" y="207843"/>
                </a:moveTo>
                <a:cubicBezTo>
                  <a:pt x="831013" y="224626"/>
                  <a:pt x="844719" y="238280"/>
                  <a:pt x="861566" y="238280"/>
                </a:cubicBezTo>
                <a:cubicBezTo>
                  <a:pt x="878413" y="238280"/>
                  <a:pt x="892118" y="224626"/>
                  <a:pt x="892118" y="207843"/>
                </a:cubicBezTo>
                <a:cubicBezTo>
                  <a:pt x="892118" y="191060"/>
                  <a:pt x="878413" y="177406"/>
                  <a:pt x="861566" y="177406"/>
                </a:cubicBezTo>
                <a:cubicBezTo>
                  <a:pt x="844719" y="177406"/>
                  <a:pt x="831013" y="191060"/>
                  <a:pt x="831013" y="207843"/>
                </a:cubicBezTo>
                <a:close/>
                <a:moveTo>
                  <a:pt x="474851" y="266915"/>
                </a:moveTo>
                <a:cubicBezTo>
                  <a:pt x="474851" y="283698"/>
                  <a:pt x="488557" y="297352"/>
                  <a:pt x="505404" y="297352"/>
                </a:cubicBezTo>
                <a:cubicBezTo>
                  <a:pt x="522250" y="297352"/>
                  <a:pt x="535956" y="283698"/>
                  <a:pt x="535956" y="266915"/>
                </a:cubicBezTo>
                <a:cubicBezTo>
                  <a:pt x="535956" y="250133"/>
                  <a:pt x="522250" y="236479"/>
                  <a:pt x="505404" y="236479"/>
                </a:cubicBezTo>
                <a:cubicBezTo>
                  <a:pt x="488557" y="236479"/>
                  <a:pt x="474851" y="250133"/>
                  <a:pt x="474851" y="266915"/>
                </a:cubicBezTo>
                <a:close/>
                <a:moveTo>
                  <a:pt x="652932" y="266915"/>
                </a:moveTo>
                <a:cubicBezTo>
                  <a:pt x="652932" y="283698"/>
                  <a:pt x="666638" y="297352"/>
                  <a:pt x="683485" y="297352"/>
                </a:cubicBezTo>
                <a:cubicBezTo>
                  <a:pt x="700332" y="297352"/>
                  <a:pt x="714037" y="283698"/>
                  <a:pt x="714037" y="266915"/>
                </a:cubicBezTo>
                <a:cubicBezTo>
                  <a:pt x="714037" y="250133"/>
                  <a:pt x="700332" y="236479"/>
                  <a:pt x="683485" y="236479"/>
                </a:cubicBezTo>
                <a:cubicBezTo>
                  <a:pt x="666638" y="236479"/>
                  <a:pt x="652932" y="250133"/>
                  <a:pt x="652932" y="266915"/>
                </a:cubicBezTo>
                <a:close/>
                <a:moveTo>
                  <a:pt x="712324" y="266915"/>
                </a:moveTo>
                <a:cubicBezTo>
                  <a:pt x="712324" y="283698"/>
                  <a:pt x="726030" y="297352"/>
                  <a:pt x="742877" y="297352"/>
                </a:cubicBezTo>
                <a:cubicBezTo>
                  <a:pt x="759724" y="297352"/>
                  <a:pt x="773429" y="283698"/>
                  <a:pt x="773429" y="266915"/>
                </a:cubicBezTo>
                <a:cubicBezTo>
                  <a:pt x="773429" y="250133"/>
                  <a:pt x="759724" y="236479"/>
                  <a:pt x="742877" y="236479"/>
                </a:cubicBezTo>
                <a:cubicBezTo>
                  <a:pt x="726030" y="236479"/>
                  <a:pt x="712324" y="250133"/>
                  <a:pt x="712324" y="266915"/>
                </a:cubicBezTo>
                <a:close/>
                <a:moveTo>
                  <a:pt x="831013" y="266915"/>
                </a:moveTo>
                <a:cubicBezTo>
                  <a:pt x="831013" y="283698"/>
                  <a:pt x="844719" y="297352"/>
                  <a:pt x="861566" y="297352"/>
                </a:cubicBezTo>
                <a:cubicBezTo>
                  <a:pt x="878413" y="297352"/>
                  <a:pt x="892118" y="283698"/>
                  <a:pt x="892118" y="266915"/>
                </a:cubicBezTo>
                <a:cubicBezTo>
                  <a:pt x="892118" y="250133"/>
                  <a:pt x="878413" y="236479"/>
                  <a:pt x="861566" y="236479"/>
                </a:cubicBezTo>
                <a:cubicBezTo>
                  <a:pt x="844719" y="236479"/>
                  <a:pt x="831013" y="250133"/>
                  <a:pt x="831013" y="266915"/>
                </a:cubicBezTo>
                <a:close/>
                <a:moveTo>
                  <a:pt x="474851" y="326083"/>
                </a:moveTo>
                <a:cubicBezTo>
                  <a:pt x="474851" y="342866"/>
                  <a:pt x="488557" y="356519"/>
                  <a:pt x="505404" y="356519"/>
                </a:cubicBezTo>
                <a:cubicBezTo>
                  <a:pt x="522250" y="356519"/>
                  <a:pt x="535956" y="342866"/>
                  <a:pt x="535956" y="326083"/>
                </a:cubicBezTo>
                <a:cubicBezTo>
                  <a:pt x="535956" y="309300"/>
                  <a:pt x="522250" y="295646"/>
                  <a:pt x="505404" y="295646"/>
                </a:cubicBezTo>
                <a:cubicBezTo>
                  <a:pt x="488557" y="295646"/>
                  <a:pt x="474851" y="309300"/>
                  <a:pt x="474851" y="326083"/>
                </a:cubicBezTo>
                <a:close/>
                <a:moveTo>
                  <a:pt x="593635" y="326083"/>
                </a:moveTo>
                <a:cubicBezTo>
                  <a:pt x="593635" y="342866"/>
                  <a:pt x="607341" y="356519"/>
                  <a:pt x="624188" y="356519"/>
                </a:cubicBezTo>
                <a:cubicBezTo>
                  <a:pt x="641035" y="356519"/>
                  <a:pt x="654740" y="342866"/>
                  <a:pt x="654740" y="326083"/>
                </a:cubicBezTo>
                <a:cubicBezTo>
                  <a:pt x="654740" y="309300"/>
                  <a:pt x="641035" y="295646"/>
                  <a:pt x="624188" y="295646"/>
                </a:cubicBezTo>
                <a:cubicBezTo>
                  <a:pt x="607341" y="295646"/>
                  <a:pt x="593635" y="309300"/>
                  <a:pt x="593635" y="326083"/>
                </a:cubicBezTo>
                <a:close/>
                <a:moveTo>
                  <a:pt x="831013" y="326083"/>
                </a:moveTo>
                <a:cubicBezTo>
                  <a:pt x="831013" y="342866"/>
                  <a:pt x="844719" y="356519"/>
                  <a:pt x="861566" y="356519"/>
                </a:cubicBezTo>
                <a:cubicBezTo>
                  <a:pt x="878413" y="356519"/>
                  <a:pt x="892118" y="342866"/>
                  <a:pt x="892118" y="326083"/>
                </a:cubicBezTo>
                <a:cubicBezTo>
                  <a:pt x="892118" y="309300"/>
                  <a:pt x="878413" y="295646"/>
                  <a:pt x="861566" y="295646"/>
                </a:cubicBezTo>
                <a:cubicBezTo>
                  <a:pt x="844719" y="295646"/>
                  <a:pt x="831013" y="309300"/>
                  <a:pt x="831013" y="326083"/>
                </a:cubicBezTo>
                <a:close/>
                <a:moveTo>
                  <a:pt x="890310" y="326083"/>
                </a:moveTo>
                <a:cubicBezTo>
                  <a:pt x="890310" y="342866"/>
                  <a:pt x="904016" y="356519"/>
                  <a:pt x="920863" y="356519"/>
                </a:cubicBezTo>
                <a:cubicBezTo>
                  <a:pt x="937709" y="356519"/>
                  <a:pt x="951415" y="342866"/>
                  <a:pt x="951415" y="326083"/>
                </a:cubicBezTo>
                <a:cubicBezTo>
                  <a:pt x="951415" y="309300"/>
                  <a:pt x="937709" y="295646"/>
                  <a:pt x="920863" y="295646"/>
                </a:cubicBezTo>
                <a:cubicBezTo>
                  <a:pt x="904016" y="295646"/>
                  <a:pt x="890310" y="309300"/>
                  <a:pt x="890310" y="326083"/>
                </a:cubicBezTo>
                <a:close/>
                <a:moveTo>
                  <a:pt x="949702" y="326083"/>
                </a:moveTo>
                <a:cubicBezTo>
                  <a:pt x="949702" y="342866"/>
                  <a:pt x="963408" y="356519"/>
                  <a:pt x="980255" y="356519"/>
                </a:cubicBezTo>
                <a:cubicBezTo>
                  <a:pt x="997101" y="356519"/>
                  <a:pt x="1010807" y="342866"/>
                  <a:pt x="1010807" y="326083"/>
                </a:cubicBezTo>
                <a:cubicBezTo>
                  <a:pt x="1010807" y="309300"/>
                  <a:pt x="997101" y="295646"/>
                  <a:pt x="980255" y="295646"/>
                </a:cubicBezTo>
                <a:cubicBezTo>
                  <a:pt x="963408" y="295646"/>
                  <a:pt x="949702" y="309300"/>
                  <a:pt x="949702" y="326083"/>
                </a:cubicBezTo>
                <a:close/>
                <a:moveTo>
                  <a:pt x="474851" y="385155"/>
                </a:moveTo>
                <a:cubicBezTo>
                  <a:pt x="474851" y="401938"/>
                  <a:pt x="488557" y="415592"/>
                  <a:pt x="505404" y="415592"/>
                </a:cubicBezTo>
                <a:cubicBezTo>
                  <a:pt x="522250" y="415592"/>
                  <a:pt x="535956" y="401938"/>
                  <a:pt x="535956" y="385155"/>
                </a:cubicBezTo>
                <a:cubicBezTo>
                  <a:pt x="535956" y="368372"/>
                  <a:pt x="522250" y="354718"/>
                  <a:pt x="505404" y="354718"/>
                </a:cubicBezTo>
                <a:cubicBezTo>
                  <a:pt x="488557" y="354718"/>
                  <a:pt x="474851" y="368372"/>
                  <a:pt x="474851" y="385155"/>
                </a:cubicBezTo>
                <a:close/>
                <a:moveTo>
                  <a:pt x="593635" y="385155"/>
                </a:moveTo>
                <a:cubicBezTo>
                  <a:pt x="593635" y="401938"/>
                  <a:pt x="607341" y="415592"/>
                  <a:pt x="624188" y="415592"/>
                </a:cubicBezTo>
                <a:cubicBezTo>
                  <a:pt x="641035" y="415592"/>
                  <a:pt x="654740" y="401938"/>
                  <a:pt x="654740" y="385155"/>
                </a:cubicBezTo>
                <a:cubicBezTo>
                  <a:pt x="654740" y="368372"/>
                  <a:pt x="641035" y="354718"/>
                  <a:pt x="624188" y="354718"/>
                </a:cubicBezTo>
                <a:cubicBezTo>
                  <a:pt x="607341" y="354718"/>
                  <a:pt x="593635" y="368372"/>
                  <a:pt x="593635" y="385155"/>
                </a:cubicBezTo>
                <a:close/>
                <a:moveTo>
                  <a:pt x="712324" y="385155"/>
                </a:moveTo>
                <a:cubicBezTo>
                  <a:pt x="712324" y="401938"/>
                  <a:pt x="726030" y="415592"/>
                  <a:pt x="742877" y="415592"/>
                </a:cubicBezTo>
                <a:cubicBezTo>
                  <a:pt x="759724" y="415592"/>
                  <a:pt x="773429" y="401938"/>
                  <a:pt x="773429" y="385155"/>
                </a:cubicBezTo>
                <a:cubicBezTo>
                  <a:pt x="773429" y="368372"/>
                  <a:pt x="759724" y="354718"/>
                  <a:pt x="742877" y="354718"/>
                </a:cubicBezTo>
                <a:cubicBezTo>
                  <a:pt x="726030" y="354718"/>
                  <a:pt x="712324" y="368372"/>
                  <a:pt x="712324" y="385155"/>
                </a:cubicBezTo>
                <a:close/>
                <a:moveTo>
                  <a:pt x="831013" y="385155"/>
                </a:moveTo>
                <a:cubicBezTo>
                  <a:pt x="831013" y="401938"/>
                  <a:pt x="844719" y="415592"/>
                  <a:pt x="861566" y="415592"/>
                </a:cubicBezTo>
                <a:cubicBezTo>
                  <a:pt x="878413" y="415592"/>
                  <a:pt x="892118" y="401938"/>
                  <a:pt x="892118" y="385155"/>
                </a:cubicBezTo>
                <a:cubicBezTo>
                  <a:pt x="892118" y="368372"/>
                  <a:pt x="878413" y="354718"/>
                  <a:pt x="861566" y="354718"/>
                </a:cubicBezTo>
                <a:cubicBezTo>
                  <a:pt x="844719" y="354718"/>
                  <a:pt x="831013" y="368372"/>
                  <a:pt x="831013" y="385155"/>
                </a:cubicBezTo>
                <a:close/>
                <a:moveTo>
                  <a:pt x="949702" y="385155"/>
                </a:moveTo>
                <a:cubicBezTo>
                  <a:pt x="949702" y="401938"/>
                  <a:pt x="963408" y="415592"/>
                  <a:pt x="980255" y="415592"/>
                </a:cubicBezTo>
                <a:cubicBezTo>
                  <a:pt x="997101" y="415592"/>
                  <a:pt x="1010807" y="401938"/>
                  <a:pt x="1010807" y="385155"/>
                </a:cubicBezTo>
                <a:cubicBezTo>
                  <a:pt x="1010807" y="368372"/>
                  <a:pt x="997101" y="354718"/>
                  <a:pt x="980255" y="354718"/>
                </a:cubicBezTo>
                <a:cubicBezTo>
                  <a:pt x="963408" y="354718"/>
                  <a:pt x="949702" y="368372"/>
                  <a:pt x="949702" y="385155"/>
                </a:cubicBezTo>
                <a:close/>
                <a:moveTo>
                  <a:pt x="474851" y="444322"/>
                </a:moveTo>
                <a:cubicBezTo>
                  <a:pt x="474851" y="461105"/>
                  <a:pt x="488557" y="474759"/>
                  <a:pt x="505404" y="474759"/>
                </a:cubicBezTo>
                <a:cubicBezTo>
                  <a:pt x="522250" y="474759"/>
                  <a:pt x="535956" y="461105"/>
                  <a:pt x="535956" y="444322"/>
                </a:cubicBezTo>
                <a:cubicBezTo>
                  <a:pt x="535956" y="427539"/>
                  <a:pt x="522250" y="413885"/>
                  <a:pt x="505404" y="413885"/>
                </a:cubicBezTo>
                <a:cubicBezTo>
                  <a:pt x="488557" y="413885"/>
                  <a:pt x="474851" y="427539"/>
                  <a:pt x="474851" y="444322"/>
                </a:cubicBezTo>
                <a:close/>
                <a:moveTo>
                  <a:pt x="831013" y="444322"/>
                </a:moveTo>
                <a:cubicBezTo>
                  <a:pt x="831013" y="461105"/>
                  <a:pt x="844719" y="474759"/>
                  <a:pt x="861566" y="474759"/>
                </a:cubicBezTo>
                <a:cubicBezTo>
                  <a:pt x="878413" y="474759"/>
                  <a:pt x="892118" y="461105"/>
                  <a:pt x="892118" y="444322"/>
                </a:cubicBezTo>
                <a:cubicBezTo>
                  <a:pt x="892118" y="427539"/>
                  <a:pt x="878413" y="413885"/>
                  <a:pt x="861566" y="413885"/>
                </a:cubicBezTo>
                <a:cubicBezTo>
                  <a:pt x="844719" y="413885"/>
                  <a:pt x="831013" y="427539"/>
                  <a:pt x="831013" y="444322"/>
                </a:cubicBezTo>
                <a:close/>
                <a:moveTo>
                  <a:pt x="890310" y="444322"/>
                </a:moveTo>
                <a:cubicBezTo>
                  <a:pt x="890310" y="461105"/>
                  <a:pt x="904016" y="474759"/>
                  <a:pt x="920863" y="474759"/>
                </a:cubicBezTo>
                <a:cubicBezTo>
                  <a:pt x="937709" y="474759"/>
                  <a:pt x="951415" y="461105"/>
                  <a:pt x="951415" y="444322"/>
                </a:cubicBezTo>
                <a:cubicBezTo>
                  <a:pt x="951415" y="427539"/>
                  <a:pt x="937709" y="413885"/>
                  <a:pt x="920863" y="413885"/>
                </a:cubicBezTo>
                <a:cubicBezTo>
                  <a:pt x="904016" y="413885"/>
                  <a:pt x="890310" y="427539"/>
                  <a:pt x="890310" y="444322"/>
                </a:cubicBezTo>
                <a:close/>
                <a:moveTo>
                  <a:pt x="95" y="503394"/>
                </a:moveTo>
                <a:cubicBezTo>
                  <a:pt x="95" y="520177"/>
                  <a:pt x="13801" y="533831"/>
                  <a:pt x="30648" y="533831"/>
                </a:cubicBezTo>
                <a:cubicBezTo>
                  <a:pt x="47495" y="533831"/>
                  <a:pt x="61200" y="520177"/>
                  <a:pt x="61200" y="503394"/>
                </a:cubicBezTo>
                <a:cubicBezTo>
                  <a:pt x="61200" y="486611"/>
                  <a:pt x="47495" y="472957"/>
                  <a:pt x="30648" y="472957"/>
                </a:cubicBezTo>
                <a:cubicBezTo>
                  <a:pt x="13801" y="472957"/>
                  <a:pt x="95" y="486611"/>
                  <a:pt x="95" y="503394"/>
                </a:cubicBezTo>
                <a:close/>
                <a:moveTo>
                  <a:pt x="118784" y="503394"/>
                </a:moveTo>
                <a:cubicBezTo>
                  <a:pt x="118784" y="520177"/>
                  <a:pt x="132490" y="533831"/>
                  <a:pt x="149337" y="533831"/>
                </a:cubicBezTo>
                <a:cubicBezTo>
                  <a:pt x="166184" y="533831"/>
                  <a:pt x="179889" y="520177"/>
                  <a:pt x="179889" y="503394"/>
                </a:cubicBezTo>
                <a:cubicBezTo>
                  <a:pt x="179889" y="486611"/>
                  <a:pt x="166184" y="472957"/>
                  <a:pt x="149337" y="472957"/>
                </a:cubicBezTo>
                <a:cubicBezTo>
                  <a:pt x="132490" y="472957"/>
                  <a:pt x="118784" y="486611"/>
                  <a:pt x="118784" y="503394"/>
                </a:cubicBezTo>
                <a:close/>
                <a:moveTo>
                  <a:pt x="178081" y="503394"/>
                </a:moveTo>
                <a:cubicBezTo>
                  <a:pt x="178081" y="520177"/>
                  <a:pt x="191787" y="533831"/>
                  <a:pt x="208634" y="533831"/>
                </a:cubicBezTo>
                <a:cubicBezTo>
                  <a:pt x="225480" y="533831"/>
                  <a:pt x="239186" y="520177"/>
                  <a:pt x="239186" y="503394"/>
                </a:cubicBezTo>
                <a:cubicBezTo>
                  <a:pt x="239186" y="486611"/>
                  <a:pt x="225480" y="472957"/>
                  <a:pt x="208634" y="472957"/>
                </a:cubicBezTo>
                <a:cubicBezTo>
                  <a:pt x="191787" y="472957"/>
                  <a:pt x="178081" y="486611"/>
                  <a:pt x="178081" y="503394"/>
                </a:cubicBezTo>
                <a:close/>
                <a:moveTo>
                  <a:pt x="237473" y="503394"/>
                </a:moveTo>
                <a:cubicBezTo>
                  <a:pt x="237473" y="520177"/>
                  <a:pt x="251179" y="533831"/>
                  <a:pt x="268026" y="533831"/>
                </a:cubicBezTo>
                <a:cubicBezTo>
                  <a:pt x="284873" y="533831"/>
                  <a:pt x="298578" y="520177"/>
                  <a:pt x="298578" y="503394"/>
                </a:cubicBezTo>
                <a:cubicBezTo>
                  <a:pt x="298578" y="486611"/>
                  <a:pt x="284873" y="472957"/>
                  <a:pt x="268026" y="472957"/>
                </a:cubicBezTo>
                <a:cubicBezTo>
                  <a:pt x="251179" y="472957"/>
                  <a:pt x="237473" y="486611"/>
                  <a:pt x="237473" y="503394"/>
                </a:cubicBezTo>
                <a:close/>
                <a:moveTo>
                  <a:pt x="296865" y="503394"/>
                </a:moveTo>
                <a:cubicBezTo>
                  <a:pt x="296865" y="520177"/>
                  <a:pt x="310571" y="533831"/>
                  <a:pt x="327418" y="533831"/>
                </a:cubicBezTo>
                <a:cubicBezTo>
                  <a:pt x="344265" y="533831"/>
                  <a:pt x="357970" y="520177"/>
                  <a:pt x="357970" y="503394"/>
                </a:cubicBezTo>
                <a:cubicBezTo>
                  <a:pt x="357970" y="486611"/>
                  <a:pt x="344265" y="472957"/>
                  <a:pt x="327418" y="472957"/>
                </a:cubicBezTo>
                <a:cubicBezTo>
                  <a:pt x="310571" y="472957"/>
                  <a:pt x="296865" y="486611"/>
                  <a:pt x="296865" y="503394"/>
                </a:cubicBezTo>
                <a:close/>
                <a:moveTo>
                  <a:pt x="356162" y="503394"/>
                </a:moveTo>
                <a:cubicBezTo>
                  <a:pt x="356162" y="520177"/>
                  <a:pt x="369868" y="533831"/>
                  <a:pt x="386715" y="533831"/>
                </a:cubicBezTo>
                <a:cubicBezTo>
                  <a:pt x="403562" y="533831"/>
                  <a:pt x="417267" y="520177"/>
                  <a:pt x="417267" y="503394"/>
                </a:cubicBezTo>
                <a:cubicBezTo>
                  <a:pt x="417267" y="486611"/>
                  <a:pt x="403562" y="472957"/>
                  <a:pt x="386715" y="472957"/>
                </a:cubicBezTo>
                <a:cubicBezTo>
                  <a:pt x="369868" y="472957"/>
                  <a:pt x="356162" y="486611"/>
                  <a:pt x="356162" y="503394"/>
                </a:cubicBezTo>
                <a:close/>
                <a:moveTo>
                  <a:pt x="534243" y="503394"/>
                </a:moveTo>
                <a:cubicBezTo>
                  <a:pt x="534243" y="520177"/>
                  <a:pt x="547949" y="533831"/>
                  <a:pt x="564796" y="533831"/>
                </a:cubicBezTo>
                <a:cubicBezTo>
                  <a:pt x="581643" y="533831"/>
                  <a:pt x="595348" y="520177"/>
                  <a:pt x="595348" y="503394"/>
                </a:cubicBezTo>
                <a:cubicBezTo>
                  <a:pt x="595348" y="486611"/>
                  <a:pt x="581643" y="472957"/>
                  <a:pt x="564796" y="472957"/>
                </a:cubicBezTo>
                <a:cubicBezTo>
                  <a:pt x="547949" y="472957"/>
                  <a:pt x="534243" y="486611"/>
                  <a:pt x="534243" y="503394"/>
                </a:cubicBezTo>
                <a:close/>
                <a:moveTo>
                  <a:pt x="712324" y="503394"/>
                </a:moveTo>
                <a:cubicBezTo>
                  <a:pt x="712324" y="520177"/>
                  <a:pt x="726030" y="533831"/>
                  <a:pt x="742877" y="533831"/>
                </a:cubicBezTo>
                <a:cubicBezTo>
                  <a:pt x="759724" y="533831"/>
                  <a:pt x="773429" y="520177"/>
                  <a:pt x="773429" y="503394"/>
                </a:cubicBezTo>
                <a:cubicBezTo>
                  <a:pt x="773429" y="486611"/>
                  <a:pt x="759724" y="472957"/>
                  <a:pt x="742877" y="472957"/>
                </a:cubicBezTo>
                <a:cubicBezTo>
                  <a:pt x="726030" y="472957"/>
                  <a:pt x="712324" y="486611"/>
                  <a:pt x="712324" y="503394"/>
                </a:cubicBezTo>
                <a:close/>
                <a:moveTo>
                  <a:pt x="771621" y="503394"/>
                </a:moveTo>
                <a:cubicBezTo>
                  <a:pt x="771621" y="520177"/>
                  <a:pt x="785327" y="533831"/>
                  <a:pt x="802174" y="533831"/>
                </a:cubicBezTo>
                <a:cubicBezTo>
                  <a:pt x="819021" y="533831"/>
                  <a:pt x="832726" y="520177"/>
                  <a:pt x="832726" y="503394"/>
                </a:cubicBezTo>
                <a:cubicBezTo>
                  <a:pt x="832726" y="486611"/>
                  <a:pt x="819021" y="472957"/>
                  <a:pt x="802174" y="472957"/>
                </a:cubicBezTo>
                <a:cubicBezTo>
                  <a:pt x="785327" y="472957"/>
                  <a:pt x="771621" y="486611"/>
                  <a:pt x="771621" y="503394"/>
                </a:cubicBezTo>
                <a:close/>
                <a:moveTo>
                  <a:pt x="949702" y="503394"/>
                </a:moveTo>
                <a:cubicBezTo>
                  <a:pt x="949702" y="520177"/>
                  <a:pt x="963408" y="533831"/>
                  <a:pt x="980255" y="533831"/>
                </a:cubicBezTo>
                <a:cubicBezTo>
                  <a:pt x="997101" y="533831"/>
                  <a:pt x="1010807" y="520177"/>
                  <a:pt x="1010807" y="503394"/>
                </a:cubicBezTo>
                <a:cubicBezTo>
                  <a:pt x="1010807" y="486611"/>
                  <a:pt x="997101" y="472957"/>
                  <a:pt x="980255" y="472957"/>
                </a:cubicBezTo>
                <a:cubicBezTo>
                  <a:pt x="963408" y="472957"/>
                  <a:pt x="949702" y="486611"/>
                  <a:pt x="949702" y="503394"/>
                </a:cubicBezTo>
                <a:close/>
                <a:moveTo>
                  <a:pt x="1068391" y="503394"/>
                </a:moveTo>
                <a:cubicBezTo>
                  <a:pt x="1068391" y="520177"/>
                  <a:pt x="1082097" y="533831"/>
                  <a:pt x="1098944" y="533831"/>
                </a:cubicBezTo>
                <a:cubicBezTo>
                  <a:pt x="1115790" y="533831"/>
                  <a:pt x="1129496" y="520177"/>
                  <a:pt x="1129496" y="503394"/>
                </a:cubicBezTo>
                <a:cubicBezTo>
                  <a:pt x="1129496" y="486611"/>
                  <a:pt x="1115790" y="472957"/>
                  <a:pt x="1098944" y="472957"/>
                </a:cubicBezTo>
                <a:cubicBezTo>
                  <a:pt x="1082097" y="472957"/>
                  <a:pt x="1068391" y="486611"/>
                  <a:pt x="1068391" y="503394"/>
                </a:cubicBezTo>
                <a:close/>
                <a:moveTo>
                  <a:pt x="1127783" y="503394"/>
                </a:moveTo>
                <a:cubicBezTo>
                  <a:pt x="1127783" y="520177"/>
                  <a:pt x="1141489" y="533831"/>
                  <a:pt x="1158336" y="533831"/>
                </a:cubicBezTo>
                <a:cubicBezTo>
                  <a:pt x="1175183" y="533831"/>
                  <a:pt x="1188888" y="520177"/>
                  <a:pt x="1188888" y="503394"/>
                </a:cubicBezTo>
                <a:cubicBezTo>
                  <a:pt x="1188888" y="486611"/>
                  <a:pt x="1175183" y="472957"/>
                  <a:pt x="1158336" y="472957"/>
                </a:cubicBezTo>
                <a:cubicBezTo>
                  <a:pt x="1141489" y="472957"/>
                  <a:pt x="1127783" y="486611"/>
                  <a:pt x="1127783" y="503394"/>
                </a:cubicBezTo>
                <a:close/>
                <a:moveTo>
                  <a:pt x="1187080" y="503394"/>
                </a:moveTo>
                <a:cubicBezTo>
                  <a:pt x="1187080" y="520177"/>
                  <a:pt x="1200786" y="533831"/>
                  <a:pt x="1217633" y="533831"/>
                </a:cubicBezTo>
                <a:cubicBezTo>
                  <a:pt x="1234479" y="533831"/>
                  <a:pt x="1248185" y="520177"/>
                  <a:pt x="1248185" y="503394"/>
                </a:cubicBezTo>
                <a:cubicBezTo>
                  <a:pt x="1248185" y="486611"/>
                  <a:pt x="1234479" y="472957"/>
                  <a:pt x="1217633" y="472957"/>
                </a:cubicBezTo>
                <a:cubicBezTo>
                  <a:pt x="1200786" y="472957"/>
                  <a:pt x="1187080" y="486611"/>
                  <a:pt x="1187080" y="503394"/>
                </a:cubicBezTo>
                <a:close/>
                <a:moveTo>
                  <a:pt x="1246472" y="503394"/>
                </a:moveTo>
                <a:cubicBezTo>
                  <a:pt x="1246472" y="520177"/>
                  <a:pt x="1260178" y="533831"/>
                  <a:pt x="1277025" y="533831"/>
                </a:cubicBezTo>
                <a:cubicBezTo>
                  <a:pt x="1293872" y="533831"/>
                  <a:pt x="1307577" y="520177"/>
                  <a:pt x="1307577" y="503394"/>
                </a:cubicBezTo>
                <a:cubicBezTo>
                  <a:pt x="1307577" y="486611"/>
                  <a:pt x="1293872" y="472957"/>
                  <a:pt x="1277025" y="472957"/>
                </a:cubicBezTo>
                <a:cubicBezTo>
                  <a:pt x="1260178" y="472957"/>
                  <a:pt x="1246472" y="486611"/>
                  <a:pt x="1246472" y="503394"/>
                </a:cubicBezTo>
                <a:close/>
                <a:moveTo>
                  <a:pt x="1305769" y="503394"/>
                </a:moveTo>
                <a:cubicBezTo>
                  <a:pt x="1305769" y="520177"/>
                  <a:pt x="1319475" y="533831"/>
                  <a:pt x="1336322" y="533831"/>
                </a:cubicBezTo>
                <a:cubicBezTo>
                  <a:pt x="1353168" y="533831"/>
                  <a:pt x="1366874" y="520177"/>
                  <a:pt x="1366874" y="503394"/>
                </a:cubicBezTo>
                <a:cubicBezTo>
                  <a:pt x="1366874" y="486611"/>
                  <a:pt x="1353168" y="472957"/>
                  <a:pt x="1336322" y="472957"/>
                </a:cubicBezTo>
                <a:cubicBezTo>
                  <a:pt x="1319475" y="472957"/>
                  <a:pt x="1305769" y="486611"/>
                  <a:pt x="1305769" y="503394"/>
                </a:cubicBezTo>
                <a:close/>
                <a:moveTo>
                  <a:pt x="95" y="562561"/>
                </a:moveTo>
                <a:cubicBezTo>
                  <a:pt x="95" y="579344"/>
                  <a:pt x="13801" y="592998"/>
                  <a:pt x="30648" y="592998"/>
                </a:cubicBezTo>
                <a:cubicBezTo>
                  <a:pt x="47495" y="592998"/>
                  <a:pt x="61200" y="579344"/>
                  <a:pt x="61200" y="562561"/>
                </a:cubicBezTo>
                <a:cubicBezTo>
                  <a:pt x="61200" y="545778"/>
                  <a:pt x="47495" y="532124"/>
                  <a:pt x="30648" y="532124"/>
                </a:cubicBezTo>
                <a:cubicBezTo>
                  <a:pt x="13801" y="532124"/>
                  <a:pt x="95" y="545778"/>
                  <a:pt x="95" y="562561"/>
                </a:cubicBezTo>
                <a:close/>
                <a:moveTo>
                  <a:pt x="118784" y="562561"/>
                </a:moveTo>
                <a:cubicBezTo>
                  <a:pt x="118784" y="579344"/>
                  <a:pt x="132490" y="592998"/>
                  <a:pt x="149337" y="592998"/>
                </a:cubicBezTo>
                <a:cubicBezTo>
                  <a:pt x="166184" y="592998"/>
                  <a:pt x="179889" y="579344"/>
                  <a:pt x="179889" y="562561"/>
                </a:cubicBezTo>
                <a:cubicBezTo>
                  <a:pt x="179889" y="545778"/>
                  <a:pt x="166184" y="532124"/>
                  <a:pt x="149337" y="532124"/>
                </a:cubicBezTo>
                <a:cubicBezTo>
                  <a:pt x="132490" y="532124"/>
                  <a:pt x="118784" y="545778"/>
                  <a:pt x="118784" y="562561"/>
                </a:cubicBezTo>
                <a:close/>
                <a:moveTo>
                  <a:pt x="237473" y="562561"/>
                </a:moveTo>
                <a:cubicBezTo>
                  <a:pt x="237473" y="579344"/>
                  <a:pt x="251179" y="592998"/>
                  <a:pt x="268026" y="592998"/>
                </a:cubicBezTo>
                <a:cubicBezTo>
                  <a:pt x="284873" y="592998"/>
                  <a:pt x="298578" y="579344"/>
                  <a:pt x="298578" y="562561"/>
                </a:cubicBezTo>
                <a:cubicBezTo>
                  <a:pt x="298578" y="545778"/>
                  <a:pt x="284873" y="532124"/>
                  <a:pt x="268026" y="532124"/>
                </a:cubicBezTo>
                <a:cubicBezTo>
                  <a:pt x="251179" y="532124"/>
                  <a:pt x="237473" y="545778"/>
                  <a:pt x="237473" y="562561"/>
                </a:cubicBezTo>
                <a:close/>
                <a:moveTo>
                  <a:pt x="534243" y="562561"/>
                </a:moveTo>
                <a:cubicBezTo>
                  <a:pt x="534243" y="579344"/>
                  <a:pt x="547949" y="592998"/>
                  <a:pt x="564796" y="592998"/>
                </a:cubicBezTo>
                <a:cubicBezTo>
                  <a:pt x="581643" y="592998"/>
                  <a:pt x="595348" y="579344"/>
                  <a:pt x="595348" y="562561"/>
                </a:cubicBezTo>
                <a:cubicBezTo>
                  <a:pt x="595348" y="545778"/>
                  <a:pt x="581643" y="532124"/>
                  <a:pt x="564796" y="532124"/>
                </a:cubicBezTo>
                <a:cubicBezTo>
                  <a:pt x="547949" y="532124"/>
                  <a:pt x="534243" y="545778"/>
                  <a:pt x="534243" y="562561"/>
                </a:cubicBezTo>
                <a:close/>
                <a:moveTo>
                  <a:pt x="712324" y="562561"/>
                </a:moveTo>
                <a:cubicBezTo>
                  <a:pt x="712324" y="579344"/>
                  <a:pt x="726030" y="592998"/>
                  <a:pt x="742877" y="592998"/>
                </a:cubicBezTo>
                <a:cubicBezTo>
                  <a:pt x="759724" y="592998"/>
                  <a:pt x="773429" y="579344"/>
                  <a:pt x="773429" y="562561"/>
                </a:cubicBezTo>
                <a:cubicBezTo>
                  <a:pt x="773429" y="545778"/>
                  <a:pt x="759724" y="532124"/>
                  <a:pt x="742877" y="532124"/>
                </a:cubicBezTo>
                <a:cubicBezTo>
                  <a:pt x="726030" y="532124"/>
                  <a:pt x="712324" y="545778"/>
                  <a:pt x="712324" y="562561"/>
                </a:cubicBezTo>
                <a:close/>
                <a:moveTo>
                  <a:pt x="771621" y="562561"/>
                </a:moveTo>
                <a:cubicBezTo>
                  <a:pt x="771621" y="579344"/>
                  <a:pt x="785327" y="592998"/>
                  <a:pt x="802174" y="592998"/>
                </a:cubicBezTo>
                <a:cubicBezTo>
                  <a:pt x="819021" y="592998"/>
                  <a:pt x="832726" y="579344"/>
                  <a:pt x="832726" y="562561"/>
                </a:cubicBezTo>
                <a:cubicBezTo>
                  <a:pt x="832726" y="545778"/>
                  <a:pt x="819021" y="532124"/>
                  <a:pt x="802174" y="532124"/>
                </a:cubicBezTo>
                <a:cubicBezTo>
                  <a:pt x="785327" y="532124"/>
                  <a:pt x="771621" y="545778"/>
                  <a:pt x="771621" y="562561"/>
                </a:cubicBezTo>
                <a:close/>
                <a:moveTo>
                  <a:pt x="949702" y="562561"/>
                </a:moveTo>
                <a:cubicBezTo>
                  <a:pt x="949702" y="579344"/>
                  <a:pt x="963408" y="592998"/>
                  <a:pt x="980255" y="592998"/>
                </a:cubicBezTo>
                <a:cubicBezTo>
                  <a:pt x="997101" y="592998"/>
                  <a:pt x="1010807" y="579344"/>
                  <a:pt x="1010807" y="562561"/>
                </a:cubicBezTo>
                <a:cubicBezTo>
                  <a:pt x="1010807" y="545778"/>
                  <a:pt x="997101" y="532124"/>
                  <a:pt x="980255" y="532124"/>
                </a:cubicBezTo>
                <a:cubicBezTo>
                  <a:pt x="963408" y="532124"/>
                  <a:pt x="949702" y="545778"/>
                  <a:pt x="949702" y="562561"/>
                </a:cubicBezTo>
                <a:close/>
                <a:moveTo>
                  <a:pt x="1009094" y="562561"/>
                </a:moveTo>
                <a:cubicBezTo>
                  <a:pt x="1009094" y="579344"/>
                  <a:pt x="1022800" y="592998"/>
                  <a:pt x="1039647" y="592998"/>
                </a:cubicBezTo>
                <a:cubicBezTo>
                  <a:pt x="1056494" y="592998"/>
                  <a:pt x="1070199" y="579344"/>
                  <a:pt x="1070199" y="562561"/>
                </a:cubicBezTo>
                <a:cubicBezTo>
                  <a:pt x="1070199" y="545778"/>
                  <a:pt x="1056494" y="532124"/>
                  <a:pt x="1039647" y="532124"/>
                </a:cubicBezTo>
                <a:cubicBezTo>
                  <a:pt x="1022800" y="532124"/>
                  <a:pt x="1009094" y="545778"/>
                  <a:pt x="1009094" y="562561"/>
                </a:cubicBezTo>
                <a:close/>
                <a:moveTo>
                  <a:pt x="1127783" y="562561"/>
                </a:moveTo>
                <a:cubicBezTo>
                  <a:pt x="1127783" y="579344"/>
                  <a:pt x="1141489" y="592998"/>
                  <a:pt x="1158336" y="592998"/>
                </a:cubicBezTo>
                <a:cubicBezTo>
                  <a:pt x="1175183" y="592998"/>
                  <a:pt x="1188888" y="579344"/>
                  <a:pt x="1188888" y="562561"/>
                </a:cubicBezTo>
                <a:cubicBezTo>
                  <a:pt x="1188888" y="545778"/>
                  <a:pt x="1175183" y="532124"/>
                  <a:pt x="1158336" y="532124"/>
                </a:cubicBezTo>
                <a:cubicBezTo>
                  <a:pt x="1141489" y="532124"/>
                  <a:pt x="1127783" y="545778"/>
                  <a:pt x="1127783" y="562561"/>
                </a:cubicBezTo>
                <a:close/>
                <a:moveTo>
                  <a:pt x="1365161" y="562561"/>
                </a:moveTo>
                <a:cubicBezTo>
                  <a:pt x="1365161" y="579344"/>
                  <a:pt x="1378867" y="592998"/>
                  <a:pt x="1395714" y="592998"/>
                </a:cubicBezTo>
                <a:cubicBezTo>
                  <a:pt x="1412561" y="592998"/>
                  <a:pt x="1426266" y="579344"/>
                  <a:pt x="1426266" y="562561"/>
                </a:cubicBezTo>
                <a:cubicBezTo>
                  <a:pt x="1426266" y="545778"/>
                  <a:pt x="1412561" y="532124"/>
                  <a:pt x="1395714" y="532124"/>
                </a:cubicBezTo>
                <a:cubicBezTo>
                  <a:pt x="1378867" y="532124"/>
                  <a:pt x="1365161" y="545778"/>
                  <a:pt x="1365161" y="562561"/>
                </a:cubicBezTo>
                <a:close/>
                <a:moveTo>
                  <a:pt x="95" y="621728"/>
                </a:moveTo>
                <a:cubicBezTo>
                  <a:pt x="95" y="638511"/>
                  <a:pt x="13801" y="652165"/>
                  <a:pt x="30648" y="652165"/>
                </a:cubicBezTo>
                <a:cubicBezTo>
                  <a:pt x="47495" y="652165"/>
                  <a:pt x="61200" y="638511"/>
                  <a:pt x="61200" y="621728"/>
                </a:cubicBezTo>
                <a:cubicBezTo>
                  <a:pt x="61200" y="604945"/>
                  <a:pt x="47495" y="591291"/>
                  <a:pt x="30648" y="591291"/>
                </a:cubicBezTo>
                <a:cubicBezTo>
                  <a:pt x="13801" y="591291"/>
                  <a:pt x="95" y="604945"/>
                  <a:pt x="95" y="621728"/>
                </a:cubicBezTo>
                <a:close/>
                <a:moveTo>
                  <a:pt x="118784" y="621728"/>
                </a:moveTo>
                <a:cubicBezTo>
                  <a:pt x="118784" y="638511"/>
                  <a:pt x="132490" y="652165"/>
                  <a:pt x="149337" y="652165"/>
                </a:cubicBezTo>
                <a:cubicBezTo>
                  <a:pt x="166184" y="652165"/>
                  <a:pt x="179889" y="638511"/>
                  <a:pt x="179889" y="621728"/>
                </a:cubicBezTo>
                <a:cubicBezTo>
                  <a:pt x="179889" y="604945"/>
                  <a:pt x="166184" y="591291"/>
                  <a:pt x="149337" y="591291"/>
                </a:cubicBezTo>
                <a:cubicBezTo>
                  <a:pt x="132490" y="591291"/>
                  <a:pt x="118784" y="604945"/>
                  <a:pt x="118784" y="621728"/>
                </a:cubicBezTo>
                <a:close/>
                <a:moveTo>
                  <a:pt x="237473" y="621728"/>
                </a:moveTo>
                <a:cubicBezTo>
                  <a:pt x="237473" y="638511"/>
                  <a:pt x="251179" y="652165"/>
                  <a:pt x="268026" y="652165"/>
                </a:cubicBezTo>
                <a:cubicBezTo>
                  <a:pt x="284873" y="652165"/>
                  <a:pt x="298578" y="638511"/>
                  <a:pt x="298578" y="621728"/>
                </a:cubicBezTo>
                <a:cubicBezTo>
                  <a:pt x="298578" y="604945"/>
                  <a:pt x="284873" y="591291"/>
                  <a:pt x="268026" y="591291"/>
                </a:cubicBezTo>
                <a:cubicBezTo>
                  <a:pt x="251179" y="591291"/>
                  <a:pt x="237473" y="604945"/>
                  <a:pt x="237473" y="621728"/>
                </a:cubicBezTo>
                <a:close/>
                <a:moveTo>
                  <a:pt x="296865" y="621728"/>
                </a:moveTo>
                <a:cubicBezTo>
                  <a:pt x="296865" y="638511"/>
                  <a:pt x="310571" y="652165"/>
                  <a:pt x="327418" y="652165"/>
                </a:cubicBezTo>
                <a:cubicBezTo>
                  <a:pt x="344265" y="652165"/>
                  <a:pt x="357970" y="638511"/>
                  <a:pt x="357970" y="621728"/>
                </a:cubicBezTo>
                <a:cubicBezTo>
                  <a:pt x="357970" y="604945"/>
                  <a:pt x="344265" y="591291"/>
                  <a:pt x="327418" y="591291"/>
                </a:cubicBezTo>
                <a:cubicBezTo>
                  <a:pt x="310571" y="591291"/>
                  <a:pt x="296865" y="604945"/>
                  <a:pt x="296865" y="621728"/>
                </a:cubicBezTo>
                <a:close/>
                <a:moveTo>
                  <a:pt x="356162" y="621728"/>
                </a:moveTo>
                <a:cubicBezTo>
                  <a:pt x="356162" y="638511"/>
                  <a:pt x="369868" y="652165"/>
                  <a:pt x="386715" y="652165"/>
                </a:cubicBezTo>
                <a:cubicBezTo>
                  <a:pt x="403562" y="652165"/>
                  <a:pt x="417267" y="638511"/>
                  <a:pt x="417267" y="621728"/>
                </a:cubicBezTo>
                <a:cubicBezTo>
                  <a:pt x="417267" y="604945"/>
                  <a:pt x="403562" y="591291"/>
                  <a:pt x="386715" y="591291"/>
                </a:cubicBezTo>
                <a:cubicBezTo>
                  <a:pt x="369868" y="591291"/>
                  <a:pt x="356162" y="604945"/>
                  <a:pt x="356162" y="621728"/>
                </a:cubicBezTo>
                <a:close/>
                <a:moveTo>
                  <a:pt x="474851" y="621728"/>
                </a:moveTo>
                <a:cubicBezTo>
                  <a:pt x="474851" y="638511"/>
                  <a:pt x="488557" y="652165"/>
                  <a:pt x="505404" y="652165"/>
                </a:cubicBezTo>
                <a:cubicBezTo>
                  <a:pt x="522250" y="652165"/>
                  <a:pt x="535956" y="638511"/>
                  <a:pt x="535956" y="621728"/>
                </a:cubicBezTo>
                <a:cubicBezTo>
                  <a:pt x="535956" y="604945"/>
                  <a:pt x="522250" y="591291"/>
                  <a:pt x="505404" y="591291"/>
                </a:cubicBezTo>
                <a:cubicBezTo>
                  <a:pt x="488557" y="591291"/>
                  <a:pt x="474851" y="604945"/>
                  <a:pt x="474851" y="621728"/>
                </a:cubicBezTo>
                <a:close/>
                <a:moveTo>
                  <a:pt x="593635" y="621728"/>
                </a:moveTo>
                <a:cubicBezTo>
                  <a:pt x="593635" y="638511"/>
                  <a:pt x="607341" y="652165"/>
                  <a:pt x="624188" y="652165"/>
                </a:cubicBezTo>
                <a:cubicBezTo>
                  <a:pt x="641035" y="652165"/>
                  <a:pt x="654740" y="638511"/>
                  <a:pt x="654740" y="621728"/>
                </a:cubicBezTo>
                <a:cubicBezTo>
                  <a:pt x="654740" y="604945"/>
                  <a:pt x="641035" y="591291"/>
                  <a:pt x="624188" y="591291"/>
                </a:cubicBezTo>
                <a:cubicBezTo>
                  <a:pt x="607341" y="591291"/>
                  <a:pt x="593635" y="604945"/>
                  <a:pt x="593635" y="621728"/>
                </a:cubicBezTo>
                <a:close/>
                <a:moveTo>
                  <a:pt x="652932" y="621728"/>
                </a:moveTo>
                <a:cubicBezTo>
                  <a:pt x="652932" y="638511"/>
                  <a:pt x="666638" y="652165"/>
                  <a:pt x="683485" y="652165"/>
                </a:cubicBezTo>
                <a:cubicBezTo>
                  <a:pt x="700332" y="652165"/>
                  <a:pt x="714037" y="638511"/>
                  <a:pt x="714037" y="621728"/>
                </a:cubicBezTo>
                <a:cubicBezTo>
                  <a:pt x="714037" y="604945"/>
                  <a:pt x="700332" y="591291"/>
                  <a:pt x="683485" y="591291"/>
                </a:cubicBezTo>
                <a:cubicBezTo>
                  <a:pt x="666638" y="591291"/>
                  <a:pt x="652932" y="604945"/>
                  <a:pt x="652932" y="621728"/>
                </a:cubicBezTo>
                <a:close/>
                <a:moveTo>
                  <a:pt x="712324" y="621728"/>
                </a:moveTo>
                <a:cubicBezTo>
                  <a:pt x="712324" y="638511"/>
                  <a:pt x="726030" y="652165"/>
                  <a:pt x="742877" y="652165"/>
                </a:cubicBezTo>
                <a:cubicBezTo>
                  <a:pt x="759724" y="652165"/>
                  <a:pt x="773429" y="638511"/>
                  <a:pt x="773429" y="621728"/>
                </a:cubicBezTo>
                <a:cubicBezTo>
                  <a:pt x="773429" y="604945"/>
                  <a:pt x="759724" y="591291"/>
                  <a:pt x="742877" y="591291"/>
                </a:cubicBezTo>
                <a:cubicBezTo>
                  <a:pt x="726030" y="591291"/>
                  <a:pt x="712324" y="604945"/>
                  <a:pt x="712324" y="621728"/>
                </a:cubicBezTo>
                <a:close/>
                <a:moveTo>
                  <a:pt x="771621" y="621728"/>
                </a:moveTo>
                <a:cubicBezTo>
                  <a:pt x="771621" y="638511"/>
                  <a:pt x="785327" y="652165"/>
                  <a:pt x="802174" y="652165"/>
                </a:cubicBezTo>
                <a:cubicBezTo>
                  <a:pt x="819021" y="652165"/>
                  <a:pt x="832726" y="638511"/>
                  <a:pt x="832726" y="621728"/>
                </a:cubicBezTo>
                <a:cubicBezTo>
                  <a:pt x="832726" y="604945"/>
                  <a:pt x="819021" y="591291"/>
                  <a:pt x="802174" y="591291"/>
                </a:cubicBezTo>
                <a:cubicBezTo>
                  <a:pt x="785327" y="591291"/>
                  <a:pt x="771621" y="604945"/>
                  <a:pt x="771621" y="621728"/>
                </a:cubicBezTo>
                <a:close/>
                <a:moveTo>
                  <a:pt x="831013" y="621728"/>
                </a:moveTo>
                <a:cubicBezTo>
                  <a:pt x="831013" y="638511"/>
                  <a:pt x="844719" y="652165"/>
                  <a:pt x="861566" y="652165"/>
                </a:cubicBezTo>
                <a:cubicBezTo>
                  <a:pt x="878413" y="652165"/>
                  <a:pt x="892118" y="638511"/>
                  <a:pt x="892118" y="621728"/>
                </a:cubicBezTo>
                <a:cubicBezTo>
                  <a:pt x="892118" y="604945"/>
                  <a:pt x="878413" y="591291"/>
                  <a:pt x="861566" y="591291"/>
                </a:cubicBezTo>
                <a:cubicBezTo>
                  <a:pt x="844719" y="591291"/>
                  <a:pt x="831013" y="604945"/>
                  <a:pt x="831013" y="621728"/>
                </a:cubicBezTo>
                <a:close/>
                <a:moveTo>
                  <a:pt x="890310" y="621728"/>
                </a:moveTo>
                <a:cubicBezTo>
                  <a:pt x="890310" y="638511"/>
                  <a:pt x="904016" y="652165"/>
                  <a:pt x="920863" y="652165"/>
                </a:cubicBezTo>
                <a:cubicBezTo>
                  <a:pt x="937709" y="652165"/>
                  <a:pt x="951415" y="638511"/>
                  <a:pt x="951415" y="621728"/>
                </a:cubicBezTo>
                <a:cubicBezTo>
                  <a:pt x="951415" y="604945"/>
                  <a:pt x="937709" y="591291"/>
                  <a:pt x="920863" y="591291"/>
                </a:cubicBezTo>
                <a:cubicBezTo>
                  <a:pt x="904016" y="591291"/>
                  <a:pt x="890310" y="604945"/>
                  <a:pt x="890310" y="621728"/>
                </a:cubicBezTo>
                <a:close/>
                <a:moveTo>
                  <a:pt x="949702" y="621728"/>
                </a:moveTo>
                <a:cubicBezTo>
                  <a:pt x="949702" y="638511"/>
                  <a:pt x="963408" y="652165"/>
                  <a:pt x="980255" y="652165"/>
                </a:cubicBezTo>
                <a:cubicBezTo>
                  <a:pt x="997101" y="652165"/>
                  <a:pt x="1010807" y="638511"/>
                  <a:pt x="1010807" y="621728"/>
                </a:cubicBezTo>
                <a:cubicBezTo>
                  <a:pt x="1010807" y="604945"/>
                  <a:pt x="997101" y="591291"/>
                  <a:pt x="980255" y="591291"/>
                </a:cubicBezTo>
                <a:cubicBezTo>
                  <a:pt x="963408" y="591291"/>
                  <a:pt x="949702" y="604945"/>
                  <a:pt x="949702" y="621728"/>
                </a:cubicBezTo>
                <a:close/>
                <a:moveTo>
                  <a:pt x="1009094" y="621728"/>
                </a:moveTo>
                <a:cubicBezTo>
                  <a:pt x="1009094" y="638511"/>
                  <a:pt x="1022800" y="652165"/>
                  <a:pt x="1039647" y="652165"/>
                </a:cubicBezTo>
                <a:cubicBezTo>
                  <a:pt x="1056494" y="652165"/>
                  <a:pt x="1070199" y="638511"/>
                  <a:pt x="1070199" y="621728"/>
                </a:cubicBezTo>
                <a:cubicBezTo>
                  <a:pt x="1070199" y="604945"/>
                  <a:pt x="1056494" y="591291"/>
                  <a:pt x="1039647" y="591291"/>
                </a:cubicBezTo>
                <a:cubicBezTo>
                  <a:pt x="1022800" y="591291"/>
                  <a:pt x="1009094" y="604945"/>
                  <a:pt x="1009094" y="621728"/>
                </a:cubicBezTo>
                <a:close/>
                <a:moveTo>
                  <a:pt x="1068391" y="621728"/>
                </a:moveTo>
                <a:cubicBezTo>
                  <a:pt x="1068391" y="638511"/>
                  <a:pt x="1082097" y="652165"/>
                  <a:pt x="1098944" y="652165"/>
                </a:cubicBezTo>
                <a:cubicBezTo>
                  <a:pt x="1115790" y="652165"/>
                  <a:pt x="1129496" y="638511"/>
                  <a:pt x="1129496" y="621728"/>
                </a:cubicBezTo>
                <a:cubicBezTo>
                  <a:pt x="1129496" y="604945"/>
                  <a:pt x="1115790" y="591291"/>
                  <a:pt x="1098944" y="591291"/>
                </a:cubicBezTo>
                <a:cubicBezTo>
                  <a:pt x="1082097" y="591291"/>
                  <a:pt x="1068391" y="604945"/>
                  <a:pt x="1068391" y="621728"/>
                </a:cubicBezTo>
                <a:close/>
                <a:moveTo>
                  <a:pt x="1127783" y="621728"/>
                </a:moveTo>
                <a:cubicBezTo>
                  <a:pt x="1127783" y="638511"/>
                  <a:pt x="1141489" y="652165"/>
                  <a:pt x="1158336" y="652165"/>
                </a:cubicBezTo>
                <a:cubicBezTo>
                  <a:pt x="1175183" y="652165"/>
                  <a:pt x="1188888" y="638511"/>
                  <a:pt x="1188888" y="621728"/>
                </a:cubicBezTo>
                <a:cubicBezTo>
                  <a:pt x="1188888" y="604945"/>
                  <a:pt x="1175183" y="591291"/>
                  <a:pt x="1158336" y="591291"/>
                </a:cubicBezTo>
                <a:cubicBezTo>
                  <a:pt x="1141489" y="591291"/>
                  <a:pt x="1127783" y="604945"/>
                  <a:pt x="1127783" y="621728"/>
                </a:cubicBezTo>
                <a:close/>
                <a:moveTo>
                  <a:pt x="1187080" y="621728"/>
                </a:moveTo>
                <a:cubicBezTo>
                  <a:pt x="1187080" y="638511"/>
                  <a:pt x="1200786" y="652165"/>
                  <a:pt x="1217633" y="652165"/>
                </a:cubicBezTo>
                <a:cubicBezTo>
                  <a:pt x="1234479" y="652165"/>
                  <a:pt x="1248185" y="638511"/>
                  <a:pt x="1248185" y="621728"/>
                </a:cubicBezTo>
                <a:cubicBezTo>
                  <a:pt x="1248185" y="604945"/>
                  <a:pt x="1234479" y="591291"/>
                  <a:pt x="1217633" y="591291"/>
                </a:cubicBezTo>
                <a:cubicBezTo>
                  <a:pt x="1200786" y="591291"/>
                  <a:pt x="1187080" y="604945"/>
                  <a:pt x="1187080" y="621728"/>
                </a:cubicBezTo>
                <a:close/>
                <a:moveTo>
                  <a:pt x="1246472" y="621728"/>
                </a:moveTo>
                <a:cubicBezTo>
                  <a:pt x="1246472" y="638511"/>
                  <a:pt x="1260178" y="652165"/>
                  <a:pt x="1277025" y="652165"/>
                </a:cubicBezTo>
                <a:cubicBezTo>
                  <a:pt x="1293872" y="652165"/>
                  <a:pt x="1307577" y="638511"/>
                  <a:pt x="1307577" y="621728"/>
                </a:cubicBezTo>
                <a:cubicBezTo>
                  <a:pt x="1307577" y="604945"/>
                  <a:pt x="1293872" y="591291"/>
                  <a:pt x="1277025" y="591291"/>
                </a:cubicBezTo>
                <a:cubicBezTo>
                  <a:pt x="1260178" y="591291"/>
                  <a:pt x="1246472" y="604945"/>
                  <a:pt x="1246472" y="621728"/>
                </a:cubicBezTo>
                <a:close/>
                <a:moveTo>
                  <a:pt x="1365161" y="621728"/>
                </a:moveTo>
                <a:cubicBezTo>
                  <a:pt x="1365161" y="638511"/>
                  <a:pt x="1378867" y="652165"/>
                  <a:pt x="1395714" y="652165"/>
                </a:cubicBezTo>
                <a:cubicBezTo>
                  <a:pt x="1412561" y="652165"/>
                  <a:pt x="1426266" y="638511"/>
                  <a:pt x="1426266" y="621728"/>
                </a:cubicBezTo>
                <a:cubicBezTo>
                  <a:pt x="1426266" y="604945"/>
                  <a:pt x="1412561" y="591291"/>
                  <a:pt x="1395714" y="591291"/>
                </a:cubicBezTo>
                <a:cubicBezTo>
                  <a:pt x="1378867" y="591291"/>
                  <a:pt x="1365161" y="604945"/>
                  <a:pt x="1365161" y="621728"/>
                </a:cubicBezTo>
                <a:close/>
                <a:moveTo>
                  <a:pt x="1424553" y="621728"/>
                </a:moveTo>
                <a:cubicBezTo>
                  <a:pt x="1424553" y="638511"/>
                  <a:pt x="1438259" y="652165"/>
                  <a:pt x="1455106" y="652165"/>
                </a:cubicBezTo>
                <a:cubicBezTo>
                  <a:pt x="1471953" y="652165"/>
                  <a:pt x="1485658" y="638511"/>
                  <a:pt x="1485658" y="621728"/>
                </a:cubicBezTo>
                <a:cubicBezTo>
                  <a:pt x="1485658" y="604945"/>
                  <a:pt x="1471953" y="591291"/>
                  <a:pt x="1455106" y="591291"/>
                </a:cubicBezTo>
                <a:cubicBezTo>
                  <a:pt x="1438259" y="591291"/>
                  <a:pt x="1424553" y="604945"/>
                  <a:pt x="1424553" y="621728"/>
                </a:cubicBezTo>
                <a:close/>
                <a:moveTo>
                  <a:pt x="118784" y="680800"/>
                </a:moveTo>
                <a:cubicBezTo>
                  <a:pt x="118784" y="697583"/>
                  <a:pt x="132490" y="711237"/>
                  <a:pt x="149337" y="711237"/>
                </a:cubicBezTo>
                <a:cubicBezTo>
                  <a:pt x="166184" y="711237"/>
                  <a:pt x="179889" y="697583"/>
                  <a:pt x="179889" y="680800"/>
                </a:cubicBezTo>
                <a:cubicBezTo>
                  <a:pt x="179889" y="664018"/>
                  <a:pt x="166184" y="650364"/>
                  <a:pt x="149337" y="650364"/>
                </a:cubicBezTo>
                <a:cubicBezTo>
                  <a:pt x="132490" y="650364"/>
                  <a:pt x="118784" y="664018"/>
                  <a:pt x="118784" y="680800"/>
                </a:cubicBezTo>
                <a:close/>
                <a:moveTo>
                  <a:pt x="178081" y="680800"/>
                </a:moveTo>
                <a:cubicBezTo>
                  <a:pt x="178081" y="697583"/>
                  <a:pt x="191787" y="711237"/>
                  <a:pt x="208634" y="711237"/>
                </a:cubicBezTo>
                <a:cubicBezTo>
                  <a:pt x="225480" y="711237"/>
                  <a:pt x="239186" y="697583"/>
                  <a:pt x="239186" y="680800"/>
                </a:cubicBezTo>
                <a:cubicBezTo>
                  <a:pt x="239186" y="664018"/>
                  <a:pt x="225480" y="650364"/>
                  <a:pt x="208634" y="650364"/>
                </a:cubicBezTo>
                <a:cubicBezTo>
                  <a:pt x="191787" y="650364"/>
                  <a:pt x="178081" y="664018"/>
                  <a:pt x="178081" y="680800"/>
                </a:cubicBezTo>
                <a:close/>
                <a:moveTo>
                  <a:pt x="237473" y="680800"/>
                </a:moveTo>
                <a:cubicBezTo>
                  <a:pt x="237473" y="697583"/>
                  <a:pt x="251179" y="711237"/>
                  <a:pt x="268026" y="711237"/>
                </a:cubicBezTo>
                <a:cubicBezTo>
                  <a:pt x="284873" y="711237"/>
                  <a:pt x="298578" y="697583"/>
                  <a:pt x="298578" y="680800"/>
                </a:cubicBezTo>
                <a:cubicBezTo>
                  <a:pt x="298578" y="664018"/>
                  <a:pt x="284873" y="650364"/>
                  <a:pt x="268026" y="650364"/>
                </a:cubicBezTo>
                <a:cubicBezTo>
                  <a:pt x="251179" y="650364"/>
                  <a:pt x="237473" y="664018"/>
                  <a:pt x="237473" y="680800"/>
                </a:cubicBezTo>
                <a:close/>
                <a:moveTo>
                  <a:pt x="296865" y="680800"/>
                </a:moveTo>
                <a:cubicBezTo>
                  <a:pt x="296865" y="697583"/>
                  <a:pt x="310571" y="711237"/>
                  <a:pt x="327418" y="711237"/>
                </a:cubicBezTo>
                <a:cubicBezTo>
                  <a:pt x="344265" y="711237"/>
                  <a:pt x="357970" y="697583"/>
                  <a:pt x="357970" y="680800"/>
                </a:cubicBezTo>
                <a:cubicBezTo>
                  <a:pt x="357970" y="664018"/>
                  <a:pt x="344265" y="650364"/>
                  <a:pt x="327418" y="650364"/>
                </a:cubicBezTo>
                <a:cubicBezTo>
                  <a:pt x="310571" y="650364"/>
                  <a:pt x="296865" y="664018"/>
                  <a:pt x="296865" y="680800"/>
                </a:cubicBezTo>
                <a:close/>
                <a:moveTo>
                  <a:pt x="474851" y="680800"/>
                </a:moveTo>
                <a:cubicBezTo>
                  <a:pt x="474851" y="697583"/>
                  <a:pt x="488557" y="711237"/>
                  <a:pt x="505404" y="711237"/>
                </a:cubicBezTo>
                <a:cubicBezTo>
                  <a:pt x="522250" y="711237"/>
                  <a:pt x="535956" y="697583"/>
                  <a:pt x="535956" y="680800"/>
                </a:cubicBezTo>
                <a:cubicBezTo>
                  <a:pt x="535956" y="664018"/>
                  <a:pt x="522250" y="650364"/>
                  <a:pt x="505404" y="650364"/>
                </a:cubicBezTo>
                <a:cubicBezTo>
                  <a:pt x="488557" y="650364"/>
                  <a:pt x="474851" y="664018"/>
                  <a:pt x="474851" y="680800"/>
                </a:cubicBezTo>
                <a:close/>
                <a:moveTo>
                  <a:pt x="593635" y="680800"/>
                </a:moveTo>
                <a:cubicBezTo>
                  <a:pt x="593635" y="697583"/>
                  <a:pt x="607341" y="711237"/>
                  <a:pt x="624188" y="711237"/>
                </a:cubicBezTo>
                <a:cubicBezTo>
                  <a:pt x="641035" y="711237"/>
                  <a:pt x="654740" y="697583"/>
                  <a:pt x="654740" y="680800"/>
                </a:cubicBezTo>
                <a:cubicBezTo>
                  <a:pt x="654740" y="664018"/>
                  <a:pt x="641035" y="650364"/>
                  <a:pt x="624188" y="650364"/>
                </a:cubicBezTo>
                <a:cubicBezTo>
                  <a:pt x="607341" y="650364"/>
                  <a:pt x="593635" y="664018"/>
                  <a:pt x="593635" y="680800"/>
                </a:cubicBezTo>
                <a:close/>
                <a:moveTo>
                  <a:pt x="652932" y="680800"/>
                </a:moveTo>
                <a:cubicBezTo>
                  <a:pt x="652932" y="697583"/>
                  <a:pt x="666638" y="711237"/>
                  <a:pt x="683485" y="711237"/>
                </a:cubicBezTo>
                <a:cubicBezTo>
                  <a:pt x="700332" y="711237"/>
                  <a:pt x="714037" y="697583"/>
                  <a:pt x="714037" y="680800"/>
                </a:cubicBezTo>
                <a:cubicBezTo>
                  <a:pt x="714037" y="664018"/>
                  <a:pt x="700332" y="650364"/>
                  <a:pt x="683485" y="650364"/>
                </a:cubicBezTo>
                <a:cubicBezTo>
                  <a:pt x="666638" y="650364"/>
                  <a:pt x="652932" y="664018"/>
                  <a:pt x="652932" y="680800"/>
                </a:cubicBezTo>
                <a:close/>
                <a:moveTo>
                  <a:pt x="712324" y="680800"/>
                </a:moveTo>
                <a:cubicBezTo>
                  <a:pt x="712324" y="697583"/>
                  <a:pt x="726030" y="711237"/>
                  <a:pt x="742877" y="711237"/>
                </a:cubicBezTo>
                <a:cubicBezTo>
                  <a:pt x="759724" y="711237"/>
                  <a:pt x="773429" y="697583"/>
                  <a:pt x="773429" y="680800"/>
                </a:cubicBezTo>
                <a:cubicBezTo>
                  <a:pt x="773429" y="664018"/>
                  <a:pt x="759724" y="650364"/>
                  <a:pt x="742877" y="650364"/>
                </a:cubicBezTo>
                <a:cubicBezTo>
                  <a:pt x="726030" y="650364"/>
                  <a:pt x="712324" y="664018"/>
                  <a:pt x="712324" y="680800"/>
                </a:cubicBezTo>
                <a:close/>
                <a:moveTo>
                  <a:pt x="831013" y="680800"/>
                </a:moveTo>
                <a:cubicBezTo>
                  <a:pt x="831013" y="697583"/>
                  <a:pt x="844719" y="711237"/>
                  <a:pt x="861566" y="711237"/>
                </a:cubicBezTo>
                <a:cubicBezTo>
                  <a:pt x="878413" y="711237"/>
                  <a:pt x="892118" y="697583"/>
                  <a:pt x="892118" y="680800"/>
                </a:cubicBezTo>
                <a:cubicBezTo>
                  <a:pt x="892118" y="664018"/>
                  <a:pt x="878413" y="650364"/>
                  <a:pt x="861566" y="650364"/>
                </a:cubicBezTo>
                <a:cubicBezTo>
                  <a:pt x="844719" y="650364"/>
                  <a:pt x="831013" y="664018"/>
                  <a:pt x="831013" y="680800"/>
                </a:cubicBezTo>
                <a:close/>
                <a:moveTo>
                  <a:pt x="949702" y="680800"/>
                </a:moveTo>
                <a:cubicBezTo>
                  <a:pt x="949702" y="697583"/>
                  <a:pt x="963408" y="711237"/>
                  <a:pt x="980255" y="711237"/>
                </a:cubicBezTo>
                <a:cubicBezTo>
                  <a:pt x="997101" y="711237"/>
                  <a:pt x="1010807" y="697583"/>
                  <a:pt x="1010807" y="680800"/>
                </a:cubicBezTo>
                <a:cubicBezTo>
                  <a:pt x="1010807" y="664018"/>
                  <a:pt x="997101" y="650364"/>
                  <a:pt x="980255" y="650364"/>
                </a:cubicBezTo>
                <a:cubicBezTo>
                  <a:pt x="963408" y="650364"/>
                  <a:pt x="949702" y="664018"/>
                  <a:pt x="949702" y="680800"/>
                </a:cubicBezTo>
                <a:close/>
                <a:moveTo>
                  <a:pt x="1068391" y="680800"/>
                </a:moveTo>
                <a:cubicBezTo>
                  <a:pt x="1068391" y="697583"/>
                  <a:pt x="1082097" y="711237"/>
                  <a:pt x="1098944" y="711237"/>
                </a:cubicBezTo>
                <a:cubicBezTo>
                  <a:pt x="1115790" y="711237"/>
                  <a:pt x="1129496" y="697583"/>
                  <a:pt x="1129496" y="680800"/>
                </a:cubicBezTo>
                <a:cubicBezTo>
                  <a:pt x="1129496" y="664018"/>
                  <a:pt x="1115790" y="650364"/>
                  <a:pt x="1098944" y="650364"/>
                </a:cubicBezTo>
                <a:cubicBezTo>
                  <a:pt x="1082097" y="650364"/>
                  <a:pt x="1068391" y="664018"/>
                  <a:pt x="1068391" y="680800"/>
                </a:cubicBezTo>
                <a:close/>
                <a:moveTo>
                  <a:pt x="1424553" y="680800"/>
                </a:moveTo>
                <a:cubicBezTo>
                  <a:pt x="1424553" y="697583"/>
                  <a:pt x="1438259" y="711237"/>
                  <a:pt x="1455106" y="711237"/>
                </a:cubicBezTo>
                <a:cubicBezTo>
                  <a:pt x="1471953" y="711237"/>
                  <a:pt x="1485658" y="697583"/>
                  <a:pt x="1485658" y="680800"/>
                </a:cubicBezTo>
                <a:cubicBezTo>
                  <a:pt x="1485658" y="664018"/>
                  <a:pt x="1471953" y="650364"/>
                  <a:pt x="1455106" y="650364"/>
                </a:cubicBezTo>
                <a:cubicBezTo>
                  <a:pt x="1438259" y="650364"/>
                  <a:pt x="1424553" y="664018"/>
                  <a:pt x="1424553" y="680800"/>
                </a:cubicBezTo>
                <a:close/>
                <a:moveTo>
                  <a:pt x="59392" y="739968"/>
                </a:moveTo>
                <a:cubicBezTo>
                  <a:pt x="59392" y="756751"/>
                  <a:pt x="73098" y="770404"/>
                  <a:pt x="89945" y="770404"/>
                </a:cubicBezTo>
                <a:cubicBezTo>
                  <a:pt x="106792" y="770404"/>
                  <a:pt x="120497" y="756751"/>
                  <a:pt x="120497" y="739968"/>
                </a:cubicBezTo>
                <a:cubicBezTo>
                  <a:pt x="120497" y="723185"/>
                  <a:pt x="106792" y="709531"/>
                  <a:pt x="89945" y="709531"/>
                </a:cubicBezTo>
                <a:cubicBezTo>
                  <a:pt x="73098" y="709531"/>
                  <a:pt x="59392" y="723185"/>
                  <a:pt x="59392" y="739968"/>
                </a:cubicBezTo>
                <a:close/>
                <a:moveTo>
                  <a:pt x="118784" y="739968"/>
                </a:moveTo>
                <a:cubicBezTo>
                  <a:pt x="118784" y="756751"/>
                  <a:pt x="132490" y="770404"/>
                  <a:pt x="149337" y="770404"/>
                </a:cubicBezTo>
                <a:cubicBezTo>
                  <a:pt x="166184" y="770404"/>
                  <a:pt x="179889" y="756751"/>
                  <a:pt x="179889" y="739968"/>
                </a:cubicBezTo>
                <a:cubicBezTo>
                  <a:pt x="179889" y="723185"/>
                  <a:pt x="166184" y="709531"/>
                  <a:pt x="149337" y="709531"/>
                </a:cubicBezTo>
                <a:cubicBezTo>
                  <a:pt x="132490" y="709531"/>
                  <a:pt x="118784" y="723185"/>
                  <a:pt x="118784" y="739968"/>
                </a:cubicBezTo>
                <a:close/>
                <a:moveTo>
                  <a:pt x="237473" y="739968"/>
                </a:moveTo>
                <a:cubicBezTo>
                  <a:pt x="237473" y="756751"/>
                  <a:pt x="251179" y="770404"/>
                  <a:pt x="268026" y="770404"/>
                </a:cubicBezTo>
                <a:cubicBezTo>
                  <a:pt x="284873" y="770404"/>
                  <a:pt x="298578" y="756751"/>
                  <a:pt x="298578" y="739968"/>
                </a:cubicBezTo>
                <a:cubicBezTo>
                  <a:pt x="298578" y="723185"/>
                  <a:pt x="284873" y="709531"/>
                  <a:pt x="268026" y="709531"/>
                </a:cubicBezTo>
                <a:cubicBezTo>
                  <a:pt x="251179" y="709531"/>
                  <a:pt x="237473" y="723185"/>
                  <a:pt x="237473" y="739968"/>
                </a:cubicBezTo>
                <a:close/>
                <a:moveTo>
                  <a:pt x="296865" y="739968"/>
                </a:moveTo>
                <a:cubicBezTo>
                  <a:pt x="296865" y="756751"/>
                  <a:pt x="310571" y="770404"/>
                  <a:pt x="327418" y="770404"/>
                </a:cubicBezTo>
                <a:cubicBezTo>
                  <a:pt x="344265" y="770404"/>
                  <a:pt x="357970" y="756751"/>
                  <a:pt x="357970" y="739968"/>
                </a:cubicBezTo>
                <a:cubicBezTo>
                  <a:pt x="357970" y="723185"/>
                  <a:pt x="344265" y="709531"/>
                  <a:pt x="327418" y="709531"/>
                </a:cubicBezTo>
                <a:cubicBezTo>
                  <a:pt x="310571" y="709531"/>
                  <a:pt x="296865" y="723185"/>
                  <a:pt x="296865" y="739968"/>
                </a:cubicBezTo>
                <a:close/>
                <a:moveTo>
                  <a:pt x="356162" y="739968"/>
                </a:moveTo>
                <a:cubicBezTo>
                  <a:pt x="356162" y="756751"/>
                  <a:pt x="369868" y="770404"/>
                  <a:pt x="386715" y="770404"/>
                </a:cubicBezTo>
                <a:cubicBezTo>
                  <a:pt x="403562" y="770404"/>
                  <a:pt x="417267" y="756751"/>
                  <a:pt x="417267" y="739968"/>
                </a:cubicBezTo>
                <a:cubicBezTo>
                  <a:pt x="417267" y="723185"/>
                  <a:pt x="403562" y="709531"/>
                  <a:pt x="386715" y="709531"/>
                </a:cubicBezTo>
                <a:cubicBezTo>
                  <a:pt x="369868" y="709531"/>
                  <a:pt x="356162" y="723185"/>
                  <a:pt x="356162" y="739968"/>
                </a:cubicBezTo>
                <a:close/>
                <a:moveTo>
                  <a:pt x="415554" y="739968"/>
                </a:moveTo>
                <a:cubicBezTo>
                  <a:pt x="415554" y="756751"/>
                  <a:pt x="429260" y="770404"/>
                  <a:pt x="446107" y="770404"/>
                </a:cubicBezTo>
                <a:cubicBezTo>
                  <a:pt x="462954" y="770404"/>
                  <a:pt x="476659" y="756751"/>
                  <a:pt x="476659" y="739968"/>
                </a:cubicBezTo>
                <a:cubicBezTo>
                  <a:pt x="476659" y="723185"/>
                  <a:pt x="462954" y="709531"/>
                  <a:pt x="446107" y="709531"/>
                </a:cubicBezTo>
                <a:cubicBezTo>
                  <a:pt x="429260" y="709531"/>
                  <a:pt x="415554" y="723185"/>
                  <a:pt x="415554" y="739968"/>
                </a:cubicBezTo>
                <a:close/>
                <a:moveTo>
                  <a:pt x="474851" y="739968"/>
                </a:moveTo>
                <a:cubicBezTo>
                  <a:pt x="474851" y="756751"/>
                  <a:pt x="488557" y="770404"/>
                  <a:pt x="505404" y="770404"/>
                </a:cubicBezTo>
                <a:cubicBezTo>
                  <a:pt x="522250" y="770404"/>
                  <a:pt x="535956" y="756751"/>
                  <a:pt x="535956" y="739968"/>
                </a:cubicBezTo>
                <a:cubicBezTo>
                  <a:pt x="535956" y="723185"/>
                  <a:pt x="522250" y="709531"/>
                  <a:pt x="505404" y="709531"/>
                </a:cubicBezTo>
                <a:cubicBezTo>
                  <a:pt x="488557" y="709531"/>
                  <a:pt x="474851" y="723185"/>
                  <a:pt x="474851" y="739968"/>
                </a:cubicBezTo>
                <a:close/>
                <a:moveTo>
                  <a:pt x="534243" y="739968"/>
                </a:moveTo>
                <a:cubicBezTo>
                  <a:pt x="534243" y="756751"/>
                  <a:pt x="547949" y="770404"/>
                  <a:pt x="564796" y="770404"/>
                </a:cubicBezTo>
                <a:cubicBezTo>
                  <a:pt x="581643" y="770404"/>
                  <a:pt x="595348" y="756751"/>
                  <a:pt x="595348" y="739968"/>
                </a:cubicBezTo>
                <a:cubicBezTo>
                  <a:pt x="595348" y="723185"/>
                  <a:pt x="581643" y="709531"/>
                  <a:pt x="564796" y="709531"/>
                </a:cubicBezTo>
                <a:cubicBezTo>
                  <a:pt x="547949" y="709531"/>
                  <a:pt x="534243" y="723185"/>
                  <a:pt x="534243" y="739968"/>
                </a:cubicBezTo>
                <a:close/>
                <a:moveTo>
                  <a:pt x="652932" y="739968"/>
                </a:moveTo>
                <a:cubicBezTo>
                  <a:pt x="652932" y="756751"/>
                  <a:pt x="666638" y="770404"/>
                  <a:pt x="683485" y="770404"/>
                </a:cubicBezTo>
                <a:cubicBezTo>
                  <a:pt x="700332" y="770404"/>
                  <a:pt x="714037" y="756751"/>
                  <a:pt x="714037" y="739968"/>
                </a:cubicBezTo>
                <a:cubicBezTo>
                  <a:pt x="714037" y="723185"/>
                  <a:pt x="700332" y="709531"/>
                  <a:pt x="683485" y="709531"/>
                </a:cubicBezTo>
                <a:cubicBezTo>
                  <a:pt x="666638" y="709531"/>
                  <a:pt x="652932" y="723185"/>
                  <a:pt x="652932" y="739968"/>
                </a:cubicBezTo>
                <a:close/>
                <a:moveTo>
                  <a:pt x="890310" y="739968"/>
                </a:moveTo>
                <a:cubicBezTo>
                  <a:pt x="890310" y="756751"/>
                  <a:pt x="904016" y="770404"/>
                  <a:pt x="920863" y="770404"/>
                </a:cubicBezTo>
                <a:cubicBezTo>
                  <a:pt x="937709" y="770404"/>
                  <a:pt x="951415" y="756751"/>
                  <a:pt x="951415" y="739968"/>
                </a:cubicBezTo>
                <a:cubicBezTo>
                  <a:pt x="951415" y="723185"/>
                  <a:pt x="937709" y="709531"/>
                  <a:pt x="920863" y="709531"/>
                </a:cubicBezTo>
                <a:cubicBezTo>
                  <a:pt x="904016" y="709531"/>
                  <a:pt x="890310" y="723185"/>
                  <a:pt x="890310" y="739968"/>
                </a:cubicBezTo>
                <a:close/>
                <a:moveTo>
                  <a:pt x="1009094" y="739968"/>
                </a:moveTo>
                <a:cubicBezTo>
                  <a:pt x="1009094" y="756751"/>
                  <a:pt x="1022800" y="770404"/>
                  <a:pt x="1039647" y="770404"/>
                </a:cubicBezTo>
                <a:cubicBezTo>
                  <a:pt x="1056494" y="770404"/>
                  <a:pt x="1070199" y="756751"/>
                  <a:pt x="1070199" y="739968"/>
                </a:cubicBezTo>
                <a:cubicBezTo>
                  <a:pt x="1070199" y="723185"/>
                  <a:pt x="1056494" y="709531"/>
                  <a:pt x="1039647" y="709531"/>
                </a:cubicBezTo>
                <a:cubicBezTo>
                  <a:pt x="1022800" y="709531"/>
                  <a:pt x="1009094" y="723185"/>
                  <a:pt x="1009094" y="739968"/>
                </a:cubicBezTo>
                <a:close/>
                <a:moveTo>
                  <a:pt x="1068391" y="739968"/>
                </a:moveTo>
                <a:cubicBezTo>
                  <a:pt x="1068391" y="756751"/>
                  <a:pt x="1082097" y="770404"/>
                  <a:pt x="1098944" y="770404"/>
                </a:cubicBezTo>
                <a:cubicBezTo>
                  <a:pt x="1115790" y="770404"/>
                  <a:pt x="1129496" y="756751"/>
                  <a:pt x="1129496" y="739968"/>
                </a:cubicBezTo>
                <a:cubicBezTo>
                  <a:pt x="1129496" y="723185"/>
                  <a:pt x="1115790" y="709531"/>
                  <a:pt x="1098944" y="709531"/>
                </a:cubicBezTo>
                <a:cubicBezTo>
                  <a:pt x="1082097" y="709531"/>
                  <a:pt x="1068391" y="723185"/>
                  <a:pt x="1068391" y="739968"/>
                </a:cubicBezTo>
                <a:close/>
                <a:moveTo>
                  <a:pt x="1127783" y="739968"/>
                </a:moveTo>
                <a:cubicBezTo>
                  <a:pt x="1127783" y="756751"/>
                  <a:pt x="1141489" y="770404"/>
                  <a:pt x="1158336" y="770404"/>
                </a:cubicBezTo>
                <a:cubicBezTo>
                  <a:pt x="1175183" y="770404"/>
                  <a:pt x="1188888" y="756751"/>
                  <a:pt x="1188888" y="739968"/>
                </a:cubicBezTo>
                <a:cubicBezTo>
                  <a:pt x="1188888" y="723185"/>
                  <a:pt x="1175183" y="709531"/>
                  <a:pt x="1158336" y="709531"/>
                </a:cubicBezTo>
                <a:cubicBezTo>
                  <a:pt x="1141489" y="709531"/>
                  <a:pt x="1127783" y="723185"/>
                  <a:pt x="1127783" y="739968"/>
                </a:cubicBezTo>
                <a:close/>
                <a:moveTo>
                  <a:pt x="1187080" y="739968"/>
                </a:moveTo>
                <a:cubicBezTo>
                  <a:pt x="1187080" y="756751"/>
                  <a:pt x="1200786" y="770404"/>
                  <a:pt x="1217633" y="770404"/>
                </a:cubicBezTo>
                <a:cubicBezTo>
                  <a:pt x="1234479" y="770404"/>
                  <a:pt x="1248185" y="756751"/>
                  <a:pt x="1248185" y="739968"/>
                </a:cubicBezTo>
                <a:cubicBezTo>
                  <a:pt x="1248185" y="723185"/>
                  <a:pt x="1234479" y="709531"/>
                  <a:pt x="1217633" y="709531"/>
                </a:cubicBezTo>
                <a:cubicBezTo>
                  <a:pt x="1200786" y="709531"/>
                  <a:pt x="1187080" y="723185"/>
                  <a:pt x="1187080" y="739968"/>
                </a:cubicBezTo>
                <a:close/>
                <a:moveTo>
                  <a:pt x="1305769" y="739968"/>
                </a:moveTo>
                <a:cubicBezTo>
                  <a:pt x="1305769" y="756751"/>
                  <a:pt x="1319475" y="770404"/>
                  <a:pt x="1336322" y="770404"/>
                </a:cubicBezTo>
                <a:cubicBezTo>
                  <a:pt x="1353168" y="770404"/>
                  <a:pt x="1366874" y="756751"/>
                  <a:pt x="1366874" y="739968"/>
                </a:cubicBezTo>
                <a:cubicBezTo>
                  <a:pt x="1366874" y="723185"/>
                  <a:pt x="1353168" y="709531"/>
                  <a:pt x="1336322" y="709531"/>
                </a:cubicBezTo>
                <a:cubicBezTo>
                  <a:pt x="1319475" y="709531"/>
                  <a:pt x="1305769" y="723185"/>
                  <a:pt x="1305769" y="739968"/>
                </a:cubicBezTo>
                <a:close/>
                <a:moveTo>
                  <a:pt x="1365161" y="739968"/>
                </a:moveTo>
                <a:cubicBezTo>
                  <a:pt x="1365161" y="756751"/>
                  <a:pt x="1378867" y="770404"/>
                  <a:pt x="1395714" y="770404"/>
                </a:cubicBezTo>
                <a:cubicBezTo>
                  <a:pt x="1412561" y="770404"/>
                  <a:pt x="1426266" y="756751"/>
                  <a:pt x="1426266" y="739968"/>
                </a:cubicBezTo>
                <a:cubicBezTo>
                  <a:pt x="1426266" y="723185"/>
                  <a:pt x="1412561" y="709531"/>
                  <a:pt x="1395714" y="709531"/>
                </a:cubicBezTo>
                <a:cubicBezTo>
                  <a:pt x="1378867" y="709531"/>
                  <a:pt x="1365161" y="723185"/>
                  <a:pt x="1365161" y="739968"/>
                </a:cubicBezTo>
                <a:close/>
                <a:moveTo>
                  <a:pt x="1424553" y="739968"/>
                </a:moveTo>
                <a:cubicBezTo>
                  <a:pt x="1424553" y="756751"/>
                  <a:pt x="1438259" y="770404"/>
                  <a:pt x="1455106" y="770404"/>
                </a:cubicBezTo>
                <a:cubicBezTo>
                  <a:pt x="1471953" y="770404"/>
                  <a:pt x="1485658" y="756751"/>
                  <a:pt x="1485658" y="739968"/>
                </a:cubicBezTo>
                <a:cubicBezTo>
                  <a:pt x="1485658" y="723185"/>
                  <a:pt x="1471953" y="709531"/>
                  <a:pt x="1455106" y="709531"/>
                </a:cubicBezTo>
                <a:cubicBezTo>
                  <a:pt x="1438259" y="709531"/>
                  <a:pt x="1424553" y="723185"/>
                  <a:pt x="1424553" y="739968"/>
                </a:cubicBezTo>
                <a:close/>
                <a:moveTo>
                  <a:pt x="95" y="799040"/>
                </a:moveTo>
                <a:cubicBezTo>
                  <a:pt x="95" y="815823"/>
                  <a:pt x="13801" y="829477"/>
                  <a:pt x="30648" y="829477"/>
                </a:cubicBezTo>
                <a:cubicBezTo>
                  <a:pt x="47495" y="829477"/>
                  <a:pt x="61200" y="815823"/>
                  <a:pt x="61200" y="799040"/>
                </a:cubicBezTo>
                <a:cubicBezTo>
                  <a:pt x="61200" y="782257"/>
                  <a:pt x="47495" y="768603"/>
                  <a:pt x="30648" y="768603"/>
                </a:cubicBezTo>
                <a:cubicBezTo>
                  <a:pt x="13801" y="768603"/>
                  <a:pt x="95" y="782257"/>
                  <a:pt x="95" y="799040"/>
                </a:cubicBezTo>
                <a:close/>
                <a:moveTo>
                  <a:pt x="118784" y="799040"/>
                </a:moveTo>
                <a:cubicBezTo>
                  <a:pt x="118784" y="815823"/>
                  <a:pt x="132490" y="829477"/>
                  <a:pt x="149337" y="829477"/>
                </a:cubicBezTo>
                <a:cubicBezTo>
                  <a:pt x="166184" y="829477"/>
                  <a:pt x="179889" y="815823"/>
                  <a:pt x="179889" y="799040"/>
                </a:cubicBezTo>
                <a:cubicBezTo>
                  <a:pt x="179889" y="782257"/>
                  <a:pt x="166184" y="768603"/>
                  <a:pt x="149337" y="768603"/>
                </a:cubicBezTo>
                <a:cubicBezTo>
                  <a:pt x="132490" y="768603"/>
                  <a:pt x="118784" y="782257"/>
                  <a:pt x="118784" y="799040"/>
                </a:cubicBezTo>
                <a:close/>
                <a:moveTo>
                  <a:pt x="178081" y="799040"/>
                </a:moveTo>
                <a:cubicBezTo>
                  <a:pt x="178081" y="815823"/>
                  <a:pt x="191787" y="829477"/>
                  <a:pt x="208634" y="829477"/>
                </a:cubicBezTo>
                <a:cubicBezTo>
                  <a:pt x="225480" y="829477"/>
                  <a:pt x="239186" y="815823"/>
                  <a:pt x="239186" y="799040"/>
                </a:cubicBezTo>
                <a:cubicBezTo>
                  <a:pt x="239186" y="782257"/>
                  <a:pt x="225480" y="768603"/>
                  <a:pt x="208634" y="768603"/>
                </a:cubicBezTo>
                <a:cubicBezTo>
                  <a:pt x="191787" y="768603"/>
                  <a:pt x="178081" y="782257"/>
                  <a:pt x="178081" y="799040"/>
                </a:cubicBezTo>
                <a:close/>
                <a:moveTo>
                  <a:pt x="237473" y="799040"/>
                </a:moveTo>
                <a:cubicBezTo>
                  <a:pt x="237473" y="815823"/>
                  <a:pt x="251179" y="829477"/>
                  <a:pt x="268026" y="829477"/>
                </a:cubicBezTo>
                <a:cubicBezTo>
                  <a:pt x="284873" y="829477"/>
                  <a:pt x="298578" y="815823"/>
                  <a:pt x="298578" y="799040"/>
                </a:cubicBezTo>
                <a:cubicBezTo>
                  <a:pt x="298578" y="782257"/>
                  <a:pt x="284873" y="768603"/>
                  <a:pt x="268026" y="768603"/>
                </a:cubicBezTo>
                <a:cubicBezTo>
                  <a:pt x="251179" y="768603"/>
                  <a:pt x="237473" y="782257"/>
                  <a:pt x="237473" y="799040"/>
                </a:cubicBezTo>
                <a:close/>
                <a:moveTo>
                  <a:pt x="415554" y="799040"/>
                </a:moveTo>
                <a:cubicBezTo>
                  <a:pt x="415554" y="815823"/>
                  <a:pt x="429260" y="829477"/>
                  <a:pt x="446107" y="829477"/>
                </a:cubicBezTo>
                <a:cubicBezTo>
                  <a:pt x="462954" y="829477"/>
                  <a:pt x="476659" y="815823"/>
                  <a:pt x="476659" y="799040"/>
                </a:cubicBezTo>
                <a:cubicBezTo>
                  <a:pt x="476659" y="782257"/>
                  <a:pt x="462954" y="768603"/>
                  <a:pt x="446107" y="768603"/>
                </a:cubicBezTo>
                <a:cubicBezTo>
                  <a:pt x="429260" y="768603"/>
                  <a:pt x="415554" y="782257"/>
                  <a:pt x="415554" y="799040"/>
                </a:cubicBezTo>
                <a:close/>
                <a:moveTo>
                  <a:pt x="474851" y="799040"/>
                </a:moveTo>
                <a:cubicBezTo>
                  <a:pt x="474851" y="815823"/>
                  <a:pt x="488557" y="829477"/>
                  <a:pt x="505404" y="829477"/>
                </a:cubicBezTo>
                <a:cubicBezTo>
                  <a:pt x="522250" y="829477"/>
                  <a:pt x="535956" y="815823"/>
                  <a:pt x="535956" y="799040"/>
                </a:cubicBezTo>
                <a:cubicBezTo>
                  <a:pt x="535956" y="782257"/>
                  <a:pt x="522250" y="768603"/>
                  <a:pt x="505404" y="768603"/>
                </a:cubicBezTo>
                <a:cubicBezTo>
                  <a:pt x="488557" y="768603"/>
                  <a:pt x="474851" y="782257"/>
                  <a:pt x="474851" y="799040"/>
                </a:cubicBezTo>
                <a:close/>
                <a:moveTo>
                  <a:pt x="534243" y="799040"/>
                </a:moveTo>
                <a:cubicBezTo>
                  <a:pt x="534243" y="815823"/>
                  <a:pt x="547949" y="829477"/>
                  <a:pt x="564796" y="829477"/>
                </a:cubicBezTo>
                <a:cubicBezTo>
                  <a:pt x="581643" y="829477"/>
                  <a:pt x="595348" y="815823"/>
                  <a:pt x="595348" y="799040"/>
                </a:cubicBezTo>
                <a:cubicBezTo>
                  <a:pt x="595348" y="782257"/>
                  <a:pt x="581643" y="768603"/>
                  <a:pt x="564796" y="768603"/>
                </a:cubicBezTo>
                <a:cubicBezTo>
                  <a:pt x="547949" y="768603"/>
                  <a:pt x="534243" y="782257"/>
                  <a:pt x="534243" y="799040"/>
                </a:cubicBezTo>
                <a:close/>
                <a:moveTo>
                  <a:pt x="593635" y="799040"/>
                </a:moveTo>
                <a:cubicBezTo>
                  <a:pt x="593635" y="815823"/>
                  <a:pt x="607341" y="829477"/>
                  <a:pt x="624188" y="829477"/>
                </a:cubicBezTo>
                <a:cubicBezTo>
                  <a:pt x="641035" y="829477"/>
                  <a:pt x="654740" y="815823"/>
                  <a:pt x="654740" y="799040"/>
                </a:cubicBezTo>
                <a:cubicBezTo>
                  <a:pt x="654740" y="782257"/>
                  <a:pt x="641035" y="768603"/>
                  <a:pt x="624188" y="768603"/>
                </a:cubicBezTo>
                <a:cubicBezTo>
                  <a:pt x="607341" y="768603"/>
                  <a:pt x="593635" y="782257"/>
                  <a:pt x="593635" y="799040"/>
                </a:cubicBezTo>
                <a:close/>
                <a:moveTo>
                  <a:pt x="712324" y="799040"/>
                </a:moveTo>
                <a:cubicBezTo>
                  <a:pt x="712324" y="815823"/>
                  <a:pt x="726030" y="829477"/>
                  <a:pt x="742877" y="829477"/>
                </a:cubicBezTo>
                <a:cubicBezTo>
                  <a:pt x="759724" y="829477"/>
                  <a:pt x="773429" y="815823"/>
                  <a:pt x="773429" y="799040"/>
                </a:cubicBezTo>
                <a:cubicBezTo>
                  <a:pt x="773429" y="782257"/>
                  <a:pt x="759724" y="768603"/>
                  <a:pt x="742877" y="768603"/>
                </a:cubicBezTo>
                <a:cubicBezTo>
                  <a:pt x="726030" y="768603"/>
                  <a:pt x="712324" y="782257"/>
                  <a:pt x="712324" y="799040"/>
                </a:cubicBezTo>
                <a:close/>
                <a:moveTo>
                  <a:pt x="771621" y="799040"/>
                </a:moveTo>
                <a:cubicBezTo>
                  <a:pt x="771621" y="815823"/>
                  <a:pt x="785327" y="829477"/>
                  <a:pt x="802174" y="829477"/>
                </a:cubicBezTo>
                <a:cubicBezTo>
                  <a:pt x="819021" y="829477"/>
                  <a:pt x="832726" y="815823"/>
                  <a:pt x="832726" y="799040"/>
                </a:cubicBezTo>
                <a:cubicBezTo>
                  <a:pt x="832726" y="782257"/>
                  <a:pt x="819021" y="768603"/>
                  <a:pt x="802174" y="768603"/>
                </a:cubicBezTo>
                <a:cubicBezTo>
                  <a:pt x="785327" y="768603"/>
                  <a:pt x="771621" y="782257"/>
                  <a:pt x="771621" y="799040"/>
                </a:cubicBezTo>
                <a:close/>
                <a:moveTo>
                  <a:pt x="949702" y="799040"/>
                </a:moveTo>
                <a:cubicBezTo>
                  <a:pt x="949702" y="815823"/>
                  <a:pt x="963408" y="829477"/>
                  <a:pt x="980255" y="829477"/>
                </a:cubicBezTo>
                <a:cubicBezTo>
                  <a:pt x="997101" y="829477"/>
                  <a:pt x="1010807" y="815823"/>
                  <a:pt x="1010807" y="799040"/>
                </a:cubicBezTo>
                <a:cubicBezTo>
                  <a:pt x="1010807" y="782257"/>
                  <a:pt x="997101" y="768603"/>
                  <a:pt x="980255" y="768603"/>
                </a:cubicBezTo>
                <a:cubicBezTo>
                  <a:pt x="963408" y="768603"/>
                  <a:pt x="949702" y="782257"/>
                  <a:pt x="949702" y="799040"/>
                </a:cubicBezTo>
                <a:close/>
                <a:moveTo>
                  <a:pt x="1009094" y="799040"/>
                </a:moveTo>
                <a:cubicBezTo>
                  <a:pt x="1009094" y="815823"/>
                  <a:pt x="1022800" y="829477"/>
                  <a:pt x="1039647" y="829477"/>
                </a:cubicBezTo>
                <a:cubicBezTo>
                  <a:pt x="1056494" y="829477"/>
                  <a:pt x="1070199" y="815823"/>
                  <a:pt x="1070199" y="799040"/>
                </a:cubicBezTo>
                <a:cubicBezTo>
                  <a:pt x="1070199" y="782257"/>
                  <a:pt x="1056494" y="768603"/>
                  <a:pt x="1039647" y="768603"/>
                </a:cubicBezTo>
                <a:cubicBezTo>
                  <a:pt x="1022800" y="768603"/>
                  <a:pt x="1009094" y="782257"/>
                  <a:pt x="1009094" y="799040"/>
                </a:cubicBezTo>
                <a:close/>
                <a:moveTo>
                  <a:pt x="1127783" y="799040"/>
                </a:moveTo>
                <a:cubicBezTo>
                  <a:pt x="1127783" y="815823"/>
                  <a:pt x="1141489" y="829477"/>
                  <a:pt x="1158336" y="829477"/>
                </a:cubicBezTo>
                <a:cubicBezTo>
                  <a:pt x="1175183" y="829477"/>
                  <a:pt x="1188888" y="815823"/>
                  <a:pt x="1188888" y="799040"/>
                </a:cubicBezTo>
                <a:cubicBezTo>
                  <a:pt x="1188888" y="782257"/>
                  <a:pt x="1175183" y="768603"/>
                  <a:pt x="1158336" y="768603"/>
                </a:cubicBezTo>
                <a:cubicBezTo>
                  <a:pt x="1141489" y="768603"/>
                  <a:pt x="1127783" y="782257"/>
                  <a:pt x="1127783" y="799040"/>
                </a:cubicBezTo>
                <a:close/>
                <a:moveTo>
                  <a:pt x="1246472" y="799040"/>
                </a:moveTo>
                <a:cubicBezTo>
                  <a:pt x="1246472" y="815823"/>
                  <a:pt x="1260178" y="829477"/>
                  <a:pt x="1277025" y="829477"/>
                </a:cubicBezTo>
                <a:cubicBezTo>
                  <a:pt x="1293872" y="829477"/>
                  <a:pt x="1307577" y="815823"/>
                  <a:pt x="1307577" y="799040"/>
                </a:cubicBezTo>
                <a:cubicBezTo>
                  <a:pt x="1307577" y="782257"/>
                  <a:pt x="1293872" y="768603"/>
                  <a:pt x="1277025" y="768603"/>
                </a:cubicBezTo>
                <a:cubicBezTo>
                  <a:pt x="1260178" y="768603"/>
                  <a:pt x="1246472" y="782257"/>
                  <a:pt x="1246472" y="799040"/>
                </a:cubicBezTo>
                <a:close/>
                <a:moveTo>
                  <a:pt x="1365161" y="799040"/>
                </a:moveTo>
                <a:cubicBezTo>
                  <a:pt x="1365161" y="815823"/>
                  <a:pt x="1378867" y="829477"/>
                  <a:pt x="1395714" y="829477"/>
                </a:cubicBezTo>
                <a:cubicBezTo>
                  <a:pt x="1412561" y="829477"/>
                  <a:pt x="1426266" y="815823"/>
                  <a:pt x="1426266" y="799040"/>
                </a:cubicBezTo>
                <a:cubicBezTo>
                  <a:pt x="1426266" y="782257"/>
                  <a:pt x="1412561" y="768603"/>
                  <a:pt x="1395714" y="768603"/>
                </a:cubicBezTo>
                <a:cubicBezTo>
                  <a:pt x="1378867" y="768603"/>
                  <a:pt x="1365161" y="782257"/>
                  <a:pt x="1365161" y="799040"/>
                </a:cubicBezTo>
                <a:close/>
                <a:moveTo>
                  <a:pt x="95" y="858207"/>
                </a:moveTo>
                <a:cubicBezTo>
                  <a:pt x="95" y="874990"/>
                  <a:pt x="13801" y="888644"/>
                  <a:pt x="30648" y="888644"/>
                </a:cubicBezTo>
                <a:cubicBezTo>
                  <a:pt x="47495" y="888644"/>
                  <a:pt x="61200" y="874990"/>
                  <a:pt x="61200" y="858207"/>
                </a:cubicBezTo>
                <a:cubicBezTo>
                  <a:pt x="61200" y="841424"/>
                  <a:pt x="47495" y="827770"/>
                  <a:pt x="30648" y="827770"/>
                </a:cubicBezTo>
                <a:cubicBezTo>
                  <a:pt x="13801" y="827770"/>
                  <a:pt x="95" y="841424"/>
                  <a:pt x="95" y="858207"/>
                </a:cubicBezTo>
                <a:close/>
                <a:moveTo>
                  <a:pt x="118784" y="858207"/>
                </a:moveTo>
                <a:cubicBezTo>
                  <a:pt x="118784" y="874990"/>
                  <a:pt x="132490" y="888644"/>
                  <a:pt x="149337" y="888644"/>
                </a:cubicBezTo>
                <a:cubicBezTo>
                  <a:pt x="166184" y="888644"/>
                  <a:pt x="179889" y="874990"/>
                  <a:pt x="179889" y="858207"/>
                </a:cubicBezTo>
                <a:cubicBezTo>
                  <a:pt x="179889" y="841424"/>
                  <a:pt x="166184" y="827770"/>
                  <a:pt x="149337" y="827770"/>
                </a:cubicBezTo>
                <a:cubicBezTo>
                  <a:pt x="132490" y="827770"/>
                  <a:pt x="118784" y="841424"/>
                  <a:pt x="118784" y="858207"/>
                </a:cubicBezTo>
                <a:close/>
                <a:moveTo>
                  <a:pt x="178081" y="858207"/>
                </a:moveTo>
                <a:cubicBezTo>
                  <a:pt x="178081" y="874990"/>
                  <a:pt x="191787" y="888644"/>
                  <a:pt x="208634" y="888644"/>
                </a:cubicBezTo>
                <a:cubicBezTo>
                  <a:pt x="225480" y="888644"/>
                  <a:pt x="239186" y="874990"/>
                  <a:pt x="239186" y="858207"/>
                </a:cubicBezTo>
                <a:cubicBezTo>
                  <a:pt x="239186" y="841424"/>
                  <a:pt x="225480" y="827770"/>
                  <a:pt x="208634" y="827770"/>
                </a:cubicBezTo>
                <a:cubicBezTo>
                  <a:pt x="191787" y="827770"/>
                  <a:pt x="178081" y="841424"/>
                  <a:pt x="178081" y="858207"/>
                </a:cubicBezTo>
                <a:close/>
                <a:moveTo>
                  <a:pt x="356162" y="858207"/>
                </a:moveTo>
                <a:cubicBezTo>
                  <a:pt x="356162" y="874990"/>
                  <a:pt x="369868" y="888644"/>
                  <a:pt x="386715" y="888644"/>
                </a:cubicBezTo>
                <a:cubicBezTo>
                  <a:pt x="403562" y="888644"/>
                  <a:pt x="417267" y="874990"/>
                  <a:pt x="417267" y="858207"/>
                </a:cubicBezTo>
                <a:cubicBezTo>
                  <a:pt x="417267" y="841424"/>
                  <a:pt x="403562" y="827770"/>
                  <a:pt x="386715" y="827770"/>
                </a:cubicBezTo>
                <a:cubicBezTo>
                  <a:pt x="369868" y="827770"/>
                  <a:pt x="356162" y="841424"/>
                  <a:pt x="356162" y="858207"/>
                </a:cubicBezTo>
                <a:close/>
                <a:moveTo>
                  <a:pt x="474851" y="858207"/>
                </a:moveTo>
                <a:cubicBezTo>
                  <a:pt x="474851" y="874990"/>
                  <a:pt x="488557" y="888644"/>
                  <a:pt x="505404" y="888644"/>
                </a:cubicBezTo>
                <a:cubicBezTo>
                  <a:pt x="522250" y="888644"/>
                  <a:pt x="535956" y="874990"/>
                  <a:pt x="535956" y="858207"/>
                </a:cubicBezTo>
                <a:cubicBezTo>
                  <a:pt x="535956" y="841424"/>
                  <a:pt x="522250" y="827770"/>
                  <a:pt x="505404" y="827770"/>
                </a:cubicBezTo>
                <a:cubicBezTo>
                  <a:pt x="488557" y="827770"/>
                  <a:pt x="474851" y="841424"/>
                  <a:pt x="474851" y="858207"/>
                </a:cubicBezTo>
                <a:close/>
                <a:moveTo>
                  <a:pt x="771621" y="858207"/>
                </a:moveTo>
                <a:cubicBezTo>
                  <a:pt x="771621" y="874990"/>
                  <a:pt x="785327" y="888644"/>
                  <a:pt x="802174" y="888644"/>
                </a:cubicBezTo>
                <a:cubicBezTo>
                  <a:pt x="819021" y="888644"/>
                  <a:pt x="832726" y="874990"/>
                  <a:pt x="832726" y="858207"/>
                </a:cubicBezTo>
                <a:cubicBezTo>
                  <a:pt x="832726" y="841424"/>
                  <a:pt x="819021" y="827770"/>
                  <a:pt x="802174" y="827770"/>
                </a:cubicBezTo>
                <a:cubicBezTo>
                  <a:pt x="785327" y="827770"/>
                  <a:pt x="771621" y="841424"/>
                  <a:pt x="771621" y="858207"/>
                </a:cubicBezTo>
                <a:close/>
                <a:moveTo>
                  <a:pt x="831013" y="858207"/>
                </a:moveTo>
                <a:cubicBezTo>
                  <a:pt x="831013" y="874990"/>
                  <a:pt x="844719" y="888644"/>
                  <a:pt x="861566" y="888644"/>
                </a:cubicBezTo>
                <a:cubicBezTo>
                  <a:pt x="878413" y="888644"/>
                  <a:pt x="892118" y="874990"/>
                  <a:pt x="892118" y="858207"/>
                </a:cubicBezTo>
                <a:cubicBezTo>
                  <a:pt x="892118" y="841424"/>
                  <a:pt x="878413" y="827770"/>
                  <a:pt x="861566" y="827770"/>
                </a:cubicBezTo>
                <a:cubicBezTo>
                  <a:pt x="844719" y="827770"/>
                  <a:pt x="831013" y="841424"/>
                  <a:pt x="831013" y="858207"/>
                </a:cubicBezTo>
                <a:close/>
                <a:moveTo>
                  <a:pt x="890310" y="858207"/>
                </a:moveTo>
                <a:cubicBezTo>
                  <a:pt x="890310" y="874990"/>
                  <a:pt x="904016" y="888644"/>
                  <a:pt x="920863" y="888644"/>
                </a:cubicBezTo>
                <a:cubicBezTo>
                  <a:pt x="937709" y="888644"/>
                  <a:pt x="951415" y="874990"/>
                  <a:pt x="951415" y="858207"/>
                </a:cubicBezTo>
                <a:cubicBezTo>
                  <a:pt x="951415" y="841424"/>
                  <a:pt x="937709" y="827770"/>
                  <a:pt x="920863" y="827770"/>
                </a:cubicBezTo>
                <a:cubicBezTo>
                  <a:pt x="904016" y="827770"/>
                  <a:pt x="890310" y="841424"/>
                  <a:pt x="890310" y="858207"/>
                </a:cubicBezTo>
                <a:close/>
                <a:moveTo>
                  <a:pt x="949702" y="858207"/>
                </a:moveTo>
                <a:cubicBezTo>
                  <a:pt x="949702" y="874990"/>
                  <a:pt x="963408" y="888644"/>
                  <a:pt x="980255" y="888644"/>
                </a:cubicBezTo>
                <a:cubicBezTo>
                  <a:pt x="997101" y="888644"/>
                  <a:pt x="1010807" y="874990"/>
                  <a:pt x="1010807" y="858207"/>
                </a:cubicBezTo>
                <a:cubicBezTo>
                  <a:pt x="1010807" y="841424"/>
                  <a:pt x="997101" y="827770"/>
                  <a:pt x="980255" y="827770"/>
                </a:cubicBezTo>
                <a:cubicBezTo>
                  <a:pt x="963408" y="827770"/>
                  <a:pt x="949702" y="841424"/>
                  <a:pt x="949702" y="858207"/>
                </a:cubicBezTo>
                <a:close/>
                <a:moveTo>
                  <a:pt x="1068391" y="858207"/>
                </a:moveTo>
                <a:cubicBezTo>
                  <a:pt x="1068391" y="874990"/>
                  <a:pt x="1082097" y="888644"/>
                  <a:pt x="1098944" y="888644"/>
                </a:cubicBezTo>
                <a:cubicBezTo>
                  <a:pt x="1115790" y="888644"/>
                  <a:pt x="1129496" y="874990"/>
                  <a:pt x="1129496" y="858207"/>
                </a:cubicBezTo>
                <a:cubicBezTo>
                  <a:pt x="1129496" y="841424"/>
                  <a:pt x="1115790" y="827770"/>
                  <a:pt x="1098944" y="827770"/>
                </a:cubicBezTo>
                <a:cubicBezTo>
                  <a:pt x="1082097" y="827770"/>
                  <a:pt x="1068391" y="841424"/>
                  <a:pt x="1068391" y="858207"/>
                </a:cubicBezTo>
                <a:close/>
                <a:moveTo>
                  <a:pt x="1127783" y="858207"/>
                </a:moveTo>
                <a:cubicBezTo>
                  <a:pt x="1127783" y="874990"/>
                  <a:pt x="1141489" y="888644"/>
                  <a:pt x="1158336" y="888644"/>
                </a:cubicBezTo>
                <a:cubicBezTo>
                  <a:pt x="1175183" y="888644"/>
                  <a:pt x="1188888" y="874990"/>
                  <a:pt x="1188888" y="858207"/>
                </a:cubicBezTo>
                <a:cubicBezTo>
                  <a:pt x="1188888" y="841424"/>
                  <a:pt x="1175183" y="827770"/>
                  <a:pt x="1158336" y="827770"/>
                </a:cubicBezTo>
                <a:cubicBezTo>
                  <a:pt x="1141489" y="827770"/>
                  <a:pt x="1127783" y="841424"/>
                  <a:pt x="1127783" y="858207"/>
                </a:cubicBezTo>
                <a:close/>
                <a:moveTo>
                  <a:pt x="1187080" y="858207"/>
                </a:moveTo>
                <a:cubicBezTo>
                  <a:pt x="1187080" y="874990"/>
                  <a:pt x="1200786" y="888644"/>
                  <a:pt x="1217633" y="888644"/>
                </a:cubicBezTo>
                <a:cubicBezTo>
                  <a:pt x="1234479" y="888644"/>
                  <a:pt x="1248185" y="874990"/>
                  <a:pt x="1248185" y="858207"/>
                </a:cubicBezTo>
                <a:cubicBezTo>
                  <a:pt x="1248185" y="841424"/>
                  <a:pt x="1234479" y="827770"/>
                  <a:pt x="1217633" y="827770"/>
                </a:cubicBezTo>
                <a:cubicBezTo>
                  <a:pt x="1200786" y="827770"/>
                  <a:pt x="1187080" y="841424"/>
                  <a:pt x="1187080" y="858207"/>
                </a:cubicBezTo>
                <a:close/>
                <a:moveTo>
                  <a:pt x="1246472" y="858207"/>
                </a:moveTo>
                <a:cubicBezTo>
                  <a:pt x="1246472" y="874990"/>
                  <a:pt x="1260178" y="888644"/>
                  <a:pt x="1277025" y="888644"/>
                </a:cubicBezTo>
                <a:cubicBezTo>
                  <a:pt x="1293872" y="888644"/>
                  <a:pt x="1307577" y="874990"/>
                  <a:pt x="1307577" y="858207"/>
                </a:cubicBezTo>
                <a:cubicBezTo>
                  <a:pt x="1307577" y="841424"/>
                  <a:pt x="1293872" y="827770"/>
                  <a:pt x="1277025" y="827770"/>
                </a:cubicBezTo>
                <a:cubicBezTo>
                  <a:pt x="1260178" y="827770"/>
                  <a:pt x="1246472" y="841424"/>
                  <a:pt x="1246472" y="858207"/>
                </a:cubicBezTo>
                <a:close/>
                <a:moveTo>
                  <a:pt x="1365161" y="858207"/>
                </a:moveTo>
                <a:cubicBezTo>
                  <a:pt x="1365161" y="874990"/>
                  <a:pt x="1378867" y="888644"/>
                  <a:pt x="1395714" y="888644"/>
                </a:cubicBezTo>
                <a:cubicBezTo>
                  <a:pt x="1412561" y="888644"/>
                  <a:pt x="1426266" y="874990"/>
                  <a:pt x="1426266" y="858207"/>
                </a:cubicBezTo>
                <a:cubicBezTo>
                  <a:pt x="1426266" y="841424"/>
                  <a:pt x="1412561" y="827770"/>
                  <a:pt x="1395714" y="827770"/>
                </a:cubicBezTo>
                <a:cubicBezTo>
                  <a:pt x="1378867" y="827770"/>
                  <a:pt x="1365161" y="841424"/>
                  <a:pt x="1365161" y="858207"/>
                </a:cubicBezTo>
                <a:close/>
                <a:moveTo>
                  <a:pt x="1424553" y="858207"/>
                </a:moveTo>
                <a:cubicBezTo>
                  <a:pt x="1424553" y="874990"/>
                  <a:pt x="1438259" y="888644"/>
                  <a:pt x="1455106" y="888644"/>
                </a:cubicBezTo>
                <a:cubicBezTo>
                  <a:pt x="1471953" y="888644"/>
                  <a:pt x="1485658" y="874990"/>
                  <a:pt x="1485658" y="858207"/>
                </a:cubicBezTo>
                <a:cubicBezTo>
                  <a:pt x="1485658" y="841424"/>
                  <a:pt x="1471953" y="827770"/>
                  <a:pt x="1455106" y="827770"/>
                </a:cubicBezTo>
                <a:cubicBezTo>
                  <a:pt x="1438259" y="827770"/>
                  <a:pt x="1424553" y="841424"/>
                  <a:pt x="1424553" y="858207"/>
                </a:cubicBezTo>
                <a:close/>
                <a:moveTo>
                  <a:pt x="95" y="917374"/>
                </a:moveTo>
                <a:cubicBezTo>
                  <a:pt x="95" y="934157"/>
                  <a:pt x="13801" y="947811"/>
                  <a:pt x="30648" y="947811"/>
                </a:cubicBezTo>
                <a:cubicBezTo>
                  <a:pt x="47495" y="947811"/>
                  <a:pt x="61200" y="934157"/>
                  <a:pt x="61200" y="917374"/>
                </a:cubicBezTo>
                <a:cubicBezTo>
                  <a:pt x="61200" y="900591"/>
                  <a:pt x="47495" y="886937"/>
                  <a:pt x="30648" y="886937"/>
                </a:cubicBezTo>
                <a:cubicBezTo>
                  <a:pt x="13801" y="886937"/>
                  <a:pt x="95" y="900591"/>
                  <a:pt x="95" y="917374"/>
                </a:cubicBezTo>
                <a:close/>
                <a:moveTo>
                  <a:pt x="593635" y="917374"/>
                </a:moveTo>
                <a:cubicBezTo>
                  <a:pt x="593635" y="934157"/>
                  <a:pt x="607341" y="947811"/>
                  <a:pt x="624188" y="947811"/>
                </a:cubicBezTo>
                <a:cubicBezTo>
                  <a:pt x="641035" y="947811"/>
                  <a:pt x="654740" y="934157"/>
                  <a:pt x="654740" y="917374"/>
                </a:cubicBezTo>
                <a:cubicBezTo>
                  <a:pt x="654740" y="900591"/>
                  <a:pt x="641035" y="886937"/>
                  <a:pt x="624188" y="886937"/>
                </a:cubicBezTo>
                <a:cubicBezTo>
                  <a:pt x="607341" y="886937"/>
                  <a:pt x="593635" y="900591"/>
                  <a:pt x="593635" y="917374"/>
                </a:cubicBezTo>
                <a:close/>
                <a:moveTo>
                  <a:pt x="712324" y="917374"/>
                </a:moveTo>
                <a:cubicBezTo>
                  <a:pt x="712324" y="934157"/>
                  <a:pt x="726030" y="947811"/>
                  <a:pt x="742877" y="947811"/>
                </a:cubicBezTo>
                <a:cubicBezTo>
                  <a:pt x="759724" y="947811"/>
                  <a:pt x="773429" y="934157"/>
                  <a:pt x="773429" y="917374"/>
                </a:cubicBezTo>
                <a:cubicBezTo>
                  <a:pt x="773429" y="900591"/>
                  <a:pt x="759724" y="886937"/>
                  <a:pt x="742877" y="886937"/>
                </a:cubicBezTo>
                <a:cubicBezTo>
                  <a:pt x="726030" y="886937"/>
                  <a:pt x="712324" y="900591"/>
                  <a:pt x="712324" y="917374"/>
                </a:cubicBezTo>
                <a:close/>
                <a:moveTo>
                  <a:pt x="771621" y="917374"/>
                </a:moveTo>
                <a:cubicBezTo>
                  <a:pt x="771621" y="934157"/>
                  <a:pt x="785327" y="947811"/>
                  <a:pt x="802174" y="947811"/>
                </a:cubicBezTo>
                <a:cubicBezTo>
                  <a:pt x="819021" y="947811"/>
                  <a:pt x="832726" y="934157"/>
                  <a:pt x="832726" y="917374"/>
                </a:cubicBezTo>
                <a:cubicBezTo>
                  <a:pt x="832726" y="900591"/>
                  <a:pt x="819021" y="886937"/>
                  <a:pt x="802174" y="886937"/>
                </a:cubicBezTo>
                <a:cubicBezTo>
                  <a:pt x="785327" y="886937"/>
                  <a:pt x="771621" y="900591"/>
                  <a:pt x="771621" y="917374"/>
                </a:cubicBezTo>
                <a:close/>
                <a:moveTo>
                  <a:pt x="890310" y="917374"/>
                </a:moveTo>
                <a:cubicBezTo>
                  <a:pt x="890310" y="934157"/>
                  <a:pt x="904016" y="947811"/>
                  <a:pt x="920863" y="947811"/>
                </a:cubicBezTo>
                <a:cubicBezTo>
                  <a:pt x="937709" y="947811"/>
                  <a:pt x="951415" y="934157"/>
                  <a:pt x="951415" y="917374"/>
                </a:cubicBezTo>
                <a:cubicBezTo>
                  <a:pt x="951415" y="900591"/>
                  <a:pt x="937709" y="886937"/>
                  <a:pt x="920863" y="886937"/>
                </a:cubicBezTo>
                <a:cubicBezTo>
                  <a:pt x="904016" y="886937"/>
                  <a:pt x="890310" y="900591"/>
                  <a:pt x="890310" y="917374"/>
                </a:cubicBezTo>
                <a:close/>
                <a:moveTo>
                  <a:pt x="949702" y="917374"/>
                </a:moveTo>
                <a:cubicBezTo>
                  <a:pt x="949702" y="934157"/>
                  <a:pt x="963408" y="947811"/>
                  <a:pt x="980255" y="947811"/>
                </a:cubicBezTo>
                <a:cubicBezTo>
                  <a:pt x="997101" y="947811"/>
                  <a:pt x="1010807" y="934157"/>
                  <a:pt x="1010807" y="917374"/>
                </a:cubicBezTo>
                <a:cubicBezTo>
                  <a:pt x="1010807" y="900591"/>
                  <a:pt x="997101" y="886937"/>
                  <a:pt x="980255" y="886937"/>
                </a:cubicBezTo>
                <a:cubicBezTo>
                  <a:pt x="963408" y="886937"/>
                  <a:pt x="949702" y="900591"/>
                  <a:pt x="949702" y="917374"/>
                </a:cubicBezTo>
                <a:close/>
                <a:moveTo>
                  <a:pt x="1127783" y="917374"/>
                </a:moveTo>
                <a:cubicBezTo>
                  <a:pt x="1127783" y="934157"/>
                  <a:pt x="1141489" y="947811"/>
                  <a:pt x="1158336" y="947811"/>
                </a:cubicBezTo>
                <a:cubicBezTo>
                  <a:pt x="1175183" y="947811"/>
                  <a:pt x="1188888" y="934157"/>
                  <a:pt x="1188888" y="917374"/>
                </a:cubicBezTo>
                <a:cubicBezTo>
                  <a:pt x="1188888" y="900591"/>
                  <a:pt x="1175183" y="886937"/>
                  <a:pt x="1158336" y="886937"/>
                </a:cubicBezTo>
                <a:cubicBezTo>
                  <a:pt x="1141489" y="886937"/>
                  <a:pt x="1127783" y="900591"/>
                  <a:pt x="1127783" y="917374"/>
                </a:cubicBezTo>
                <a:close/>
                <a:moveTo>
                  <a:pt x="1187080" y="917374"/>
                </a:moveTo>
                <a:cubicBezTo>
                  <a:pt x="1187080" y="934157"/>
                  <a:pt x="1200786" y="947811"/>
                  <a:pt x="1217633" y="947811"/>
                </a:cubicBezTo>
                <a:cubicBezTo>
                  <a:pt x="1234479" y="947811"/>
                  <a:pt x="1248185" y="934157"/>
                  <a:pt x="1248185" y="917374"/>
                </a:cubicBezTo>
                <a:cubicBezTo>
                  <a:pt x="1248185" y="900591"/>
                  <a:pt x="1234479" y="886937"/>
                  <a:pt x="1217633" y="886937"/>
                </a:cubicBezTo>
                <a:cubicBezTo>
                  <a:pt x="1200786" y="886937"/>
                  <a:pt x="1187080" y="900591"/>
                  <a:pt x="1187080" y="917374"/>
                </a:cubicBezTo>
                <a:close/>
                <a:moveTo>
                  <a:pt x="1424553" y="917374"/>
                </a:moveTo>
                <a:cubicBezTo>
                  <a:pt x="1424553" y="934157"/>
                  <a:pt x="1438259" y="947811"/>
                  <a:pt x="1455106" y="947811"/>
                </a:cubicBezTo>
                <a:cubicBezTo>
                  <a:pt x="1471953" y="947811"/>
                  <a:pt x="1485658" y="934157"/>
                  <a:pt x="1485658" y="917374"/>
                </a:cubicBezTo>
                <a:cubicBezTo>
                  <a:pt x="1485658" y="900591"/>
                  <a:pt x="1471953" y="886937"/>
                  <a:pt x="1455106" y="886937"/>
                </a:cubicBezTo>
                <a:cubicBezTo>
                  <a:pt x="1438259" y="886937"/>
                  <a:pt x="1424553" y="900591"/>
                  <a:pt x="1424553" y="917374"/>
                </a:cubicBezTo>
                <a:close/>
                <a:moveTo>
                  <a:pt x="95" y="976446"/>
                </a:moveTo>
                <a:cubicBezTo>
                  <a:pt x="95" y="993229"/>
                  <a:pt x="13801" y="1006883"/>
                  <a:pt x="30648" y="1006883"/>
                </a:cubicBezTo>
                <a:cubicBezTo>
                  <a:pt x="47495" y="1006883"/>
                  <a:pt x="61200" y="993229"/>
                  <a:pt x="61200" y="976446"/>
                </a:cubicBezTo>
                <a:cubicBezTo>
                  <a:pt x="61200" y="959663"/>
                  <a:pt x="47495" y="946009"/>
                  <a:pt x="30648" y="946009"/>
                </a:cubicBezTo>
                <a:cubicBezTo>
                  <a:pt x="13801" y="946009"/>
                  <a:pt x="95" y="959663"/>
                  <a:pt x="95" y="976446"/>
                </a:cubicBezTo>
                <a:close/>
                <a:moveTo>
                  <a:pt x="178081" y="976446"/>
                </a:moveTo>
                <a:cubicBezTo>
                  <a:pt x="178081" y="993229"/>
                  <a:pt x="191787" y="1006883"/>
                  <a:pt x="208634" y="1006883"/>
                </a:cubicBezTo>
                <a:cubicBezTo>
                  <a:pt x="225480" y="1006883"/>
                  <a:pt x="239186" y="993229"/>
                  <a:pt x="239186" y="976446"/>
                </a:cubicBezTo>
                <a:cubicBezTo>
                  <a:pt x="239186" y="959663"/>
                  <a:pt x="225480" y="946009"/>
                  <a:pt x="208634" y="946009"/>
                </a:cubicBezTo>
                <a:cubicBezTo>
                  <a:pt x="191787" y="946009"/>
                  <a:pt x="178081" y="959663"/>
                  <a:pt x="178081" y="976446"/>
                </a:cubicBezTo>
                <a:close/>
                <a:moveTo>
                  <a:pt x="356162" y="976446"/>
                </a:moveTo>
                <a:cubicBezTo>
                  <a:pt x="356162" y="993229"/>
                  <a:pt x="369868" y="1006883"/>
                  <a:pt x="386715" y="1006883"/>
                </a:cubicBezTo>
                <a:cubicBezTo>
                  <a:pt x="403562" y="1006883"/>
                  <a:pt x="417267" y="993229"/>
                  <a:pt x="417267" y="976446"/>
                </a:cubicBezTo>
                <a:cubicBezTo>
                  <a:pt x="417267" y="959663"/>
                  <a:pt x="403562" y="946009"/>
                  <a:pt x="386715" y="946009"/>
                </a:cubicBezTo>
                <a:cubicBezTo>
                  <a:pt x="369868" y="946009"/>
                  <a:pt x="356162" y="959663"/>
                  <a:pt x="356162" y="976446"/>
                </a:cubicBezTo>
                <a:close/>
                <a:moveTo>
                  <a:pt x="415554" y="976446"/>
                </a:moveTo>
                <a:cubicBezTo>
                  <a:pt x="415554" y="993229"/>
                  <a:pt x="429260" y="1006883"/>
                  <a:pt x="446107" y="1006883"/>
                </a:cubicBezTo>
                <a:cubicBezTo>
                  <a:pt x="462954" y="1006883"/>
                  <a:pt x="476659" y="993229"/>
                  <a:pt x="476659" y="976446"/>
                </a:cubicBezTo>
                <a:cubicBezTo>
                  <a:pt x="476659" y="959663"/>
                  <a:pt x="462954" y="946009"/>
                  <a:pt x="446107" y="946009"/>
                </a:cubicBezTo>
                <a:cubicBezTo>
                  <a:pt x="429260" y="946009"/>
                  <a:pt x="415554" y="959663"/>
                  <a:pt x="415554" y="976446"/>
                </a:cubicBezTo>
                <a:close/>
                <a:moveTo>
                  <a:pt x="534243" y="976446"/>
                </a:moveTo>
                <a:cubicBezTo>
                  <a:pt x="534243" y="993229"/>
                  <a:pt x="547949" y="1006883"/>
                  <a:pt x="564796" y="1006883"/>
                </a:cubicBezTo>
                <a:cubicBezTo>
                  <a:pt x="581643" y="1006883"/>
                  <a:pt x="595348" y="993229"/>
                  <a:pt x="595348" y="976446"/>
                </a:cubicBezTo>
                <a:cubicBezTo>
                  <a:pt x="595348" y="959663"/>
                  <a:pt x="581643" y="946009"/>
                  <a:pt x="564796" y="946009"/>
                </a:cubicBezTo>
                <a:cubicBezTo>
                  <a:pt x="547949" y="946009"/>
                  <a:pt x="534243" y="959663"/>
                  <a:pt x="534243" y="976446"/>
                </a:cubicBezTo>
                <a:close/>
                <a:moveTo>
                  <a:pt x="593635" y="976446"/>
                </a:moveTo>
                <a:cubicBezTo>
                  <a:pt x="593635" y="993229"/>
                  <a:pt x="607341" y="1006883"/>
                  <a:pt x="624188" y="1006883"/>
                </a:cubicBezTo>
                <a:cubicBezTo>
                  <a:pt x="641035" y="1006883"/>
                  <a:pt x="654740" y="993229"/>
                  <a:pt x="654740" y="976446"/>
                </a:cubicBezTo>
                <a:cubicBezTo>
                  <a:pt x="654740" y="959663"/>
                  <a:pt x="641035" y="946009"/>
                  <a:pt x="624188" y="946009"/>
                </a:cubicBezTo>
                <a:cubicBezTo>
                  <a:pt x="607341" y="946009"/>
                  <a:pt x="593635" y="959663"/>
                  <a:pt x="593635" y="976446"/>
                </a:cubicBezTo>
                <a:close/>
                <a:moveTo>
                  <a:pt x="712324" y="976446"/>
                </a:moveTo>
                <a:cubicBezTo>
                  <a:pt x="712324" y="993229"/>
                  <a:pt x="726030" y="1006883"/>
                  <a:pt x="742877" y="1006883"/>
                </a:cubicBezTo>
                <a:cubicBezTo>
                  <a:pt x="759724" y="1006883"/>
                  <a:pt x="773429" y="993229"/>
                  <a:pt x="773429" y="976446"/>
                </a:cubicBezTo>
                <a:cubicBezTo>
                  <a:pt x="773429" y="959663"/>
                  <a:pt x="759724" y="946009"/>
                  <a:pt x="742877" y="946009"/>
                </a:cubicBezTo>
                <a:cubicBezTo>
                  <a:pt x="726030" y="946009"/>
                  <a:pt x="712324" y="959663"/>
                  <a:pt x="712324" y="976446"/>
                </a:cubicBezTo>
                <a:close/>
                <a:moveTo>
                  <a:pt x="831013" y="976446"/>
                </a:moveTo>
                <a:cubicBezTo>
                  <a:pt x="831013" y="993229"/>
                  <a:pt x="844719" y="1006883"/>
                  <a:pt x="861566" y="1006883"/>
                </a:cubicBezTo>
                <a:cubicBezTo>
                  <a:pt x="878413" y="1006883"/>
                  <a:pt x="892118" y="993229"/>
                  <a:pt x="892118" y="976446"/>
                </a:cubicBezTo>
                <a:cubicBezTo>
                  <a:pt x="892118" y="959663"/>
                  <a:pt x="878413" y="946009"/>
                  <a:pt x="861566" y="946009"/>
                </a:cubicBezTo>
                <a:cubicBezTo>
                  <a:pt x="844719" y="946009"/>
                  <a:pt x="831013" y="959663"/>
                  <a:pt x="831013" y="976446"/>
                </a:cubicBezTo>
                <a:close/>
                <a:moveTo>
                  <a:pt x="890310" y="976446"/>
                </a:moveTo>
                <a:cubicBezTo>
                  <a:pt x="890310" y="993229"/>
                  <a:pt x="904016" y="1006883"/>
                  <a:pt x="920863" y="1006883"/>
                </a:cubicBezTo>
                <a:cubicBezTo>
                  <a:pt x="937709" y="1006883"/>
                  <a:pt x="951415" y="993229"/>
                  <a:pt x="951415" y="976446"/>
                </a:cubicBezTo>
                <a:cubicBezTo>
                  <a:pt x="951415" y="959663"/>
                  <a:pt x="937709" y="946009"/>
                  <a:pt x="920863" y="946009"/>
                </a:cubicBezTo>
                <a:cubicBezTo>
                  <a:pt x="904016" y="946009"/>
                  <a:pt x="890310" y="959663"/>
                  <a:pt x="890310" y="976446"/>
                </a:cubicBezTo>
                <a:close/>
                <a:moveTo>
                  <a:pt x="949702" y="976446"/>
                </a:moveTo>
                <a:cubicBezTo>
                  <a:pt x="949702" y="993229"/>
                  <a:pt x="963408" y="1006883"/>
                  <a:pt x="980255" y="1006883"/>
                </a:cubicBezTo>
                <a:cubicBezTo>
                  <a:pt x="997101" y="1006883"/>
                  <a:pt x="1010807" y="993229"/>
                  <a:pt x="1010807" y="976446"/>
                </a:cubicBezTo>
                <a:cubicBezTo>
                  <a:pt x="1010807" y="959663"/>
                  <a:pt x="997101" y="946009"/>
                  <a:pt x="980255" y="946009"/>
                </a:cubicBezTo>
                <a:cubicBezTo>
                  <a:pt x="963408" y="946009"/>
                  <a:pt x="949702" y="959663"/>
                  <a:pt x="949702" y="976446"/>
                </a:cubicBezTo>
                <a:close/>
                <a:moveTo>
                  <a:pt x="1009094" y="976446"/>
                </a:moveTo>
                <a:cubicBezTo>
                  <a:pt x="1009094" y="993229"/>
                  <a:pt x="1022800" y="1006883"/>
                  <a:pt x="1039647" y="1006883"/>
                </a:cubicBezTo>
                <a:cubicBezTo>
                  <a:pt x="1056494" y="1006883"/>
                  <a:pt x="1070199" y="993229"/>
                  <a:pt x="1070199" y="976446"/>
                </a:cubicBezTo>
                <a:cubicBezTo>
                  <a:pt x="1070199" y="959663"/>
                  <a:pt x="1056494" y="946009"/>
                  <a:pt x="1039647" y="946009"/>
                </a:cubicBezTo>
                <a:cubicBezTo>
                  <a:pt x="1022800" y="946009"/>
                  <a:pt x="1009094" y="959663"/>
                  <a:pt x="1009094" y="976446"/>
                </a:cubicBezTo>
                <a:close/>
                <a:moveTo>
                  <a:pt x="1068391" y="976446"/>
                </a:moveTo>
                <a:cubicBezTo>
                  <a:pt x="1068391" y="993229"/>
                  <a:pt x="1082097" y="1006883"/>
                  <a:pt x="1098944" y="1006883"/>
                </a:cubicBezTo>
                <a:cubicBezTo>
                  <a:pt x="1115790" y="1006883"/>
                  <a:pt x="1129496" y="993229"/>
                  <a:pt x="1129496" y="976446"/>
                </a:cubicBezTo>
                <a:cubicBezTo>
                  <a:pt x="1129496" y="959663"/>
                  <a:pt x="1115790" y="946009"/>
                  <a:pt x="1098944" y="946009"/>
                </a:cubicBezTo>
                <a:cubicBezTo>
                  <a:pt x="1082097" y="946009"/>
                  <a:pt x="1068391" y="959663"/>
                  <a:pt x="1068391" y="976446"/>
                </a:cubicBezTo>
                <a:close/>
                <a:moveTo>
                  <a:pt x="1127783" y="976446"/>
                </a:moveTo>
                <a:cubicBezTo>
                  <a:pt x="1127783" y="993229"/>
                  <a:pt x="1141489" y="1006883"/>
                  <a:pt x="1158336" y="1006883"/>
                </a:cubicBezTo>
                <a:cubicBezTo>
                  <a:pt x="1175183" y="1006883"/>
                  <a:pt x="1188888" y="993229"/>
                  <a:pt x="1188888" y="976446"/>
                </a:cubicBezTo>
                <a:cubicBezTo>
                  <a:pt x="1188888" y="959663"/>
                  <a:pt x="1175183" y="946009"/>
                  <a:pt x="1158336" y="946009"/>
                </a:cubicBezTo>
                <a:cubicBezTo>
                  <a:pt x="1141489" y="946009"/>
                  <a:pt x="1127783" y="959663"/>
                  <a:pt x="1127783" y="976446"/>
                </a:cubicBezTo>
                <a:close/>
                <a:moveTo>
                  <a:pt x="1187080" y="976446"/>
                </a:moveTo>
                <a:cubicBezTo>
                  <a:pt x="1187080" y="993229"/>
                  <a:pt x="1200786" y="1006883"/>
                  <a:pt x="1217633" y="1006883"/>
                </a:cubicBezTo>
                <a:cubicBezTo>
                  <a:pt x="1234479" y="1006883"/>
                  <a:pt x="1248185" y="993229"/>
                  <a:pt x="1248185" y="976446"/>
                </a:cubicBezTo>
                <a:cubicBezTo>
                  <a:pt x="1248185" y="959663"/>
                  <a:pt x="1234479" y="946009"/>
                  <a:pt x="1217633" y="946009"/>
                </a:cubicBezTo>
                <a:cubicBezTo>
                  <a:pt x="1200786" y="946009"/>
                  <a:pt x="1187080" y="959663"/>
                  <a:pt x="1187080" y="976446"/>
                </a:cubicBezTo>
                <a:close/>
                <a:moveTo>
                  <a:pt x="1305769" y="976446"/>
                </a:moveTo>
                <a:cubicBezTo>
                  <a:pt x="1305769" y="993229"/>
                  <a:pt x="1319475" y="1006883"/>
                  <a:pt x="1336322" y="1006883"/>
                </a:cubicBezTo>
                <a:cubicBezTo>
                  <a:pt x="1353168" y="1006883"/>
                  <a:pt x="1366874" y="993229"/>
                  <a:pt x="1366874" y="976446"/>
                </a:cubicBezTo>
                <a:cubicBezTo>
                  <a:pt x="1366874" y="959663"/>
                  <a:pt x="1353168" y="946009"/>
                  <a:pt x="1336322" y="946009"/>
                </a:cubicBezTo>
                <a:cubicBezTo>
                  <a:pt x="1319475" y="946009"/>
                  <a:pt x="1305769" y="959663"/>
                  <a:pt x="1305769" y="976446"/>
                </a:cubicBezTo>
                <a:close/>
                <a:moveTo>
                  <a:pt x="474851" y="1035613"/>
                </a:moveTo>
                <a:cubicBezTo>
                  <a:pt x="474851" y="1052396"/>
                  <a:pt x="488557" y="1066050"/>
                  <a:pt x="505404" y="1066050"/>
                </a:cubicBezTo>
                <a:cubicBezTo>
                  <a:pt x="522250" y="1066050"/>
                  <a:pt x="535956" y="1052396"/>
                  <a:pt x="535956" y="1035613"/>
                </a:cubicBezTo>
                <a:cubicBezTo>
                  <a:pt x="535956" y="1018830"/>
                  <a:pt x="522250" y="1005176"/>
                  <a:pt x="505404" y="1005176"/>
                </a:cubicBezTo>
                <a:cubicBezTo>
                  <a:pt x="488557" y="1005176"/>
                  <a:pt x="474851" y="1018830"/>
                  <a:pt x="474851" y="1035613"/>
                </a:cubicBezTo>
                <a:close/>
                <a:moveTo>
                  <a:pt x="534243" y="1035613"/>
                </a:moveTo>
                <a:cubicBezTo>
                  <a:pt x="534243" y="1052396"/>
                  <a:pt x="547949" y="1066050"/>
                  <a:pt x="564796" y="1066050"/>
                </a:cubicBezTo>
                <a:cubicBezTo>
                  <a:pt x="581643" y="1066050"/>
                  <a:pt x="595348" y="1052396"/>
                  <a:pt x="595348" y="1035613"/>
                </a:cubicBezTo>
                <a:cubicBezTo>
                  <a:pt x="595348" y="1018830"/>
                  <a:pt x="581643" y="1005176"/>
                  <a:pt x="564796" y="1005176"/>
                </a:cubicBezTo>
                <a:cubicBezTo>
                  <a:pt x="547949" y="1005176"/>
                  <a:pt x="534243" y="1018830"/>
                  <a:pt x="534243" y="1035613"/>
                </a:cubicBezTo>
                <a:close/>
                <a:moveTo>
                  <a:pt x="593635" y="1035613"/>
                </a:moveTo>
                <a:cubicBezTo>
                  <a:pt x="593635" y="1052396"/>
                  <a:pt x="607341" y="1066050"/>
                  <a:pt x="624188" y="1066050"/>
                </a:cubicBezTo>
                <a:cubicBezTo>
                  <a:pt x="641035" y="1066050"/>
                  <a:pt x="654740" y="1052396"/>
                  <a:pt x="654740" y="1035613"/>
                </a:cubicBezTo>
                <a:cubicBezTo>
                  <a:pt x="654740" y="1018830"/>
                  <a:pt x="641035" y="1005176"/>
                  <a:pt x="624188" y="1005176"/>
                </a:cubicBezTo>
                <a:cubicBezTo>
                  <a:pt x="607341" y="1005176"/>
                  <a:pt x="593635" y="1018830"/>
                  <a:pt x="593635" y="1035613"/>
                </a:cubicBezTo>
                <a:close/>
                <a:moveTo>
                  <a:pt x="890310" y="1035613"/>
                </a:moveTo>
                <a:cubicBezTo>
                  <a:pt x="890310" y="1052396"/>
                  <a:pt x="904016" y="1066050"/>
                  <a:pt x="920863" y="1066050"/>
                </a:cubicBezTo>
                <a:cubicBezTo>
                  <a:pt x="937709" y="1066050"/>
                  <a:pt x="951415" y="1052396"/>
                  <a:pt x="951415" y="1035613"/>
                </a:cubicBezTo>
                <a:cubicBezTo>
                  <a:pt x="951415" y="1018830"/>
                  <a:pt x="937709" y="1005176"/>
                  <a:pt x="920863" y="1005176"/>
                </a:cubicBezTo>
                <a:cubicBezTo>
                  <a:pt x="904016" y="1005176"/>
                  <a:pt x="890310" y="1018830"/>
                  <a:pt x="890310" y="1035613"/>
                </a:cubicBezTo>
                <a:close/>
                <a:moveTo>
                  <a:pt x="949702" y="1035613"/>
                </a:moveTo>
                <a:cubicBezTo>
                  <a:pt x="949702" y="1052396"/>
                  <a:pt x="963408" y="1066050"/>
                  <a:pt x="980255" y="1066050"/>
                </a:cubicBezTo>
                <a:cubicBezTo>
                  <a:pt x="997101" y="1066050"/>
                  <a:pt x="1010807" y="1052396"/>
                  <a:pt x="1010807" y="1035613"/>
                </a:cubicBezTo>
                <a:cubicBezTo>
                  <a:pt x="1010807" y="1018830"/>
                  <a:pt x="997101" y="1005176"/>
                  <a:pt x="980255" y="1005176"/>
                </a:cubicBezTo>
                <a:cubicBezTo>
                  <a:pt x="963408" y="1005176"/>
                  <a:pt x="949702" y="1018830"/>
                  <a:pt x="949702" y="1035613"/>
                </a:cubicBezTo>
                <a:close/>
                <a:moveTo>
                  <a:pt x="1187080" y="1035613"/>
                </a:moveTo>
                <a:cubicBezTo>
                  <a:pt x="1187080" y="1052396"/>
                  <a:pt x="1200786" y="1066050"/>
                  <a:pt x="1217633" y="1066050"/>
                </a:cubicBezTo>
                <a:cubicBezTo>
                  <a:pt x="1234479" y="1066050"/>
                  <a:pt x="1248185" y="1052396"/>
                  <a:pt x="1248185" y="1035613"/>
                </a:cubicBezTo>
                <a:cubicBezTo>
                  <a:pt x="1248185" y="1018830"/>
                  <a:pt x="1234479" y="1005176"/>
                  <a:pt x="1217633" y="1005176"/>
                </a:cubicBezTo>
                <a:cubicBezTo>
                  <a:pt x="1200786" y="1005176"/>
                  <a:pt x="1187080" y="1018830"/>
                  <a:pt x="1187080" y="1035613"/>
                </a:cubicBezTo>
                <a:close/>
                <a:moveTo>
                  <a:pt x="1246472" y="1035613"/>
                </a:moveTo>
                <a:cubicBezTo>
                  <a:pt x="1246472" y="1052396"/>
                  <a:pt x="1260178" y="1066050"/>
                  <a:pt x="1277025" y="1066050"/>
                </a:cubicBezTo>
                <a:cubicBezTo>
                  <a:pt x="1293872" y="1066050"/>
                  <a:pt x="1307577" y="1052396"/>
                  <a:pt x="1307577" y="1035613"/>
                </a:cubicBezTo>
                <a:cubicBezTo>
                  <a:pt x="1307577" y="1018830"/>
                  <a:pt x="1293872" y="1005176"/>
                  <a:pt x="1277025" y="1005176"/>
                </a:cubicBezTo>
                <a:cubicBezTo>
                  <a:pt x="1260178" y="1005176"/>
                  <a:pt x="1246472" y="1018830"/>
                  <a:pt x="1246472" y="1035613"/>
                </a:cubicBezTo>
                <a:close/>
                <a:moveTo>
                  <a:pt x="652932" y="1094685"/>
                </a:moveTo>
                <a:cubicBezTo>
                  <a:pt x="652932" y="1111468"/>
                  <a:pt x="666638" y="1125122"/>
                  <a:pt x="683485" y="1125122"/>
                </a:cubicBezTo>
                <a:cubicBezTo>
                  <a:pt x="700332" y="1125122"/>
                  <a:pt x="714037" y="1111468"/>
                  <a:pt x="714037" y="1094685"/>
                </a:cubicBezTo>
                <a:cubicBezTo>
                  <a:pt x="714037" y="1077902"/>
                  <a:pt x="700332" y="1064249"/>
                  <a:pt x="683485" y="1064249"/>
                </a:cubicBezTo>
                <a:cubicBezTo>
                  <a:pt x="666638" y="1064249"/>
                  <a:pt x="652932" y="1077902"/>
                  <a:pt x="652932" y="1094685"/>
                </a:cubicBezTo>
                <a:close/>
                <a:moveTo>
                  <a:pt x="712324" y="1094685"/>
                </a:moveTo>
                <a:cubicBezTo>
                  <a:pt x="712324" y="1111468"/>
                  <a:pt x="726030" y="1125122"/>
                  <a:pt x="742877" y="1125122"/>
                </a:cubicBezTo>
                <a:cubicBezTo>
                  <a:pt x="759724" y="1125122"/>
                  <a:pt x="773429" y="1111468"/>
                  <a:pt x="773429" y="1094685"/>
                </a:cubicBezTo>
                <a:cubicBezTo>
                  <a:pt x="773429" y="1077902"/>
                  <a:pt x="759724" y="1064249"/>
                  <a:pt x="742877" y="1064249"/>
                </a:cubicBezTo>
                <a:cubicBezTo>
                  <a:pt x="726030" y="1064249"/>
                  <a:pt x="712324" y="1077902"/>
                  <a:pt x="712324" y="1094685"/>
                </a:cubicBezTo>
                <a:close/>
                <a:moveTo>
                  <a:pt x="949702" y="1094685"/>
                </a:moveTo>
                <a:cubicBezTo>
                  <a:pt x="949702" y="1111468"/>
                  <a:pt x="963408" y="1125122"/>
                  <a:pt x="980255" y="1125122"/>
                </a:cubicBezTo>
                <a:cubicBezTo>
                  <a:pt x="997101" y="1125122"/>
                  <a:pt x="1010807" y="1111468"/>
                  <a:pt x="1010807" y="1094685"/>
                </a:cubicBezTo>
                <a:cubicBezTo>
                  <a:pt x="1010807" y="1077902"/>
                  <a:pt x="997101" y="1064249"/>
                  <a:pt x="980255" y="1064249"/>
                </a:cubicBezTo>
                <a:cubicBezTo>
                  <a:pt x="963408" y="1064249"/>
                  <a:pt x="949702" y="1077902"/>
                  <a:pt x="949702" y="1094685"/>
                </a:cubicBezTo>
                <a:close/>
                <a:moveTo>
                  <a:pt x="1068391" y="1094685"/>
                </a:moveTo>
                <a:cubicBezTo>
                  <a:pt x="1068391" y="1111468"/>
                  <a:pt x="1082097" y="1125122"/>
                  <a:pt x="1098944" y="1125122"/>
                </a:cubicBezTo>
                <a:cubicBezTo>
                  <a:pt x="1115790" y="1125122"/>
                  <a:pt x="1129496" y="1111468"/>
                  <a:pt x="1129496" y="1094685"/>
                </a:cubicBezTo>
                <a:cubicBezTo>
                  <a:pt x="1129496" y="1077902"/>
                  <a:pt x="1115790" y="1064249"/>
                  <a:pt x="1098944" y="1064249"/>
                </a:cubicBezTo>
                <a:cubicBezTo>
                  <a:pt x="1082097" y="1064249"/>
                  <a:pt x="1068391" y="1077902"/>
                  <a:pt x="1068391" y="1094685"/>
                </a:cubicBezTo>
                <a:close/>
                <a:moveTo>
                  <a:pt x="1187080" y="1094685"/>
                </a:moveTo>
                <a:cubicBezTo>
                  <a:pt x="1187080" y="1111468"/>
                  <a:pt x="1200786" y="1125122"/>
                  <a:pt x="1217633" y="1125122"/>
                </a:cubicBezTo>
                <a:cubicBezTo>
                  <a:pt x="1234479" y="1125122"/>
                  <a:pt x="1248185" y="1111468"/>
                  <a:pt x="1248185" y="1094685"/>
                </a:cubicBezTo>
                <a:cubicBezTo>
                  <a:pt x="1248185" y="1077902"/>
                  <a:pt x="1234479" y="1064249"/>
                  <a:pt x="1217633" y="1064249"/>
                </a:cubicBezTo>
                <a:cubicBezTo>
                  <a:pt x="1200786" y="1064249"/>
                  <a:pt x="1187080" y="1077902"/>
                  <a:pt x="1187080" y="1094685"/>
                </a:cubicBezTo>
                <a:close/>
                <a:moveTo>
                  <a:pt x="1305769" y="1094685"/>
                </a:moveTo>
                <a:cubicBezTo>
                  <a:pt x="1305769" y="1111468"/>
                  <a:pt x="1319475" y="1125122"/>
                  <a:pt x="1336322" y="1125122"/>
                </a:cubicBezTo>
                <a:cubicBezTo>
                  <a:pt x="1353168" y="1125122"/>
                  <a:pt x="1366874" y="1111468"/>
                  <a:pt x="1366874" y="1094685"/>
                </a:cubicBezTo>
                <a:cubicBezTo>
                  <a:pt x="1366874" y="1077902"/>
                  <a:pt x="1353168" y="1064249"/>
                  <a:pt x="1336322" y="1064249"/>
                </a:cubicBezTo>
                <a:cubicBezTo>
                  <a:pt x="1319475" y="1064249"/>
                  <a:pt x="1305769" y="1077902"/>
                  <a:pt x="1305769" y="1094685"/>
                </a:cubicBezTo>
                <a:close/>
                <a:moveTo>
                  <a:pt x="1365161" y="1094685"/>
                </a:moveTo>
                <a:cubicBezTo>
                  <a:pt x="1365161" y="1111468"/>
                  <a:pt x="1378867" y="1125122"/>
                  <a:pt x="1395714" y="1125122"/>
                </a:cubicBezTo>
                <a:cubicBezTo>
                  <a:pt x="1412561" y="1125122"/>
                  <a:pt x="1426266" y="1111468"/>
                  <a:pt x="1426266" y="1094685"/>
                </a:cubicBezTo>
                <a:cubicBezTo>
                  <a:pt x="1426266" y="1077902"/>
                  <a:pt x="1412561" y="1064249"/>
                  <a:pt x="1395714" y="1064249"/>
                </a:cubicBezTo>
                <a:cubicBezTo>
                  <a:pt x="1378867" y="1064249"/>
                  <a:pt x="1365161" y="1077902"/>
                  <a:pt x="1365161" y="1094685"/>
                </a:cubicBezTo>
                <a:close/>
                <a:moveTo>
                  <a:pt x="1424553" y="1094685"/>
                </a:moveTo>
                <a:cubicBezTo>
                  <a:pt x="1424553" y="1111468"/>
                  <a:pt x="1438259" y="1125122"/>
                  <a:pt x="1455106" y="1125122"/>
                </a:cubicBezTo>
                <a:cubicBezTo>
                  <a:pt x="1471953" y="1125122"/>
                  <a:pt x="1485658" y="1111468"/>
                  <a:pt x="1485658" y="1094685"/>
                </a:cubicBezTo>
                <a:cubicBezTo>
                  <a:pt x="1485658" y="1077902"/>
                  <a:pt x="1471953" y="1064249"/>
                  <a:pt x="1455106" y="1064249"/>
                </a:cubicBezTo>
                <a:cubicBezTo>
                  <a:pt x="1438259" y="1064249"/>
                  <a:pt x="1424553" y="1077902"/>
                  <a:pt x="1424553" y="1094685"/>
                </a:cubicBezTo>
                <a:close/>
                <a:moveTo>
                  <a:pt x="474851" y="1153853"/>
                </a:moveTo>
                <a:cubicBezTo>
                  <a:pt x="474851" y="1170635"/>
                  <a:pt x="488557" y="1184289"/>
                  <a:pt x="505404" y="1184289"/>
                </a:cubicBezTo>
                <a:cubicBezTo>
                  <a:pt x="522250" y="1184289"/>
                  <a:pt x="535956" y="1170635"/>
                  <a:pt x="535956" y="1153853"/>
                </a:cubicBezTo>
                <a:cubicBezTo>
                  <a:pt x="535956" y="1137070"/>
                  <a:pt x="522250" y="1123416"/>
                  <a:pt x="505404" y="1123416"/>
                </a:cubicBezTo>
                <a:cubicBezTo>
                  <a:pt x="488557" y="1123416"/>
                  <a:pt x="474851" y="1137070"/>
                  <a:pt x="474851" y="1153853"/>
                </a:cubicBezTo>
                <a:close/>
                <a:moveTo>
                  <a:pt x="593635" y="1153853"/>
                </a:moveTo>
                <a:cubicBezTo>
                  <a:pt x="593635" y="1170635"/>
                  <a:pt x="607341" y="1184289"/>
                  <a:pt x="624188" y="1184289"/>
                </a:cubicBezTo>
                <a:cubicBezTo>
                  <a:pt x="641035" y="1184289"/>
                  <a:pt x="654740" y="1170635"/>
                  <a:pt x="654740" y="1153853"/>
                </a:cubicBezTo>
                <a:cubicBezTo>
                  <a:pt x="654740" y="1137070"/>
                  <a:pt x="641035" y="1123416"/>
                  <a:pt x="624188" y="1123416"/>
                </a:cubicBezTo>
                <a:cubicBezTo>
                  <a:pt x="607341" y="1123416"/>
                  <a:pt x="593635" y="1137070"/>
                  <a:pt x="593635" y="1153853"/>
                </a:cubicBezTo>
                <a:close/>
                <a:moveTo>
                  <a:pt x="652932" y="1153853"/>
                </a:moveTo>
                <a:cubicBezTo>
                  <a:pt x="652932" y="1170635"/>
                  <a:pt x="666638" y="1184289"/>
                  <a:pt x="683485" y="1184289"/>
                </a:cubicBezTo>
                <a:cubicBezTo>
                  <a:pt x="700332" y="1184289"/>
                  <a:pt x="714037" y="1170635"/>
                  <a:pt x="714037" y="1153853"/>
                </a:cubicBezTo>
                <a:cubicBezTo>
                  <a:pt x="714037" y="1137070"/>
                  <a:pt x="700332" y="1123416"/>
                  <a:pt x="683485" y="1123416"/>
                </a:cubicBezTo>
                <a:cubicBezTo>
                  <a:pt x="666638" y="1123416"/>
                  <a:pt x="652932" y="1137070"/>
                  <a:pt x="652932" y="1153853"/>
                </a:cubicBezTo>
                <a:close/>
                <a:moveTo>
                  <a:pt x="831013" y="1153853"/>
                </a:moveTo>
                <a:cubicBezTo>
                  <a:pt x="831013" y="1170635"/>
                  <a:pt x="844719" y="1184289"/>
                  <a:pt x="861566" y="1184289"/>
                </a:cubicBezTo>
                <a:cubicBezTo>
                  <a:pt x="878413" y="1184289"/>
                  <a:pt x="892118" y="1170635"/>
                  <a:pt x="892118" y="1153853"/>
                </a:cubicBezTo>
                <a:cubicBezTo>
                  <a:pt x="892118" y="1137070"/>
                  <a:pt x="878413" y="1123416"/>
                  <a:pt x="861566" y="1123416"/>
                </a:cubicBezTo>
                <a:cubicBezTo>
                  <a:pt x="844719" y="1123416"/>
                  <a:pt x="831013" y="1137070"/>
                  <a:pt x="831013" y="1153853"/>
                </a:cubicBezTo>
                <a:close/>
                <a:moveTo>
                  <a:pt x="949702" y="1153853"/>
                </a:moveTo>
                <a:cubicBezTo>
                  <a:pt x="949702" y="1170635"/>
                  <a:pt x="963408" y="1184289"/>
                  <a:pt x="980255" y="1184289"/>
                </a:cubicBezTo>
                <a:cubicBezTo>
                  <a:pt x="997101" y="1184289"/>
                  <a:pt x="1010807" y="1170635"/>
                  <a:pt x="1010807" y="1153853"/>
                </a:cubicBezTo>
                <a:cubicBezTo>
                  <a:pt x="1010807" y="1137070"/>
                  <a:pt x="997101" y="1123416"/>
                  <a:pt x="980255" y="1123416"/>
                </a:cubicBezTo>
                <a:cubicBezTo>
                  <a:pt x="963408" y="1123416"/>
                  <a:pt x="949702" y="1137070"/>
                  <a:pt x="949702" y="1153853"/>
                </a:cubicBezTo>
                <a:close/>
                <a:moveTo>
                  <a:pt x="1187080" y="1153853"/>
                </a:moveTo>
                <a:cubicBezTo>
                  <a:pt x="1187080" y="1170635"/>
                  <a:pt x="1200786" y="1184289"/>
                  <a:pt x="1217633" y="1184289"/>
                </a:cubicBezTo>
                <a:cubicBezTo>
                  <a:pt x="1234479" y="1184289"/>
                  <a:pt x="1248185" y="1170635"/>
                  <a:pt x="1248185" y="1153853"/>
                </a:cubicBezTo>
                <a:cubicBezTo>
                  <a:pt x="1248185" y="1137070"/>
                  <a:pt x="1234479" y="1123416"/>
                  <a:pt x="1217633" y="1123416"/>
                </a:cubicBezTo>
                <a:cubicBezTo>
                  <a:pt x="1200786" y="1123416"/>
                  <a:pt x="1187080" y="1137070"/>
                  <a:pt x="1187080" y="1153853"/>
                </a:cubicBezTo>
                <a:close/>
                <a:moveTo>
                  <a:pt x="1246472" y="1153853"/>
                </a:moveTo>
                <a:cubicBezTo>
                  <a:pt x="1246472" y="1170635"/>
                  <a:pt x="1260178" y="1184289"/>
                  <a:pt x="1277025" y="1184289"/>
                </a:cubicBezTo>
                <a:cubicBezTo>
                  <a:pt x="1293872" y="1184289"/>
                  <a:pt x="1307577" y="1170635"/>
                  <a:pt x="1307577" y="1153853"/>
                </a:cubicBezTo>
                <a:cubicBezTo>
                  <a:pt x="1307577" y="1137070"/>
                  <a:pt x="1293872" y="1123416"/>
                  <a:pt x="1277025" y="1123416"/>
                </a:cubicBezTo>
                <a:cubicBezTo>
                  <a:pt x="1260178" y="1123416"/>
                  <a:pt x="1246472" y="1137070"/>
                  <a:pt x="1246472" y="1153853"/>
                </a:cubicBezTo>
                <a:close/>
                <a:moveTo>
                  <a:pt x="1424553" y="1153853"/>
                </a:moveTo>
                <a:cubicBezTo>
                  <a:pt x="1424553" y="1170635"/>
                  <a:pt x="1438259" y="1184289"/>
                  <a:pt x="1455106" y="1184289"/>
                </a:cubicBezTo>
                <a:cubicBezTo>
                  <a:pt x="1471953" y="1184289"/>
                  <a:pt x="1485658" y="1170635"/>
                  <a:pt x="1485658" y="1153853"/>
                </a:cubicBezTo>
                <a:cubicBezTo>
                  <a:pt x="1485658" y="1137070"/>
                  <a:pt x="1471953" y="1123416"/>
                  <a:pt x="1455106" y="1123416"/>
                </a:cubicBezTo>
                <a:cubicBezTo>
                  <a:pt x="1438259" y="1123416"/>
                  <a:pt x="1424553" y="1137070"/>
                  <a:pt x="1424553" y="1153853"/>
                </a:cubicBezTo>
                <a:close/>
                <a:moveTo>
                  <a:pt x="474851" y="1212925"/>
                </a:moveTo>
                <a:cubicBezTo>
                  <a:pt x="474851" y="1229708"/>
                  <a:pt x="488557" y="1243362"/>
                  <a:pt x="505404" y="1243362"/>
                </a:cubicBezTo>
                <a:cubicBezTo>
                  <a:pt x="522250" y="1243362"/>
                  <a:pt x="535956" y="1229708"/>
                  <a:pt x="535956" y="1212925"/>
                </a:cubicBezTo>
                <a:cubicBezTo>
                  <a:pt x="535956" y="1196142"/>
                  <a:pt x="522250" y="1182488"/>
                  <a:pt x="505404" y="1182488"/>
                </a:cubicBezTo>
                <a:cubicBezTo>
                  <a:pt x="488557" y="1182488"/>
                  <a:pt x="474851" y="1196142"/>
                  <a:pt x="474851" y="1212925"/>
                </a:cubicBezTo>
                <a:close/>
                <a:moveTo>
                  <a:pt x="534243" y="1212925"/>
                </a:moveTo>
                <a:cubicBezTo>
                  <a:pt x="534243" y="1229708"/>
                  <a:pt x="547949" y="1243362"/>
                  <a:pt x="564796" y="1243362"/>
                </a:cubicBezTo>
                <a:cubicBezTo>
                  <a:pt x="581643" y="1243362"/>
                  <a:pt x="595348" y="1229708"/>
                  <a:pt x="595348" y="1212925"/>
                </a:cubicBezTo>
                <a:cubicBezTo>
                  <a:pt x="595348" y="1196142"/>
                  <a:pt x="581643" y="1182488"/>
                  <a:pt x="564796" y="1182488"/>
                </a:cubicBezTo>
                <a:cubicBezTo>
                  <a:pt x="547949" y="1182488"/>
                  <a:pt x="534243" y="1196142"/>
                  <a:pt x="534243" y="1212925"/>
                </a:cubicBezTo>
                <a:close/>
                <a:moveTo>
                  <a:pt x="652932" y="1212925"/>
                </a:moveTo>
                <a:cubicBezTo>
                  <a:pt x="652932" y="1229708"/>
                  <a:pt x="666638" y="1243362"/>
                  <a:pt x="683485" y="1243362"/>
                </a:cubicBezTo>
                <a:cubicBezTo>
                  <a:pt x="700332" y="1243362"/>
                  <a:pt x="714037" y="1229708"/>
                  <a:pt x="714037" y="1212925"/>
                </a:cubicBezTo>
                <a:cubicBezTo>
                  <a:pt x="714037" y="1196142"/>
                  <a:pt x="700332" y="1182488"/>
                  <a:pt x="683485" y="1182488"/>
                </a:cubicBezTo>
                <a:cubicBezTo>
                  <a:pt x="666638" y="1182488"/>
                  <a:pt x="652932" y="1196142"/>
                  <a:pt x="652932" y="1212925"/>
                </a:cubicBezTo>
                <a:close/>
                <a:moveTo>
                  <a:pt x="890310" y="1212925"/>
                </a:moveTo>
                <a:cubicBezTo>
                  <a:pt x="890310" y="1229708"/>
                  <a:pt x="904016" y="1243362"/>
                  <a:pt x="920863" y="1243362"/>
                </a:cubicBezTo>
                <a:cubicBezTo>
                  <a:pt x="937709" y="1243362"/>
                  <a:pt x="951415" y="1229708"/>
                  <a:pt x="951415" y="1212925"/>
                </a:cubicBezTo>
                <a:cubicBezTo>
                  <a:pt x="951415" y="1196142"/>
                  <a:pt x="937709" y="1182488"/>
                  <a:pt x="920863" y="1182488"/>
                </a:cubicBezTo>
                <a:cubicBezTo>
                  <a:pt x="904016" y="1182488"/>
                  <a:pt x="890310" y="1196142"/>
                  <a:pt x="890310" y="1212925"/>
                </a:cubicBezTo>
                <a:close/>
                <a:moveTo>
                  <a:pt x="949702" y="1212925"/>
                </a:moveTo>
                <a:cubicBezTo>
                  <a:pt x="949702" y="1229708"/>
                  <a:pt x="963408" y="1243362"/>
                  <a:pt x="980255" y="1243362"/>
                </a:cubicBezTo>
                <a:cubicBezTo>
                  <a:pt x="997101" y="1243362"/>
                  <a:pt x="1010807" y="1229708"/>
                  <a:pt x="1010807" y="1212925"/>
                </a:cubicBezTo>
                <a:cubicBezTo>
                  <a:pt x="1010807" y="1196142"/>
                  <a:pt x="997101" y="1182488"/>
                  <a:pt x="980255" y="1182488"/>
                </a:cubicBezTo>
                <a:cubicBezTo>
                  <a:pt x="963408" y="1182488"/>
                  <a:pt x="949702" y="1196142"/>
                  <a:pt x="949702" y="1212925"/>
                </a:cubicBezTo>
                <a:close/>
                <a:moveTo>
                  <a:pt x="1009094" y="1212925"/>
                </a:moveTo>
                <a:cubicBezTo>
                  <a:pt x="1009094" y="1229708"/>
                  <a:pt x="1022800" y="1243362"/>
                  <a:pt x="1039647" y="1243362"/>
                </a:cubicBezTo>
                <a:cubicBezTo>
                  <a:pt x="1056494" y="1243362"/>
                  <a:pt x="1070199" y="1229708"/>
                  <a:pt x="1070199" y="1212925"/>
                </a:cubicBezTo>
                <a:cubicBezTo>
                  <a:pt x="1070199" y="1196142"/>
                  <a:pt x="1056494" y="1182488"/>
                  <a:pt x="1039647" y="1182488"/>
                </a:cubicBezTo>
                <a:cubicBezTo>
                  <a:pt x="1022800" y="1182488"/>
                  <a:pt x="1009094" y="1196142"/>
                  <a:pt x="1009094" y="1212925"/>
                </a:cubicBezTo>
                <a:close/>
                <a:moveTo>
                  <a:pt x="1068391" y="1212925"/>
                </a:moveTo>
                <a:cubicBezTo>
                  <a:pt x="1068391" y="1229708"/>
                  <a:pt x="1082097" y="1243362"/>
                  <a:pt x="1098944" y="1243362"/>
                </a:cubicBezTo>
                <a:cubicBezTo>
                  <a:pt x="1115790" y="1243362"/>
                  <a:pt x="1129496" y="1229708"/>
                  <a:pt x="1129496" y="1212925"/>
                </a:cubicBezTo>
                <a:cubicBezTo>
                  <a:pt x="1129496" y="1196142"/>
                  <a:pt x="1115790" y="1182488"/>
                  <a:pt x="1098944" y="1182488"/>
                </a:cubicBezTo>
                <a:cubicBezTo>
                  <a:pt x="1082097" y="1182488"/>
                  <a:pt x="1068391" y="1196142"/>
                  <a:pt x="1068391" y="1212925"/>
                </a:cubicBezTo>
                <a:close/>
                <a:moveTo>
                  <a:pt x="1127783" y="1212925"/>
                </a:moveTo>
                <a:cubicBezTo>
                  <a:pt x="1127783" y="1229708"/>
                  <a:pt x="1141489" y="1243362"/>
                  <a:pt x="1158336" y="1243362"/>
                </a:cubicBezTo>
                <a:cubicBezTo>
                  <a:pt x="1175183" y="1243362"/>
                  <a:pt x="1188888" y="1229708"/>
                  <a:pt x="1188888" y="1212925"/>
                </a:cubicBezTo>
                <a:cubicBezTo>
                  <a:pt x="1188888" y="1196142"/>
                  <a:pt x="1175183" y="1182488"/>
                  <a:pt x="1158336" y="1182488"/>
                </a:cubicBezTo>
                <a:cubicBezTo>
                  <a:pt x="1141489" y="1182488"/>
                  <a:pt x="1127783" y="1196142"/>
                  <a:pt x="1127783" y="1212925"/>
                </a:cubicBezTo>
                <a:close/>
                <a:moveTo>
                  <a:pt x="1187080" y="1212925"/>
                </a:moveTo>
                <a:cubicBezTo>
                  <a:pt x="1187080" y="1229708"/>
                  <a:pt x="1200786" y="1243362"/>
                  <a:pt x="1217633" y="1243362"/>
                </a:cubicBezTo>
                <a:cubicBezTo>
                  <a:pt x="1234479" y="1243362"/>
                  <a:pt x="1248185" y="1229708"/>
                  <a:pt x="1248185" y="1212925"/>
                </a:cubicBezTo>
                <a:cubicBezTo>
                  <a:pt x="1248185" y="1196142"/>
                  <a:pt x="1234479" y="1182488"/>
                  <a:pt x="1217633" y="1182488"/>
                </a:cubicBezTo>
                <a:cubicBezTo>
                  <a:pt x="1200786" y="1182488"/>
                  <a:pt x="1187080" y="1196142"/>
                  <a:pt x="1187080" y="1212925"/>
                </a:cubicBezTo>
                <a:close/>
                <a:moveTo>
                  <a:pt x="1305769" y="1212925"/>
                </a:moveTo>
                <a:cubicBezTo>
                  <a:pt x="1305769" y="1229708"/>
                  <a:pt x="1319475" y="1243362"/>
                  <a:pt x="1336322" y="1243362"/>
                </a:cubicBezTo>
                <a:cubicBezTo>
                  <a:pt x="1353168" y="1243362"/>
                  <a:pt x="1366874" y="1229708"/>
                  <a:pt x="1366874" y="1212925"/>
                </a:cubicBezTo>
                <a:cubicBezTo>
                  <a:pt x="1366874" y="1196142"/>
                  <a:pt x="1353168" y="1182488"/>
                  <a:pt x="1336322" y="1182488"/>
                </a:cubicBezTo>
                <a:cubicBezTo>
                  <a:pt x="1319475" y="1182488"/>
                  <a:pt x="1305769" y="1196142"/>
                  <a:pt x="1305769" y="1212925"/>
                </a:cubicBezTo>
                <a:close/>
                <a:moveTo>
                  <a:pt x="1365161" y="1212925"/>
                </a:moveTo>
                <a:cubicBezTo>
                  <a:pt x="1365161" y="1229708"/>
                  <a:pt x="1378867" y="1243362"/>
                  <a:pt x="1395714" y="1243362"/>
                </a:cubicBezTo>
                <a:cubicBezTo>
                  <a:pt x="1412561" y="1243362"/>
                  <a:pt x="1426266" y="1229708"/>
                  <a:pt x="1426266" y="1212925"/>
                </a:cubicBezTo>
                <a:cubicBezTo>
                  <a:pt x="1426266" y="1196142"/>
                  <a:pt x="1412561" y="1182488"/>
                  <a:pt x="1395714" y="1182488"/>
                </a:cubicBezTo>
                <a:cubicBezTo>
                  <a:pt x="1378867" y="1182488"/>
                  <a:pt x="1365161" y="1196142"/>
                  <a:pt x="1365161" y="1212925"/>
                </a:cubicBezTo>
                <a:close/>
                <a:moveTo>
                  <a:pt x="1424553" y="1212925"/>
                </a:moveTo>
                <a:cubicBezTo>
                  <a:pt x="1424553" y="1229708"/>
                  <a:pt x="1438259" y="1243362"/>
                  <a:pt x="1455106" y="1243362"/>
                </a:cubicBezTo>
                <a:cubicBezTo>
                  <a:pt x="1471953" y="1243362"/>
                  <a:pt x="1485658" y="1229708"/>
                  <a:pt x="1485658" y="1212925"/>
                </a:cubicBezTo>
                <a:cubicBezTo>
                  <a:pt x="1485658" y="1196142"/>
                  <a:pt x="1471953" y="1182488"/>
                  <a:pt x="1455106" y="1182488"/>
                </a:cubicBezTo>
                <a:cubicBezTo>
                  <a:pt x="1438259" y="1182488"/>
                  <a:pt x="1424553" y="1196142"/>
                  <a:pt x="1424553" y="1212925"/>
                </a:cubicBezTo>
                <a:close/>
                <a:moveTo>
                  <a:pt x="474851" y="1272092"/>
                </a:moveTo>
                <a:cubicBezTo>
                  <a:pt x="474851" y="1288875"/>
                  <a:pt x="488557" y="1302529"/>
                  <a:pt x="505404" y="1302529"/>
                </a:cubicBezTo>
                <a:cubicBezTo>
                  <a:pt x="522250" y="1302529"/>
                  <a:pt x="535956" y="1288875"/>
                  <a:pt x="535956" y="1272092"/>
                </a:cubicBezTo>
                <a:cubicBezTo>
                  <a:pt x="535956" y="1255309"/>
                  <a:pt x="522250" y="1241655"/>
                  <a:pt x="505404" y="1241655"/>
                </a:cubicBezTo>
                <a:cubicBezTo>
                  <a:pt x="488557" y="1241655"/>
                  <a:pt x="474851" y="1255309"/>
                  <a:pt x="474851" y="1272092"/>
                </a:cubicBezTo>
                <a:close/>
                <a:moveTo>
                  <a:pt x="534243" y="1272092"/>
                </a:moveTo>
                <a:cubicBezTo>
                  <a:pt x="534243" y="1288875"/>
                  <a:pt x="547949" y="1302529"/>
                  <a:pt x="564796" y="1302529"/>
                </a:cubicBezTo>
                <a:cubicBezTo>
                  <a:pt x="581643" y="1302529"/>
                  <a:pt x="595348" y="1288875"/>
                  <a:pt x="595348" y="1272092"/>
                </a:cubicBezTo>
                <a:cubicBezTo>
                  <a:pt x="595348" y="1255309"/>
                  <a:pt x="581643" y="1241655"/>
                  <a:pt x="564796" y="1241655"/>
                </a:cubicBezTo>
                <a:cubicBezTo>
                  <a:pt x="547949" y="1241655"/>
                  <a:pt x="534243" y="1255309"/>
                  <a:pt x="534243" y="1272092"/>
                </a:cubicBezTo>
                <a:close/>
                <a:moveTo>
                  <a:pt x="712324" y="1272092"/>
                </a:moveTo>
                <a:cubicBezTo>
                  <a:pt x="712324" y="1288875"/>
                  <a:pt x="726030" y="1302529"/>
                  <a:pt x="742877" y="1302529"/>
                </a:cubicBezTo>
                <a:cubicBezTo>
                  <a:pt x="759724" y="1302529"/>
                  <a:pt x="773429" y="1288875"/>
                  <a:pt x="773429" y="1272092"/>
                </a:cubicBezTo>
                <a:cubicBezTo>
                  <a:pt x="773429" y="1255309"/>
                  <a:pt x="759724" y="1241655"/>
                  <a:pt x="742877" y="1241655"/>
                </a:cubicBezTo>
                <a:cubicBezTo>
                  <a:pt x="726030" y="1241655"/>
                  <a:pt x="712324" y="1255309"/>
                  <a:pt x="712324" y="1272092"/>
                </a:cubicBezTo>
                <a:close/>
                <a:moveTo>
                  <a:pt x="771621" y="1272092"/>
                </a:moveTo>
                <a:cubicBezTo>
                  <a:pt x="771621" y="1288875"/>
                  <a:pt x="785327" y="1302529"/>
                  <a:pt x="802174" y="1302529"/>
                </a:cubicBezTo>
                <a:cubicBezTo>
                  <a:pt x="819021" y="1302529"/>
                  <a:pt x="832726" y="1288875"/>
                  <a:pt x="832726" y="1272092"/>
                </a:cubicBezTo>
                <a:cubicBezTo>
                  <a:pt x="832726" y="1255309"/>
                  <a:pt x="819021" y="1241655"/>
                  <a:pt x="802174" y="1241655"/>
                </a:cubicBezTo>
                <a:cubicBezTo>
                  <a:pt x="785327" y="1241655"/>
                  <a:pt x="771621" y="1255309"/>
                  <a:pt x="771621" y="1272092"/>
                </a:cubicBezTo>
                <a:close/>
                <a:moveTo>
                  <a:pt x="831013" y="1272092"/>
                </a:moveTo>
                <a:cubicBezTo>
                  <a:pt x="831013" y="1288875"/>
                  <a:pt x="844719" y="1302529"/>
                  <a:pt x="861566" y="1302529"/>
                </a:cubicBezTo>
                <a:cubicBezTo>
                  <a:pt x="878413" y="1302529"/>
                  <a:pt x="892118" y="1288875"/>
                  <a:pt x="892118" y="1272092"/>
                </a:cubicBezTo>
                <a:cubicBezTo>
                  <a:pt x="892118" y="1255309"/>
                  <a:pt x="878413" y="1241655"/>
                  <a:pt x="861566" y="1241655"/>
                </a:cubicBezTo>
                <a:cubicBezTo>
                  <a:pt x="844719" y="1241655"/>
                  <a:pt x="831013" y="1255309"/>
                  <a:pt x="831013" y="1272092"/>
                </a:cubicBezTo>
                <a:close/>
                <a:moveTo>
                  <a:pt x="890310" y="1272092"/>
                </a:moveTo>
                <a:cubicBezTo>
                  <a:pt x="890310" y="1288875"/>
                  <a:pt x="904016" y="1302529"/>
                  <a:pt x="920863" y="1302529"/>
                </a:cubicBezTo>
                <a:cubicBezTo>
                  <a:pt x="937709" y="1302529"/>
                  <a:pt x="951415" y="1288875"/>
                  <a:pt x="951415" y="1272092"/>
                </a:cubicBezTo>
                <a:cubicBezTo>
                  <a:pt x="951415" y="1255309"/>
                  <a:pt x="937709" y="1241655"/>
                  <a:pt x="920863" y="1241655"/>
                </a:cubicBezTo>
                <a:cubicBezTo>
                  <a:pt x="904016" y="1241655"/>
                  <a:pt x="890310" y="1255309"/>
                  <a:pt x="890310" y="1272092"/>
                </a:cubicBezTo>
                <a:close/>
                <a:moveTo>
                  <a:pt x="1009094" y="1272092"/>
                </a:moveTo>
                <a:cubicBezTo>
                  <a:pt x="1009094" y="1288875"/>
                  <a:pt x="1022800" y="1302529"/>
                  <a:pt x="1039647" y="1302529"/>
                </a:cubicBezTo>
                <a:cubicBezTo>
                  <a:pt x="1056494" y="1302529"/>
                  <a:pt x="1070199" y="1288875"/>
                  <a:pt x="1070199" y="1272092"/>
                </a:cubicBezTo>
                <a:cubicBezTo>
                  <a:pt x="1070199" y="1255309"/>
                  <a:pt x="1056494" y="1241655"/>
                  <a:pt x="1039647" y="1241655"/>
                </a:cubicBezTo>
                <a:cubicBezTo>
                  <a:pt x="1022800" y="1241655"/>
                  <a:pt x="1009094" y="1255309"/>
                  <a:pt x="1009094" y="1272092"/>
                </a:cubicBezTo>
                <a:close/>
                <a:moveTo>
                  <a:pt x="1068391" y="1272092"/>
                </a:moveTo>
                <a:cubicBezTo>
                  <a:pt x="1068391" y="1288875"/>
                  <a:pt x="1082097" y="1302529"/>
                  <a:pt x="1098944" y="1302529"/>
                </a:cubicBezTo>
                <a:cubicBezTo>
                  <a:pt x="1115790" y="1302529"/>
                  <a:pt x="1129496" y="1288875"/>
                  <a:pt x="1129496" y="1272092"/>
                </a:cubicBezTo>
                <a:cubicBezTo>
                  <a:pt x="1129496" y="1255309"/>
                  <a:pt x="1115790" y="1241655"/>
                  <a:pt x="1098944" y="1241655"/>
                </a:cubicBezTo>
                <a:cubicBezTo>
                  <a:pt x="1082097" y="1241655"/>
                  <a:pt x="1068391" y="1255309"/>
                  <a:pt x="1068391" y="1272092"/>
                </a:cubicBezTo>
                <a:close/>
                <a:moveTo>
                  <a:pt x="1187080" y="1272092"/>
                </a:moveTo>
                <a:cubicBezTo>
                  <a:pt x="1187080" y="1288875"/>
                  <a:pt x="1200786" y="1302529"/>
                  <a:pt x="1217633" y="1302529"/>
                </a:cubicBezTo>
                <a:cubicBezTo>
                  <a:pt x="1234479" y="1302529"/>
                  <a:pt x="1248185" y="1288875"/>
                  <a:pt x="1248185" y="1272092"/>
                </a:cubicBezTo>
                <a:cubicBezTo>
                  <a:pt x="1248185" y="1255309"/>
                  <a:pt x="1234479" y="1241655"/>
                  <a:pt x="1217633" y="1241655"/>
                </a:cubicBezTo>
                <a:cubicBezTo>
                  <a:pt x="1200786" y="1241655"/>
                  <a:pt x="1187080" y="1255309"/>
                  <a:pt x="1187080" y="1272092"/>
                </a:cubicBezTo>
                <a:close/>
                <a:moveTo>
                  <a:pt x="1246472" y="1272092"/>
                </a:moveTo>
                <a:cubicBezTo>
                  <a:pt x="1246472" y="1288875"/>
                  <a:pt x="1260178" y="1302529"/>
                  <a:pt x="1277025" y="1302529"/>
                </a:cubicBezTo>
                <a:cubicBezTo>
                  <a:pt x="1293872" y="1302529"/>
                  <a:pt x="1307577" y="1288875"/>
                  <a:pt x="1307577" y="1272092"/>
                </a:cubicBezTo>
                <a:cubicBezTo>
                  <a:pt x="1307577" y="1255309"/>
                  <a:pt x="1293872" y="1241655"/>
                  <a:pt x="1277025" y="1241655"/>
                </a:cubicBezTo>
                <a:cubicBezTo>
                  <a:pt x="1260178" y="1241655"/>
                  <a:pt x="1246472" y="1255309"/>
                  <a:pt x="1246472" y="1272092"/>
                </a:cubicBezTo>
                <a:close/>
                <a:moveTo>
                  <a:pt x="1305769" y="1272092"/>
                </a:moveTo>
                <a:cubicBezTo>
                  <a:pt x="1305769" y="1288875"/>
                  <a:pt x="1319475" y="1302529"/>
                  <a:pt x="1336322" y="1302529"/>
                </a:cubicBezTo>
                <a:cubicBezTo>
                  <a:pt x="1353168" y="1302529"/>
                  <a:pt x="1366874" y="1288875"/>
                  <a:pt x="1366874" y="1272092"/>
                </a:cubicBezTo>
                <a:cubicBezTo>
                  <a:pt x="1366874" y="1255309"/>
                  <a:pt x="1353168" y="1241655"/>
                  <a:pt x="1336322" y="1241655"/>
                </a:cubicBezTo>
                <a:cubicBezTo>
                  <a:pt x="1319475" y="1241655"/>
                  <a:pt x="1305769" y="1255309"/>
                  <a:pt x="1305769" y="1272092"/>
                </a:cubicBezTo>
                <a:close/>
                <a:moveTo>
                  <a:pt x="1365161" y="1272092"/>
                </a:moveTo>
                <a:cubicBezTo>
                  <a:pt x="1365161" y="1288875"/>
                  <a:pt x="1378867" y="1302529"/>
                  <a:pt x="1395714" y="1302529"/>
                </a:cubicBezTo>
                <a:cubicBezTo>
                  <a:pt x="1412561" y="1302529"/>
                  <a:pt x="1426266" y="1288875"/>
                  <a:pt x="1426266" y="1272092"/>
                </a:cubicBezTo>
                <a:cubicBezTo>
                  <a:pt x="1426266" y="1255309"/>
                  <a:pt x="1412561" y="1241655"/>
                  <a:pt x="1395714" y="1241655"/>
                </a:cubicBezTo>
                <a:cubicBezTo>
                  <a:pt x="1378867" y="1241655"/>
                  <a:pt x="1365161" y="1255309"/>
                  <a:pt x="1365161" y="1272092"/>
                </a:cubicBezTo>
                <a:close/>
                <a:moveTo>
                  <a:pt x="1424553" y="1272092"/>
                </a:moveTo>
                <a:cubicBezTo>
                  <a:pt x="1424553" y="1288875"/>
                  <a:pt x="1438259" y="1302529"/>
                  <a:pt x="1455106" y="1302529"/>
                </a:cubicBezTo>
                <a:cubicBezTo>
                  <a:pt x="1471953" y="1302529"/>
                  <a:pt x="1485658" y="1288875"/>
                  <a:pt x="1485658" y="1272092"/>
                </a:cubicBezTo>
                <a:cubicBezTo>
                  <a:pt x="1485658" y="1255309"/>
                  <a:pt x="1471953" y="1241655"/>
                  <a:pt x="1455106" y="1241655"/>
                </a:cubicBezTo>
                <a:cubicBezTo>
                  <a:pt x="1438259" y="1241655"/>
                  <a:pt x="1424553" y="1255309"/>
                  <a:pt x="1424553" y="1272092"/>
                </a:cubicBezTo>
                <a:close/>
                <a:moveTo>
                  <a:pt x="474851" y="1331259"/>
                </a:moveTo>
                <a:cubicBezTo>
                  <a:pt x="474851" y="1348042"/>
                  <a:pt x="488557" y="1361696"/>
                  <a:pt x="505404" y="1361696"/>
                </a:cubicBezTo>
                <a:cubicBezTo>
                  <a:pt x="522250" y="1361696"/>
                  <a:pt x="535956" y="1348042"/>
                  <a:pt x="535956" y="1331259"/>
                </a:cubicBezTo>
                <a:cubicBezTo>
                  <a:pt x="535956" y="1314476"/>
                  <a:pt x="522250" y="1300822"/>
                  <a:pt x="505404" y="1300822"/>
                </a:cubicBezTo>
                <a:cubicBezTo>
                  <a:pt x="488557" y="1300822"/>
                  <a:pt x="474851" y="1314476"/>
                  <a:pt x="474851" y="1331259"/>
                </a:cubicBezTo>
                <a:close/>
                <a:moveTo>
                  <a:pt x="593635" y="1331259"/>
                </a:moveTo>
                <a:cubicBezTo>
                  <a:pt x="593635" y="1348042"/>
                  <a:pt x="607341" y="1361696"/>
                  <a:pt x="624188" y="1361696"/>
                </a:cubicBezTo>
                <a:cubicBezTo>
                  <a:pt x="641035" y="1361696"/>
                  <a:pt x="654740" y="1348042"/>
                  <a:pt x="654740" y="1331259"/>
                </a:cubicBezTo>
                <a:cubicBezTo>
                  <a:pt x="654740" y="1314476"/>
                  <a:pt x="641035" y="1300822"/>
                  <a:pt x="624188" y="1300822"/>
                </a:cubicBezTo>
                <a:cubicBezTo>
                  <a:pt x="607341" y="1300822"/>
                  <a:pt x="593635" y="1314476"/>
                  <a:pt x="593635" y="1331259"/>
                </a:cubicBezTo>
                <a:close/>
                <a:moveTo>
                  <a:pt x="771621" y="1331259"/>
                </a:moveTo>
                <a:cubicBezTo>
                  <a:pt x="771621" y="1348042"/>
                  <a:pt x="785327" y="1361696"/>
                  <a:pt x="802174" y="1361696"/>
                </a:cubicBezTo>
                <a:cubicBezTo>
                  <a:pt x="819021" y="1361696"/>
                  <a:pt x="832726" y="1348042"/>
                  <a:pt x="832726" y="1331259"/>
                </a:cubicBezTo>
                <a:cubicBezTo>
                  <a:pt x="832726" y="1314476"/>
                  <a:pt x="819021" y="1300822"/>
                  <a:pt x="802174" y="1300822"/>
                </a:cubicBezTo>
                <a:cubicBezTo>
                  <a:pt x="785327" y="1300822"/>
                  <a:pt x="771621" y="1314476"/>
                  <a:pt x="771621" y="1331259"/>
                </a:cubicBezTo>
                <a:close/>
                <a:moveTo>
                  <a:pt x="831013" y="1331259"/>
                </a:moveTo>
                <a:cubicBezTo>
                  <a:pt x="831013" y="1348042"/>
                  <a:pt x="844719" y="1361696"/>
                  <a:pt x="861566" y="1361696"/>
                </a:cubicBezTo>
                <a:cubicBezTo>
                  <a:pt x="878413" y="1361696"/>
                  <a:pt x="892118" y="1348042"/>
                  <a:pt x="892118" y="1331259"/>
                </a:cubicBezTo>
                <a:cubicBezTo>
                  <a:pt x="892118" y="1314476"/>
                  <a:pt x="878413" y="1300822"/>
                  <a:pt x="861566" y="1300822"/>
                </a:cubicBezTo>
                <a:cubicBezTo>
                  <a:pt x="844719" y="1300822"/>
                  <a:pt x="831013" y="1314476"/>
                  <a:pt x="831013" y="1331259"/>
                </a:cubicBezTo>
                <a:close/>
                <a:moveTo>
                  <a:pt x="1246472" y="1331259"/>
                </a:moveTo>
                <a:cubicBezTo>
                  <a:pt x="1246472" y="1348042"/>
                  <a:pt x="1260178" y="1361696"/>
                  <a:pt x="1277025" y="1361696"/>
                </a:cubicBezTo>
                <a:cubicBezTo>
                  <a:pt x="1293872" y="1361696"/>
                  <a:pt x="1307577" y="1348042"/>
                  <a:pt x="1307577" y="1331259"/>
                </a:cubicBezTo>
                <a:cubicBezTo>
                  <a:pt x="1307577" y="1314476"/>
                  <a:pt x="1293872" y="1300822"/>
                  <a:pt x="1277025" y="1300822"/>
                </a:cubicBezTo>
                <a:cubicBezTo>
                  <a:pt x="1260178" y="1300822"/>
                  <a:pt x="1246472" y="1314476"/>
                  <a:pt x="1246472" y="1331259"/>
                </a:cubicBezTo>
                <a:close/>
                <a:moveTo>
                  <a:pt x="1305769" y="1331259"/>
                </a:moveTo>
                <a:cubicBezTo>
                  <a:pt x="1305769" y="1348042"/>
                  <a:pt x="1319475" y="1361696"/>
                  <a:pt x="1336322" y="1361696"/>
                </a:cubicBezTo>
                <a:cubicBezTo>
                  <a:pt x="1353168" y="1361696"/>
                  <a:pt x="1366874" y="1348042"/>
                  <a:pt x="1366874" y="1331259"/>
                </a:cubicBezTo>
                <a:cubicBezTo>
                  <a:pt x="1366874" y="1314476"/>
                  <a:pt x="1353168" y="1300822"/>
                  <a:pt x="1336322" y="1300822"/>
                </a:cubicBezTo>
                <a:cubicBezTo>
                  <a:pt x="1319475" y="1300822"/>
                  <a:pt x="1305769" y="1314476"/>
                  <a:pt x="1305769" y="1331259"/>
                </a:cubicBezTo>
                <a:close/>
                <a:moveTo>
                  <a:pt x="1424553" y="1331259"/>
                </a:moveTo>
                <a:cubicBezTo>
                  <a:pt x="1424553" y="1348042"/>
                  <a:pt x="1438259" y="1361696"/>
                  <a:pt x="1455106" y="1361696"/>
                </a:cubicBezTo>
                <a:cubicBezTo>
                  <a:pt x="1471953" y="1361696"/>
                  <a:pt x="1485658" y="1348042"/>
                  <a:pt x="1485658" y="1331259"/>
                </a:cubicBezTo>
                <a:cubicBezTo>
                  <a:pt x="1485658" y="1314476"/>
                  <a:pt x="1471953" y="1300822"/>
                  <a:pt x="1455106" y="1300822"/>
                </a:cubicBezTo>
                <a:cubicBezTo>
                  <a:pt x="1438259" y="1300822"/>
                  <a:pt x="1424553" y="1314476"/>
                  <a:pt x="1424553" y="1331259"/>
                </a:cubicBezTo>
                <a:close/>
                <a:moveTo>
                  <a:pt x="712324" y="1390331"/>
                </a:moveTo>
                <a:cubicBezTo>
                  <a:pt x="712324" y="1407114"/>
                  <a:pt x="726030" y="1420768"/>
                  <a:pt x="742877" y="1420768"/>
                </a:cubicBezTo>
                <a:cubicBezTo>
                  <a:pt x="759724" y="1420768"/>
                  <a:pt x="773429" y="1407114"/>
                  <a:pt x="773429" y="1390331"/>
                </a:cubicBezTo>
                <a:cubicBezTo>
                  <a:pt x="773429" y="1373548"/>
                  <a:pt x="759724" y="1359894"/>
                  <a:pt x="742877" y="1359894"/>
                </a:cubicBezTo>
                <a:cubicBezTo>
                  <a:pt x="726030" y="1359894"/>
                  <a:pt x="712324" y="1373548"/>
                  <a:pt x="712324" y="1390331"/>
                </a:cubicBezTo>
                <a:close/>
                <a:moveTo>
                  <a:pt x="771621" y="1390331"/>
                </a:moveTo>
                <a:cubicBezTo>
                  <a:pt x="771621" y="1407114"/>
                  <a:pt x="785327" y="1420768"/>
                  <a:pt x="802174" y="1420768"/>
                </a:cubicBezTo>
                <a:cubicBezTo>
                  <a:pt x="819021" y="1420768"/>
                  <a:pt x="832726" y="1407114"/>
                  <a:pt x="832726" y="1390331"/>
                </a:cubicBezTo>
                <a:cubicBezTo>
                  <a:pt x="832726" y="1373548"/>
                  <a:pt x="819021" y="1359894"/>
                  <a:pt x="802174" y="1359894"/>
                </a:cubicBezTo>
                <a:cubicBezTo>
                  <a:pt x="785327" y="1359894"/>
                  <a:pt x="771621" y="1373548"/>
                  <a:pt x="771621" y="1390331"/>
                </a:cubicBezTo>
                <a:close/>
                <a:moveTo>
                  <a:pt x="949702" y="1390331"/>
                </a:moveTo>
                <a:cubicBezTo>
                  <a:pt x="949702" y="1407114"/>
                  <a:pt x="963408" y="1420768"/>
                  <a:pt x="980255" y="1420768"/>
                </a:cubicBezTo>
                <a:cubicBezTo>
                  <a:pt x="997101" y="1420768"/>
                  <a:pt x="1010807" y="1407114"/>
                  <a:pt x="1010807" y="1390331"/>
                </a:cubicBezTo>
                <a:cubicBezTo>
                  <a:pt x="1010807" y="1373548"/>
                  <a:pt x="997101" y="1359894"/>
                  <a:pt x="980255" y="1359894"/>
                </a:cubicBezTo>
                <a:cubicBezTo>
                  <a:pt x="963408" y="1359894"/>
                  <a:pt x="949702" y="1373548"/>
                  <a:pt x="949702" y="1390331"/>
                </a:cubicBezTo>
                <a:close/>
                <a:moveTo>
                  <a:pt x="1068391" y="1390331"/>
                </a:moveTo>
                <a:cubicBezTo>
                  <a:pt x="1068391" y="1407114"/>
                  <a:pt x="1082097" y="1420768"/>
                  <a:pt x="1098944" y="1420768"/>
                </a:cubicBezTo>
                <a:cubicBezTo>
                  <a:pt x="1115790" y="1420768"/>
                  <a:pt x="1129496" y="1407114"/>
                  <a:pt x="1129496" y="1390331"/>
                </a:cubicBezTo>
                <a:cubicBezTo>
                  <a:pt x="1129496" y="1373548"/>
                  <a:pt x="1115790" y="1359894"/>
                  <a:pt x="1098944" y="1359894"/>
                </a:cubicBezTo>
                <a:cubicBezTo>
                  <a:pt x="1082097" y="1359894"/>
                  <a:pt x="1068391" y="1373548"/>
                  <a:pt x="1068391" y="1390331"/>
                </a:cubicBezTo>
                <a:close/>
                <a:moveTo>
                  <a:pt x="1127783" y="1390331"/>
                </a:moveTo>
                <a:cubicBezTo>
                  <a:pt x="1127783" y="1407114"/>
                  <a:pt x="1141489" y="1420768"/>
                  <a:pt x="1158336" y="1420768"/>
                </a:cubicBezTo>
                <a:cubicBezTo>
                  <a:pt x="1175183" y="1420768"/>
                  <a:pt x="1188888" y="1407114"/>
                  <a:pt x="1188888" y="1390331"/>
                </a:cubicBezTo>
                <a:cubicBezTo>
                  <a:pt x="1188888" y="1373548"/>
                  <a:pt x="1175183" y="1359894"/>
                  <a:pt x="1158336" y="1359894"/>
                </a:cubicBezTo>
                <a:cubicBezTo>
                  <a:pt x="1141489" y="1359894"/>
                  <a:pt x="1127783" y="1373548"/>
                  <a:pt x="1127783" y="1390331"/>
                </a:cubicBezTo>
                <a:close/>
                <a:moveTo>
                  <a:pt x="1187080" y="1390331"/>
                </a:moveTo>
                <a:cubicBezTo>
                  <a:pt x="1187080" y="1407114"/>
                  <a:pt x="1200786" y="1420768"/>
                  <a:pt x="1217633" y="1420768"/>
                </a:cubicBezTo>
                <a:cubicBezTo>
                  <a:pt x="1234479" y="1420768"/>
                  <a:pt x="1248185" y="1407114"/>
                  <a:pt x="1248185" y="1390331"/>
                </a:cubicBezTo>
                <a:cubicBezTo>
                  <a:pt x="1248185" y="1373548"/>
                  <a:pt x="1234479" y="1359894"/>
                  <a:pt x="1217633" y="1359894"/>
                </a:cubicBezTo>
                <a:cubicBezTo>
                  <a:pt x="1200786" y="1359894"/>
                  <a:pt x="1187080" y="1373548"/>
                  <a:pt x="1187080" y="1390331"/>
                </a:cubicBezTo>
                <a:close/>
                <a:moveTo>
                  <a:pt x="1246472" y="1390331"/>
                </a:moveTo>
                <a:cubicBezTo>
                  <a:pt x="1246472" y="1407114"/>
                  <a:pt x="1260178" y="1420768"/>
                  <a:pt x="1277025" y="1420768"/>
                </a:cubicBezTo>
                <a:cubicBezTo>
                  <a:pt x="1293872" y="1420768"/>
                  <a:pt x="1307577" y="1407114"/>
                  <a:pt x="1307577" y="1390331"/>
                </a:cubicBezTo>
                <a:cubicBezTo>
                  <a:pt x="1307577" y="1373548"/>
                  <a:pt x="1293872" y="1359894"/>
                  <a:pt x="1277025" y="1359894"/>
                </a:cubicBezTo>
                <a:cubicBezTo>
                  <a:pt x="1260178" y="1359894"/>
                  <a:pt x="1246472" y="1373548"/>
                  <a:pt x="1246472" y="1390331"/>
                </a:cubicBezTo>
                <a:close/>
                <a:moveTo>
                  <a:pt x="1424553" y="1390331"/>
                </a:moveTo>
                <a:cubicBezTo>
                  <a:pt x="1424553" y="1407114"/>
                  <a:pt x="1438259" y="1420768"/>
                  <a:pt x="1455106" y="1420768"/>
                </a:cubicBezTo>
                <a:cubicBezTo>
                  <a:pt x="1471953" y="1420768"/>
                  <a:pt x="1485658" y="1407114"/>
                  <a:pt x="1485658" y="1390331"/>
                </a:cubicBezTo>
                <a:cubicBezTo>
                  <a:pt x="1485658" y="1373548"/>
                  <a:pt x="1471953" y="1359894"/>
                  <a:pt x="1455106" y="1359894"/>
                </a:cubicBezTo>
                <a:cubicBezTo>
                  <a:pt x="1438259" y="1359894"/>
                  <a:pt x="1424553" y="1373548"/>
                  <a:pt x="1424553" y="1390331"/>
                </a:cubicBezTo>
                <a:close/>
                <a:moveTo>
                  <a:pt x="474851" y="1449498"/>
                </a:moveTo>
                <a:cubicBezTo>
                  <a:pt x="474851" y="1466281"/>
                  <a:pt x="488557" y="1479935"/>
                  <a:pt x="505404" y="1479935"/>
                </a:cubicBezTo>
                <a:cubicBezTo>
                  <a:pt x="522250" y="1479935"/>
                  <a:pt x="535956" y="1466281"/>
                  <a:pt x="535956" y="1449498"/>
                </a:cubicBezTo>
                <a:cubicBezTo>
                  <a:pt x="535956" y="1432715"/>
                  <a:pt x="522250" y="1419061"/>
                  <a:pt x="505404" y="1419061"/>
                </a:cubicBezTo>
                <a:cubicBezTo>
                  <a:pt x="488557" y="1419061"/>
                  <a:pt x="474851" y="1432715"/>
                  <a:pt x="474851" y="1449498"/>
                </a:cubicBezTo>
                <a:close/>
                <a:moveTo>
                  <a:pt x="593635" y="1449498"/>
                </a:moveTo>
                <a:cubicBezTo>
                  <a:pt x="593635" y="1466281"/>
                  <a:pt x="607341" y="1479935"/>
                  <a:pt x="624188" y="1479935"/>
                </a:cubicBezTo>
                <a:cubicBezTo>
                  <a:pt x="641035" y="1479935"/>
                  <a:pt x="654740" y="1466281"/>
                  <a:pt x="654740" y="1449498"/>
                </a:cubicBezTo>
                <a:cubicBezTo>
                  <a:pt x="654740" y="1432715"/>
                  <a:pt x="641035" y="1419061"/>
                  <a:pt x="624188" y="1419061"/>
                </a:cubicBezTo>
                <a:cubicBezTo>
                  <a:pt x="607341" y="1419061"/>
                  <a:pt x="593635" y="1432715"/>
                  <a:pt x="593635" y="1449498"/>
                </a:cubicBezTo>
                <a:close/>
                <a:moveTo>
                  <a:pt x="712324" y="1449498"/>
                </a:moveTo>
                <a:cubicBezTo>
                  <a:pt x="712324" y="1466281"/>
                  <a:pt x="726030" y="1479935"/>
                  <a:pt x="742877" y="1479935"/>
                </a:cubicBezTo>
                <a:cubicBezTo>
                  <a:pt x="759724" y="1479935"/>
                  <a:pt x="773429" y="1466281"/>
                  <a:pt x="773429" y="1449498"/>
                </a:cubicBezTo>
                <a:cubicBezTo>
                  <a:pt x="773429" y="1432715"/>
                  <a:pt x="759724" y="1419061"/>
                  <a:pt x="742877" y="1419061"/>
                </a:cubicBezTo>
                <a:cubicBezTo>
                  <a:pt x="726030" y="1419061"/>
                  <a:pt x="712324" y="1432715"/>
                  <a:pt x="712324" y="1449498"/>
                </a:cubicBezTo>
                <a:close/>
                <a:moveTo>
                  <a:pt x="831013" y="1449498"/>
                </a:moveTo>
                <a:cubicBezTo>
                  <a:pt x="831013" y="1466281"/>
                  <a:pt x="844719" y="1479935"/>
                  <a:pt x="861566" y="1479935"/>
                </a:cubicBezTo>
                <a:cubicBezTo>
                  <a:pt x="878413" y="1479935"/>
                  <a:pt x="892118" y="1466281"/>
                  <a:pt x="892118" y="1449498"/>
                </a:cubicBezTo>
                <a:cubicBezTo>
                  <a:pt x="892118" y="1432715"/>
                  <a:pt x="878413" y="1419061"/>
                  <a:pt x="861566" y="1419061"/>
                </a:cubicBezTo>
                <a:cubicBezTo>
                  <a:pt x="844719" y="1419061"/>
                  <a:pt x="831013" y="1432715"/>
                  <a:pt x="831013" y="1449498"/>
                </a:cubicBezTo>
                <a:close/>
                <a:moveTo>
                  <a:pt x="1009094" y="1449498"/>
                </a:moveTo>
                <a:cubicBezTo>
                  <a:pt x="1009094" y="1466281"/>
                  <a:pt x="1022800" y="1479935"/>
                  <a:pt x="1039647" y="1479935"/>
                </a:cubicBezTo>
                <a:cubicBezTo>
                  <a:pt x="1056494" y="1479935"/>
                  <a:pt x="1070199" y="1466281"/>
                  <a:pt x="1070199" y="1449498"/>
                </a:cubicBezTo>
                <a:cubicBezTo>
                  <a:pt x="1070199" y="1432715"/>
                  <a:pt x="1056494" y="1419061"/>
                  <a:pt x="1039647" y="1419061"/>
                </a:cubicBezTo>
                <a:cubicBezTo>
                  <a:pt x="1022800" y="1419061"/>
                  <a:pt x="1009094" y="1432715"/>
                  <a:pt x="1009094" y="1449498"/>
                </a:cubicBezTo>
                <a:close/>
                <a:moveTo>
                  <a:pt x="1068391" y="1449498"/>
                </a:moveTo>
                <a:cubicBezTo>
                  <a:pt x="1068391" y="1466281"/>
                  <a:pt x="1082097" y="1479935"/>
                  <a:pt x="1098944" y="1479935"/>
                </a:cubicBezTo>
                <a:cubicBezTo>
                  <a:pt x="1115790" y="1479935"/>
                  <a:pt x="1129496" y="1466281"/>
                  <a:pt x="1129496" y="1449498"/>
                </a:cubicBezTo>
                <a:cubicBezTo>
                  <a:pt x="1129496" y="1432715"/>
                  <a:pt x="1115790" y="1419061"/>
                  <a:pt x="1098944" y="1419061"/>
                </a:cubicBezTo>
                <a:cubicBezTo>
                  <a:pt x="1082097" y="1419061"/>
                  <a:pt x="1068391" y="1432715"/>
                  <a:pt x="1068391" y="1449498"/>
                </a:cubicBezTo>
                <a:close/>
                <a:moveTo>
                  <a:pt x="1127783" y="1449498"/>
                </a:moveTo>
                <a:cubicBezTo>
                  <a:pt x="1127783" y="1466281"/>
                  <a:pt x="1141489" y="1479935"/>
                  <a:pt x="1158336" y="1479935"/>
                </a:cubicBezTo>
                <a:cubicBezTo>
                  <a:pt x="1175183" y="1479935"/>
                  <a:pt x="1188888" y="1466281"/>
                  <a:pt x="1188888" y="1449498"/>
                </a:cubicBezTo>
                <a:cubicBezTo>
                  <a:pt x="1188888" y="1432715"/>
                  <a:pt x="1175183" y="1419061"/>
                  <a:pt x="1158336" y="1419061"/>
                </a:cubicBezTo>
                <a:cubicBezTo>
                  <a:pt x="1141489" y="1419061"/>
                  <a:pt x="1127783" y="1432715"/>
                  <a:pt x="1127783" y="1449498"/>
                </a:cubicBezTo>
                <a:close/>
                <a:moveTo>
                  <a:pt x="1187080" y="1449498"/>
                </a:moveTo>
                <a:cubicBezTo>
                  <a:pt x="1187080" y="1466281"/>
                  <a:pt x="1200786" y="1479935"/>
                  <a:pt x="1217633" y="1479935"/>
                </a:cubicBezTo>
                <a:cubicBezTo>
                  <a:pt x="1234479" y="1479935"/>
                  <a:pt x="1248185" y="1466281"/>
                  <a:pt x="1248185" y="1449498"/>
                </a:cubicBezTo>
                <a:cubicBezTo>
                  <a:pt x="1248185" y="1432715"/>
                  <a:pt x="1234479" y="1419061"/>
                  <a:pt x="1217633" y="1419061"/>
                </a:cubicBezTo>
                <a:cubicBezTo>
                  <a:pt x="1200786" y="1419061"/>
                  <a:pt x="1187080" y="1432715"/>
                  <a:pt x="1187080" y="1449498"/>
                </a:cubicBezTo>
                <a:close/>
                <a:moveTo>
                  <a:pt x="1246472" y="1449498"/>
                </a:moveTo>
                <a:cubicBezTo>
                  <a:pt x="1246472" y="1466281"/>
                  <a:pt x="1260178" y="1479935"/>
                  <a:pt x="1277025" y="1479935"/>
                </a:cubicBezTo>
                <a:cubicBezTo>
                  <a:pt x="1293872" y="1479935"/>
                  <a:pt x="1307577" y="1466281"/>
                  <a:pt x="1307577" y="1449498"/>
                </a:cubicBezTo>
                <a:cubicBezTo>
                  <a:pt x="1307577" y="1432715"/>
                  <a:pt x="1293872" y="1419061"/>
                  <a:pt x="1277025" y="1419061"/>
                </a:cubicBezTo>
                <a:cubicBezTo>
                  <a:pt x="1260178" y="1419061"/>
                  <a:pt x="1246472" y="1432715"/>
                  <a:pt x="1246472" y="1449498"/>
                </a:cubicBezTo>
                <a:close/>
                <a:moveTo>
                  <a:pt x="1305769" y="1449498"/>
                </a:moveTo>
                <a:cubicBezTo>
                  <a:pt x="1305769" y="1466281"/>
                  <a:pt x="1319475" y="1479935"/>
                  <a:pt x="1336322" y="1479935"/>
                </a:cubicBezTo>
                <a:cubicBezTo>
                  <a:pt x="1353168" y="1479935"/>
                  <a:pt x="1366874" y="1466281"/>
                  <a:pt x="1366874" y="1449498"/>
                </a:cubicBezTo>
                <a:cubicBezTo>
                  <a:pt x="1366874" y="1432715"/>
                  <a:pt x="1353168" y="1419061"/>
                  <a:pt x="1336322" y="1419061"/>
                </a:cubicBezTo>
                <a:cubicBezTo>
                  <a:pt x="1319475" y="1419061"/>
                  <a:pt x="1305769" y="1432715"/>
                  <a:pt x="1305769" y="1449498"/>
                </a:cubicBezTo>
                <a:close/>
                <a:moveTo>
                  <a:pt x="1365161" y="1449498"/>
                </a:moveTo>
                <a:cubicBezTo>
                  <a:pt x="1365161" y="1466281"/>
                  <a:pt x="1378867" y="1479935"/>
                  <a:pt x="1395714" y="1479935"/>
                </a:cubicBezTo>
                <a:cubicBezTo>
                  <a:pt x="1412561" y="1479935"/>
                  <a:pt x="1426266" y="1466281"/>
                  <a:pt x="1426266" y="1449498"/>
                </a:cubicBezTo>
                <a:cubicBezTo>
                  <a:pt x="1426266" y="1432715"/>
                  <a:pt x="1412561" y="1419061"/>
                  <a:pt x="1395714" y="1419061"/>
                </a:cubicBezTo>
                <a:cubicBezTo>
                  <a:pt x="1378867" y="1419061"/>
                  <a:pt x="1365161" y="1432715"/>
                  <a:pt x="1365161" y="1449498"/>
                </a:cubicBezTo>
                <a:close/>
                <a:moveTo>
                  <a:pt x="1424553" y="1449498"/>
                </a:moveTo>
                <a:cubicBezTo>
                  <a:pt x="1424553" y="1466281"/>
                  <a:pt x="1438259" y="1479935"/>
                  <a:pt x="1455106" y="1479935"/>
                </a:cubicBezTo>
                <a:cubicBezTo>
                  <a:pt x="1471953" y="1479935"/>
                  <a:pt x="1485658" y="1466281"/>
                  <a:pt x="1485658" y="1449498"/>
                </a:cubicBezTo>
                <a:cubicBezTo>
                  <a:pt x="1485658" y="1432715"/>
                  <a:pt x="1471953" y="1419061"/>
                  <a:pt x="1455106" y="1419061"/>
                </a:cubicBezTo>
                <a:cubicBezTo>
                  <a:pt x="1438259" y="1419061"/>
                  <a:pt x="1424553" y="1432715"/>
                  <a:pt x="1424553" y="1449498"/>
                </a:cubicBezTo>
                <a:close/>
                <a:moveTo>
                  <a:pt x="207777" y="0"/>
                </a:moveTo>
                <a:lnTo>
                  <a:pt x="207777" y="0"/>
                </a:lnTo>
                <a:cubicBezTo>
                  <a:pt x="323515" y="0"/>
                  <a:pt x="415554" y="91690"/>
                  <a:pt x="415554" y="206990"/>
                </a:cubicBezTo>
                <a:lnTo>
                  <a:pt x="415554" y="206990"/>
                </a:lnTo>
                <a:cubicBezTo>
                  <a:pt x="415554" y="322290"/>
                  <a:pt x="323515" y="413980"/>
                  <a:pt x="207777" y="413980"/>
                </a:cubicBezTo>
                <a:lnTo>
                  <a:pt x="207777" y="413980"/>
                </a:lnTo>
                <a:cubicBezTo>
                  <a:pt x="92039" y="413980"/>
                  <a:pt x="0" y="322290"/>
                  <a:pt x="0" y="206990"/>
                </a:cubicBezTo>
                <a:lnTo>
                  <a:pt x="0" y="206990"/>
                </a:lnTo>
                <a:cubicBezTo>
                  <a:pt x="0" y="91690"/>
                  <a:pt x="92039" y="0"/>
                  <a:pt x="207777" y="0"/>
                </a:cubicBezTo>
                <a:close/>
                <a:moveTo>
                  <a:pt x="356162" y="206895"/>
                </a:moveTo>
                <a:lnTo>
                  <a:pt x="356162" y="206895"/>
                </a:lnTo>
                <a:cubicBezTo>
                  <a:pt x="356162" y="124118"/>
                  <a:pt x="290869" y="59072"/>
                  <a:pt x="207777" y="59072"/>
                </a:cubicBezTo>
                <a:lnTo>
                  <a:pt x="207777" y="59072"/>
                </a:lnTo>
                <a:cubicBezTo>
                  <a:pt x="124685" y="59072"/>
                  <a:pt x="59392" y="124118"/>
                  <a:pt x="59392" y="206895"/>
                </a:cubicBezTo>
                <a:lnTo>
                  <a:pt x="59392" y="206895"/>
                </a:lnTo>
                <a:cubicBezTo>
                  <a:pt x="59392" y="289672"/>
                  <a:pt x="124685" y="354718"/>
                  <a:pt x="207777" y="354718"/>
                </a:cubicBezTo>
                <a:lnTo>
                  <a:pt x="207777" y="354718"/>
                </a:lnTo>
                <a:cubicBezTo>
                  <a:pt x="290869" y="354718"/>
                  <a:pt x="356162" y="289672"/>
                  <a:pt x="356162" y="206895"/>
                </a:cubicBezTo>
                <a:close/>
                <a:moveTo>
                  <a:pt x="1276168" y="0"/>
                </a:moveTo>
                <a:lnTo>
                  <a:pt x="1276168" y="0"/>
                </a:lnTo>
                <a:cubicBezTo>
                  <a:pt x="1391907" y="0"/>
                  <a:pt x="1483945" y="91690"/>
                  <a:pt x="1483945" y="206990"/>
                </a:cubicBezTo>
                <a:lnTo>
                  <a:pt x="1483945" y="206990"/>
                </a:lnTo>
                <a:cubicBezTo>
                  <a:pt x="1483945" y="322290"/>
                  <a:pt x="1391907" y="413980"/>
                  <a:pt x="1276168" y="413980"/>
                </a:cubicBezTo>
                <a:lnTo>
                  <a:pt x="1276168" y="413980"/>
                </a:lnTo>
                <a:cubicBezTo>
                  <a:pt x="1160430" y="413980"/>
                  <a:pt x="1068391" y="322290"/>
                  <a:pt x="1068391" y="206990"/>
                </a:cubicBezTo>
                <a:lnTo>
                  <a:pt x="1068391" y="206990"/>
                </a:lnTo>
                <a:cubicBezTo>
                  <a:pt x="1068391" y="91690"/>
                  <a:pt x="1160430" y="0"/>
                  <a:pt x="1276168" y="0"/>
                </a:cubicBezTo>
                <a:close/>
                <a:moveTo>
                  <a:pt x="1424553" y="206895"/>
                </a:moveTo>
                <a:lnTo>
                  <a:pt x="1424553" y="206895"/>
                </a:lnTo>
                <a:cubicBezTo>
                  <a:pt x="1424553" y="124118"/>
                  <a:pt x="1359260" y="59072"/>
                  <a:pt x="1276168" y="59072"/>
                </a:cubicBezTo>
                <a:lnTo>
                  <a:pt x="1276168" y="59072"/>
                </a:lnTo>
                <a:cubicBezTo>
                  <a:pt x="1193076" y="59072"/>
                  <a:pt x="1127783" y="124118"/>
                  <a:pt x="1127783" y="206895"/>
                </a:cubicBezTo>
                <a:lnTo>
                  <a:pt x="1127783" y="206895"/>
                </a:lnTo>
                <a:cubicBezTo>
                  <a:pt x="1127783" y="289672"/>
                  <a:pt x="1193076" y="354718"/>
                  <a:pt x="1276168" y="354718"/>
                </a:cubicBezTo>
                <a:lnTo>
                  <a:pt x="1276168" y="354718"/>
                </a:lnTo>
                <a:cubicBezTo>
                  <a:pt x="1359260" y="354718"/>
                  <a:pt x="1424553" y="289672"/>
                  <a:pt x="1424553" y="206895"/>
                </a:cubicBezTo>
                <a:close/>
                <a:moveTo>
                  <a:pt x="207777" y="1064249"/>
                </a:moveTo>
                <a:lnTo>
                  <a:pt x="207777" y="1064249"/>
                </a:lnTo>
                <a:cubicBezTo>
                  <a:pt x="323515" y="1064249"/>
                  <a:pt x="415554" y="1155938"/>
                  <a:pt x="415554" y="1271238"/>
                </a:cubicBezTo>
                <a:lnTo>
                  <a:pt x="415554" y="1271238"/>
                </a:lnTo>
                <a:cubicBezTo>
                  <a:pt x="415554" y="1386538"/>
                  <a:pt x="323515" y="1478228"/>
                  <a:pt x="207777" y="1478228"/>
                </a:cubicBezTo>
                <a:lnTo>
                  <a:pt x="207777" y="1478228"/>
                </a:lnTo>
                <a:cubicBezTo>
                  <a:pt x="92039" y="1478228"/>
                  <a:pt x="0" y="1386538"/>
                  <a:pt x="0" y="1271238"/>
                </a:cubicBezTo>
                <a:lnTo>
                  <a:pt x="0" y="1271238"/>
                </a:lnTo>
                <a:cubicBezTo>
                  <a:pt x="0" y="1155938"/>
                  <a:pt x="92039" y="1064249"/>
                  <a:pt x="207777" y="1064249"/>
                </a:cubicBezTo>
                <a:close/>
                <a:moveTo>
                  <a:pt x="356162" y="1271238"/>
                </a:moveTo>
                <a:lnTo>
                  <a:pt x="356162" y="1271238"/>
                </a:lnTo>
                <a:cubicBezTo>
                  <a:pt x="356162" y="1188461"/>
                  <a:pt x="290869" y="1123416"/>
                  <a:pt x="207777" y="1123416"/>
                </a:cubicBezTo>
                <a:lnTo>
                  <a:pt x="207777" y="1123416"/>
                </a:lnTo>
                <a:cubicBezTo>
                  <a:pt x="124685" y="1123416"/>
                  <a:pt x="59392" y="1188461"/>
                  <a:pt x="59392" y="1271238"/>
                </a:cubicBezTo>
                <a:lnTo>
                  <a:pt x="59392" y="1271238"/>
                </a:lnTo>
                <a:cubicBezTo>
                  <a:pt x="59392" y="1354016"/>
                  <a:pt x="124685" y="1419061"/>
                  <a:pt x="207777" y="1419061"/>
                </a:cubicBezTo>
                <a:lnTo>
                  <a:pt x="207777" y="1419061"/>
                </a:lnTo>
                <a:cubicBezTo>
                  <a:pt x="290869" y="1419061"/>
                  <a:pt x="356162" y="1354016"/>
                  <a:pt x="356162" y="1271238"/>
                </a:cubicBezTo>
                <a:close/>
                <a:moveTo>
                  <a:pt x="118784" y="206895"/>
                </a:moveTo>
                <a:cubicBezTo>
                  <a:pt x="118784" y="255916"/>
                  <a:pt x="158664" y="295551"/>
                  <a:pt x="207777" y="295551"/>
                </a:cubicBezTo>
                <a:cubicBezTo>
                  <a:pt x="256890" y="295551"/>
                  <a:pt x="296770" y="255822"/>
                  <a:pt x="296770" y="206895"/>
                </a:cubicBezTo>
                <a:cubicBezTo>
                  <a:pt x="296770" y="157968"/>
                  <a:pt x="256890" y="118239"/>
                  <a:pt x="207777" y="118239"/>
                </a:cubicBezTo>
                <a:cubicBezTo>
                  <a:pt x="158664" y="118239"/>
                  <a:pt x="118784" y="157968"/>
                  <a:pt x="118784" y="206895"/>
                </a:cubicBezTo>
                <a:close/>
                <a:moveTo>
                  <a:pt x="1187080" y="206895"/>
                </a:moveTo>
                <a:cubicBezTo>
                  <a:pt x="1187080" y="255916"/>
                  <a:pt x="1226960" y="295551"/>
                  <a:pt x="1276073" y="295551"/>
                </a:cubicBezTo>
                <a:cubicBezTo>
                  <a:pt x="1325186" y="295551"/>
                  <a:pt x="1365066" y="255822"/>
                  <a:pt x="1365066" y="206895"/>
                </a:cubicBezTo>
                <a:cubicBezTo>
                  <a:pt x="1365066" y="157968"/>
                  <a:pt x="1325186" y="118239"/>
                  <a:pt x="1276073" y="118239"/>
                </a:cubicBezTo>
                <a:cubicBezTo>
                  <a:pt x="1226960" y="118239"/>
                  <a:pt x="1187080" y="157968"/>
                  <a:pt x="1187080" y="206895"/>
                </a:cubicBezTo>
                <a:close/>
                <a:moveTo>
                  <a:pt x="118784" y="1271238"/>
                </a:moveTo>
                <a:cubicBezTo>
                  <a:pt x="118784" y="1320260"/>
                  <a:pt x="158664" y="1359894"/>
                  <a:pt x="207777" y="1359894"/>
                </a:cubicBezTo>
                <a:cubicBezTo>
                  <a:pt x="256890" y="1359894"/>
                  <a:pt x="296770" y="1320165"/>
                  <a:pt x="296770" y="1271238"/>
                </a:cubicBezTo>
                <a:cubicBezTo>
                  <a:pt x="296770" y="1222312"/>
                  <a:pt x="256890" y="1182583"/>
                  <a:pt x="207777" y="1182583"/>
                </a:cubicBezTo>
                <a:cubicBezTo>
                  <a:pt x="158664" y="1182583"/>
                  <a:pt x="118784" y="1222312"/>
                  <a:pt x="118784" y="1271238"/>
                </a:cubicBezTo>
                <a:close/>
              </a:path>
            </a:pathLst>
          </a:custGeom>
          <a:solidFill>
            <a:schemeClr val="bg1"/>
          </a:solidFill>
          <a:ln w="950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1114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bg>
      <p:bgPr>
        <a:solidFill>
          <a:srgbClr val="0B18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950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3" name="TextBox 272">
            <a:extLst>
              <a:ext uri="{FF2B5EF4-FFF2-40B4-BE49-F238E27FC236}">
                <a16:creationId xmlns:a16="http://schemas.microsoft.com/office/drawing/2014/main" id="{13C43E77-3C68-E4FF-DC38-0AD7C894C05B}"/>
              </a:ext>
            </a:extLst>
          </p:cNvPr>
          <p:cNvSpPr txBox="1"/>
          <p:nvPr/>
        </p:nvSpPr>
        <p:spPr bwMode="auto">
          <a:xfrm>
            <a:off x="442914" y="5193626"/>
            <a:ext cx="5758414" cy="974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lnSpc>
                <a:spcPct val="150000"/>
              </a:lnSpc>
            </a:pPr>
            <a:r>
              <a:rPr lang="ru-RU" sz="1400" b="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121099, г. Москва, ул. Композиторская, д. 17</a:t>
            </a:r>
          </a:p>
          <a:p>
            <a:pPr marL="0" indent="0" defTabSz="610845">
              <a:lnSpc>
                <a:spcPct val="150000"/>
              </a:lnSpc>
              <a:defRPr/>
            </a:pPr>
            <a:r>
              <a:rPr lang="en-US" sz="1400" b="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+7 (495) 730-77-47</a:t>
            </a:r>
            <a:endParaRPr lang="ru-RU" sz="1400" b="0" kern="1200" dirty="0">
              <a:solidFill>
                <a:schemeClr val="tx1">
                  <a:alpha val="70000"/>
                </a:schemeClr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SB Sans Text" panose="020B0503040504020204" pitchFamily="34" charset="0"/>
              <a:sym typeface="Verdana" panose="020B0604030504040204" pitchFamily="34" charset="0"/>
            </a:endParaRPr>
          </a:p>
          <a:p>
            <a:pPr marL="0" indent="0" defTabSz="610845">
              <a:lnSpc>
                <a:spcPct val="150000"/>
              </a:lnSpc>
              <a:defRPr/>
            </a:pPr>
            <a:r>
              <a:rPr lang="en-US" sz="1400" b="0" kern="1200" dirty="0">
                <a:solidFill>
                  <a:schemeClr val="tx1">
                    <a:alpha val="70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inbox@strategy.ru</a:t>
            </a:r>
            <a:endParaRPr lang="ru-RU" sz="1400" b="0" kern="1200" dirty="0">
              <a:solidFill>
                <a:schemeClr val="tx1">
                  <a:alpha val="70000"/>
                </a:schemeClr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SB Sans Text" panose="020B0503040504020204" pitchFamily="34" charset="0"/>
              <a:sym typeface="Verdana" panose="020B0604030504040204" pitchFamily="34" charset="0"/>
            </a:endParaRPr>
          </a:p>
        </p:txBody>
      </p:sp>
      <p:sp>
        <p:nvSpPr>
          <p:cNvPr id="277" name="Прямоугольник 276"/>
          <p:cNvSpPr/>
          <p:nvPr/>
        </p:nvSpPr>
        <p:spPr>
          <a:xfrm>
            <a:off x="419763" y="1453121"/>
            <a:ext cx="3650213" cy="247092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lvl="0" algn="l"/>
            <a:r>
              <a:rPr lang="ru-RU" sz="1800" spc="0" dirty="0">
                <a:solidFill>
                  <a:schemeClr val="tx1"/>
                </a:solidFill>
                <a:sym typeface="Verdana" panose="020B0604030504040204" pitchFamily="34" charset="0"/>
              </a:rPr>
              <a:t>Решения,</a:t>
            </a:r>
            <a:r>
              <a:rPr lang="ru-RU" sz="1800" spc="0" baseline="0" dirty="0">
                <a:solidFill>
                  <a:schemeClr val="tx1"/>
                </a:solidFill>
                <a:sym typeface="Verdana" panose="020B0604030504040204" pitchFamily="34" charset="0"/>
              </a:rPr>
              <a:t> которые работают</a:t>
            </a:r>
            <a:endParaRPr lang="ru-RU" sz="1800" spc="0" dirty="0">
              <a:solidFill>
                <a:schemeClr val="tx1"/>
              </a:solidFill>
              <a:sym typeface="Verdana" panose="020B0604030504040204" pitchFamily="34" charset="0"/>
            </a:endParaRPr>
          </a:p>
        </p:txBody>
      </p:sp>
      <p:grpSp>
        <p:nvGrpSpPr>
          <p:cNvPr id="278" name="Группа 277"/>
          <p:cNvGrpSpPr/>
          <p:nvPr/>
        </p:nvGrpSpPr>
        <p:grpSpPr>
          <a:xfrm>
            <a:off x="442913" y="767859"/>
            <a:ext cx="3354898" cy="424488"/>
            <a:chOff x="442913" y="767859"/>
            <a:chExt cx="3354898" cy="424488"/>
          </a:xfrm>
        </p:grpSpPr>
        <p:sp>
          <p:nvSpPr>
            <p:cNvPr id="279" name="Полилиния 278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2882887" y="822599"/>
              <a:ext cx="111866" cy="260005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0" name="Полилиния 279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3492292" y="882524"/>
              <a:ext cx="126609" cy="200126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1" name="Полилиния 280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3251533" y="877008"/>
              <a:ext cx="194407" cy="211079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2" name="Полилиния 281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3638131" y="877864"/>
              <a:ext cx="159680" cy="209903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3" name="Полилиния 282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3034882" y="877053"/>
              <a:ext cx="173326" cy="205597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4" name="Полилиния 283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2235169" y="770886"/>
              <a:ext cx="247039" cy="311719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5" name="Полилиния 284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2479182" y="877008"/>
              <a:ext cx="194052" cy="211079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6" name="Полилиния 285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2727398" y="882524"/>
              <a:ext cx="126608" cy="200126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7" name="Полилиния 286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1281897" y="823387"/>
              <a:ext cx="111866" cy="260005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8" name="Полилиния 287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442913" y="767859"/>
              <a:ext cx="257534" cy="321746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9" name="Полилиния 288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746810" y="823387"/>
              <a:ext cx="111866" cy="260005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0" name="Полилиния 289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1414798" y="877830"/>
              <a:ext cx="194281" cy="211079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1" name="Полилиния 290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1034036" y="877830"/>
              <a:ext cx="193584" cy="211079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2" name="Полилиния 291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898805" y="883301"/>
              <a:ext cx="126609" cy="200126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3" name="Полилиния 292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1646581" y="877830"/>
              <a:ext cx="193698" cy="314403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4" name="Полилиния 293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1892479" y="883301"/>
              <a:ext cx="182576" cy="309046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5" name="Полилиния 294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1859157" y="883301"/>
              <a:ext cx="90591" cy="153073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443499" y="4105112"/>
            <a:ext cx="3438870" cy="580534"/>
            <a:chOff x="7840752" y="2102985"/>
            <a:chExt cx="3438870" cy="580534"/>
          </a:xfrm>
        </p:grpSpPr>
        <p:sp>
          <p:nvSpPr>
            <p:cNvPr id="32" name="Прямоугольник 31"/>
            <p:cNvSpPr>
              <a:spLocks/>
            </p:cNvSpPr>
            <p:nvPr/>
          </p:nvSpPr>
          <p:spPr>
            <a:xfrm>
              <a:off x="7840752" y="2102985"/>
              <a:ext cx="1443216" cy="395869"/>
            </a:xfrm>
            <a:prstGeom prst="rect">
              <a:avLst/>
            </a:prstGeom>
          </p:spPr>
          <p:txBody>
            <a:bodyPr wrap="none" tIns="72000">
              <a:spAutoFit/>
            </a:bodyPr>
            <a:lstStyle/>
            <a:p>
              <a:pPr algn="ctr" defTabSz="610845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n-US" sz="1800" spc="0" baseline="0" dirty="0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strategy.ru</a:t>
              </a:r>
              <a:endParaRPr lang="ru-RU" sz="1800" spc="0" baseline="0" dirty="0"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693847" y="2102985"/>
              <a:ext cx="1585775" cy="580534"/>
            </a:xfrm>
            <a:prstGeom prst="rect">
              <a:avLst/>
            </a:prstGeom>
          </p:spPr>
          <p:txBody>
            <a:bodyPr wrap="square" tIns="72000">
              <a:spAutoFit/>
            </a:bodyPr>
            <a:lstStyle/>
            <a:p>
              <a:pPr defTabSz="610845">
                <a:lnSpc>
                  <a:spcPct val="100000"/>
                </a:lnSpc>
                <a:spcAft>
                  <a:spcPts val="300"/>
                </a:spcAft>
                <a:defRPr/>
              </a:pPr>
              <a:r>
                <a:rPr lang="en-US" sz="1500" dirty="0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t.me/</a:t>
              </a:r>
              <a:r>
                <a:rPr lang="en-US" sz="1500" dirty="0" err="1">
                  <a:latin typeface="Verdana" panose="020B0604030504040204" pitchFamily="34" charset="0"/>
                  <a:ea typeface="Verdana" panose="020B0604030504040204" pitchFamily="34" charset="0"/>
                  <a:cs typeface="SB Sans Text" panose="020B0503040504020204" pitchFamily="34" charset="0"/>
                  <a:sym typeface="Verdana" panose="020B0604030504040204" pitchFamily="34" charset="0"/>
                </a:rPr>
                <a:t>strategypartners</a:t>
              </a:r>
              <a:endParaRPr lang="ru-RU" sz="1500" dirty="0">
                <a:latin typeface="Verdana" panose="020B0604030504040204" pitchFamily="34" charset="0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37" name="Рисунок 4">
            <a:extLst>
              <a:ext uri="{FF2B5EF4-FFF2-40B4-BE49-F238E27FC236}">
                <a16:creationId xmlns:a16="http://schemas.microsoft.com/office/drawing/2014/main" id="{94082320-2525-B04E-C59B-FF0C15071698}"/>
              </a:ext>
            </a:extLst>
          </p:cNvPr>
          <p:cNvGrpSpPr/>
          <p:nvPr/>
        </p:nvGrpSpPr>
        <p:grpSpPr>
          <a:xfrm>
            <a:off x="2389720" y="2841898"/>
            <a:ext cx="1248411" cy="1243681"/>
            <a:chOff x="6450353" y="2684481"/>
            <a:chExt cx="1473380" cy="1467798"/>
          </a:xfrm>
          <a:solidFill>
            <a:schemeClr val="bg1"/>
          </a:solidFill>
        </p:grpSpPr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26574203-C9FF-56CB-BD05-E58149F2AFB7}"/>
                </a:ext>
              </a:extLst>
            </p:cNvPr>
            <p:cNvSpPr/>
            <p:nvPr/>
          </p:nvSpPr>
          <p:spPr>
            <a:xfrm>
              <a:off x="6852106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A24D71F8-4027-5A39-55F7-A699BF43CB5E}"/>
                </a:ext>
              </a:extLst>
            </p:cNvPr>
            <p:cNvSpPr/>
            <p:nvPr/>
          </p:nvSpPr>
          <p:spPr>
            <a:xfrm>
              <a:off x="6941480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8DCB951D-1CD9-E835-FCA1-486D5405A754}"/>
                </a:ext>
              </a:extLst>
            </p:cNvPr>
            <p:cNvSpPr/>
            <p:nvPr/>
          </p:nvSpPr>
          <p:spPr>
            <a:xfrm>
              <a:off x="720931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45DFA8A6-3340-9D3D-0913-1EA19FA4C0E2}"/>
                </a:ext>
              </a:extLst>
            </p:cNvPr>
            <p:cNvSpPr/>
            <p:nvPr/>
          </p:nvSpPr>
          <p:spPr>
            <a:xfrm>
              <a:off x="725395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B0939566-AB1C-DC69-898D-3FD5A715A56C}"/>
                </a:ext>
              </a:extLst>
            </p:cNvPr>
            <p:cNvSpPr/>
            <p:nvPr/>
          </p:nvSpPr>
          <p:spPr>
            <a:xfrm>
              <a:off x="7298594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AFDC0A9B-E544-484B-E16E-1B9EBC827860}"/>
                </a:ext>
              </a:extLst>
            </p:cNvPr>
            <p:cNvSpPr/>
            <p:nvPr/>
          </p:nvSpPr>
          <p:spPr>
            <a:xfrm>
              <a:off x="738787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54462312-B083-431E-5531-3F09386D2B4D}"/>
                </a:ext>
              </a:extLst>
            </p:cNvPr>
            <p:cNvSpPr/>
            <p:nvPr/>
          </p:nvSpPr>
          <p:spPr>
            <a:xfrm>
              <a:off x="743251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BFCC57CD-4211-AB20-A66D-3865E654A0B2}"/>
                </a:ext>
              </a:extLst>
            </p:cNvPr>
            <p:cNvSpPr/>
            <p:nvPr/>
          </p:nvSpPr>
          <p:spPr>
            <a:xfrm>
              <a:off x="752188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9E2AC277-DE9E-E328-33A1-5E4739B1E0C6}"/>
                </a:ext>
              </a:extLst>
            </p:cNvPr>
            <p:cNvSpPr/>
            <p:nvPr/>
          </p:nvSpPr>
          <p:spPr>
            <a:xfrm>
              <a:off x="680746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13D4CB15-F2E3-3500-2B98-B4C6DA0BB557}"/>
                </a:ext>
              </a:extLst>
            </p:cNvPr>
            <p:cNvSpPr/>
            <p:nvPr/>
          </p:nvSpPr>
          <p:spPr>
            <a:xfrm>
              <a:off x="6986119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CD618E06-45DA-E5AE-12E4-3BF006655DAB}"/>
                </a:ext>
              </a:extLst>
            </p:cNvPr>
            <p:cNvSpPr/>
            <p:nvPr/>
          </p:nvSpPr>
          <p:spPr>
            <a:xfrm>
              <a:off x="712003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FDD141A2-5F70-6E73-AAE0-D7AE720DACEC}"/>
                </a:ext>
              </a:extLst>
            </p:cNvPr>
            <p:cNvSpPr/>
            <p:nvPr/>
          </p:nvSpPr>
          <p:spPr>
            <a:xfrm>
              <a:off x="720931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7FF78871-7679-EA3B-4C37-F8FB0CB7F74C}"/>
                </a:ext>
              </a:extLst>
            </p:cNvPr>
            <p:cNvSpPr/>
            <p:nvPr/>
          </p:nvSpPr>
          <p:spPr>
            <a:xfrm>
              <a:off x="725395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89544812-BDE0-EF1B-AFA2-56B5DE5069FB}"/>
                </a:ext>
              </a:extLst>
            </p:cNvPr>
            <p:cNvSpPr/>
            <p:nvPr/>
          </p:nvSpPr>
          <p:spPr>
            <a:xfrm>
              <a:off x="7298594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043617E0-5897-290C-5684-42666AB367DF}"/>
                </a:ext>
              </a:extLst>
            </p:cNvPr>
            <p:cNvSpPr/>
            <p:nvPr/>
          </p:nvSpPr>
          <p:spPr>
            <a:xfrm>
              <a:off x="7432512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3B0771E8-3887-9710-981A-01C72364DAEB}"/>
                </a:ext>
              </a:extLst>
            </p:cNvPr>
            <p:cNvSpPr/>
            <p:nvPr/>
          </p:nvSpPr>
          <p:spPr>
            <a:xfrm>
              <a:off x="680746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08139889-98BB-E336-01DA-4F85AF887AFF}"/>
                </a:ext>
              </a:extLst>
            </p:cNvPr>
            <p:cNvSpPr/>
            <p:nvPr/>
          </p:nvSpPr>
          <p:spPr>
            <a:xfrm>
              <a:off x="703075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B3DF69F5-AE01-7319-629F-6A17D1FEA8EB}"/>
                </a:ext>
              </a:extLst>
            </p:cNvPr>
            <p:cNvSpPr/>
            <p:nvPr/>
          </p:nvSpPr>
          <p:spPr>
            <a:xfrm>
              <a:off x="707539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57F32FC1-C8C1-C479-A6EE-FF10C94105EC}"/>
                </a:ext>
              </a:extLst>
            </p:cNvPr>
            <p:cNvSpPr/>
            <p:nvPr/>
          </p:nvSpPr>
          <p:spPr>
            <a:xfrm>
              <a:off x="712003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4A50B605-D0F8-BA8D-FEE0-F999843EF2AF}"/>
                </a:ext>
              </a:extLst>
            </p:cNvPr>
            <p:cNvSpPr/>
            <p:nvPr/>
          </p:nvSpPr>
          <p:spPr>
            <a:xfrm>
              <a:off x="720931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 57">
              <a:extLst>
                <a:ext uri="{FF2B5EF4-FFF2-40B4-BE49-F238E27FC236}">
                  <a16:creationId xmlns:a16="http://schemas.microsoft.com/office/drawing/2014/main" id="{12EEBEB4-FCF2-F580-73C4-40EF76EF17CE}"/>
                </a:ext>
              </a:extLst>
            </p:cNvPr>
            <p:cNvSpPr/>
            <p:nvPr/>
          </p:nvSpPr>
          <p:spPr>
            <a:xfrm>
              <a:off x="725395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 58">
              <a:extLst>
                <a:ext uri="{FF2B5EF4-FFF2-40B4-BE49-F238E27FC236}">
                  <a16:creationId xmlns:a16="http://schemas.microsoft.com/office/drawing/2014/main" id="{D2960D56-2087-2605-4994-3F2AFE199C36}"/>
                </a:ext>
              </a:extLst>
            </p:cNvPr>
            <p:cNvSpPr/>
            <p:nvPr/>
          </p:nvSpPr>
          <p:spPr>
            <a:xfrm>
              <a:off x="7298594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 59">
              <a:extLst>
                <a:ext uri="{FF2B5EF4-FFF2-40B4-BE49-F238E27FC236}">
                  <a16:creationId xmlns:a16="http://schemas.microsoft.com/office/drawing/2014/main" id="{439FB4E0-FEB3-6B91-1133-CDB50749328E}"/>
                </a:ext>
              </a:extLst>
            </p:cNvPr>
            <p:cNvSpPr/>
            <p:nvPr/>
          </p:nvSpPr>
          <p:spPr>
            <a:xfrm>
              <a:off x="7343233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Полилиния 60">
              <a:extLst>
                <a:ext uri="{FF2B5EF4-FFF2-40B4-BE49-F238E27FC236}">
                  <a16:creationId xmlns:a16="http://schemas.microsoft.com/office/drawing/2014/main" id="{FF0B7FAA-9A11-AEF9-80FA-36A0923C7953}"/>
                </a:ext>
              </a:extLst>
            </p:cNvPr>
            <p:cNvSpPr/>
            <p:nvPr/>
          </p:nvSpPr>
          <p:spPr>
            <a:xfrm>
              <a:off x="738787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 61">
              <a:extLst>
                <a:ext uri="{FF2B5EF4-FFF2-40B4-BE49-F238E27FC236}">
                  <a16:creationId xmlns:a16="http://schemas.microsoft.com/office/drawing/2014/main" id="{9397A71B-BD8B-8C1E-2CDC-765A7EDB0256}"/>
                </a:ext>
              </a:extLst>
            </p:cNvPr>
            <p:cNvSpPr/>
            <p:nvPr/>
          </p:nvSpPr>
          <p:spPr>
            <a:xfrm>
              <a:off x="743251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 62">
              <a:extLst>
                <a:ext uri="{FF2B5EF4-FFF2-40B4-BE49-F238E27FC236}">
                  <a16:creationId xmlns:a16="http://schemas.microsoft.com/office/drawing/2014/main" id="{D58D2E34-7BBA-AE37-6E52-2B8F274074A7}"/>
                </a:ext>
              </a:extLst>
            </p:cNvPr>
            <p:cNvSpPr/>
            <p:nvPr/>
          </p:nvSpPr>
          <p:spPr>
            <a:xfrm>
              <a:off x="752188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 63">
              <a:extLst>
                <a:ext uri="{FF2B5EF4-FFF2-40B4-BE49-F238E27FC236}">
                  <a16:creationId xmlns:a16="http://schemas.microsoft.com/office/drawing/2014/main" id="{4E8C5E1C-7CA5-A040-AC11-7D9473213E77}"/>
                </a:ext>
              </a:extLst>
            </p:cNvPr>
            <p:cNvSpPr/>
            <p:nvPr/>
          </p:nvSpPr>
          <p:spPr>
            <a:xfrm>
              <a:off x="6807467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" name="Полилиния 64">
              <a:extLst>
                <a:ext uri="{FF2B5EF4-FFF2-40B4-BE49-F238E27FC236}">
                  <a16:creationId xmlns:a16="http://schemas.microsoft.com/office/drawing/2014/main" id="{49156D91-5FCB-E601-5552-6B15DAEA94AD}"/>
                </a:ext>
              </a:extLst>
            </p:cNvPr>
            <p:cNvSpPr/>
            <p:nvPr/>
          </p:nvSpPr>
          <p:spPr>
            <a:xfrm>
              <a:off x="689684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" name="Полилиния 65">
              <a:extLst>
                <a:ext uri="{FF2B5EF4-FFF2-40B4-BE49-F238E27FC236}">
                  <a16:creationId xmlns:a16="http://schemas.microsoft.com/office/drawing/2014/main" id="{F73A94B4-B222-3A5C-102A-2E368D4BBF55}"/>
                </a:ext>
              </a:extLst>
            </p:cNvPr>
            <p:cNvSpPr/>
            <p:nvPr/>
          </p:nvSpPr>
          <p:spPr>
            <a:xfrm>
              <a:off x="6986119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" name="Полилиния 66">
              <a:extLst>
                <a:ext uri="{FF2B5EF4-FFF2-40B4-BE49-F238E27FC236}">
                  <a16:creationId xmlns:a16="http://schemas.microsoft.com/office/drawing/2014/main" id="{343DD0CB-72E6-4563-AD20-CFC0E37F933A}"/>
                </a:ext>
              </a:extLst>
            </p:cNvPr>
            <p:cNvSpPr/>
            <p:nvPr/>
          </p:nvSpPr>
          <p:spPr>
            <a:xfrm>
              <a:off x="703075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" name="Полилиния 67">
              <a:extLst>
                <a:ext uri="{FF2B5EF4-FFF2-40B4-BE49-F238E27FC236}">
                  <a16:creationId xmlns:a16="http://schemas.microsoft.com/office/drawing/2014/main" id="{5BFA067A-3F9C-DF66-9DD0-C39740F49EC5}"/>
                </a:ext>
              </a:extLst>
            </p:cNvPr>
            <p:cNvSpPr/>
            <p:nvPr/>
          </p:nvSpPr>
          <p:spPr>
            <a:xfrm>
              <a:off x="707539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" name="Полилиния 68">
              <a:extLst>
                <a:ext uri="{FF2B5EF4-FFF2-40B4-BE49-F238E27FC236}">
                  <a16:creationId xmlns:a16="http://schemas.microsoft.com/office/drawing/2014/main" id="{900F1D90-0A05-5AC8-EC7F-3AAAB532877B}"/>
                </a:ext>
              </a:extLst>
            </p:cNvPr>
            <p:cNvSpPr/>
            <p:nvPr/>
          </p:nvSpPr>
          <p:spPr>
            <a:xfrm>
              <a:off x="7164676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 69">
              <a:extLst>
                <a:ext uri="{FF2B5EF4-FFF2-40B4-BE49-F238E27FC236}">
                  <a16:creationId xmlns:a16="http://schemas.microsoft.com/office/drawing/2014/main" id="{F4018580-6F9A-9282-0961-FD05523841E3}"/>
                </a:ext>
              </a:extLst>
            </p:cNvPr>
            <p:cNvSpPr/>
            <p:nvPr/>
          </p:nvSpPr>
          <p:spPr>
            <a:xfrm>
              <a:off x="720931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F8A929BC-8BBB-683B-7213-AA48184F5DDE}"/>
                </a:ext>
              </a:extLst>
            </p:cNvPr>
            <p:cNvSpPr/>
            <p:nvPr/>
          </p:nvSpPr>
          <p:spPr>
            <a:xfrm>
              <a:off x="725395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23E492E5-8828-CF44-91CD-32CEE2B80ED3}"/>
                </a:ext>
              </a:extLst>
            </p:cNvPr>
            <p:cNvSpPr/>
            <p:nvPr/>
          </p:nvSpPr>
          <p:spPr>
            <a:xfrm>
              <a:off x="7298594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89B43AF3-3CCA-FFA6-06BF-A8C57D235C6B}"/>
                </a:ext>
              </a:extLst>
            </p:cNvPr>
            <p:cNvSpPr/>
            <p:nvPr/>
          </p:nvSpPr>
          <p:spPr>
            <a:xfrm>
              <a:off x="738787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48570E47-8F8F-82AD-0690-1C5F725D3127}"/>
                </a:ext>
              </a:extLst>
            </p:cNvPr>
            <p:cNvSpPr/>
            <p:nvPr/>
          </p:nvSpPr>
          <p:spPr>
            <a:xfrm>
              <a:off x="743251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30362F07-BABC-F9B6-3B05-D102D5CCFD8F}"/>
                </a:ext>
              </a:extLst>
            </p:cNvPr>
            <p:cNvSpPr/>
            <p:nvPr/>
          </p:nvSpPr>
          <p:spPr>
            <a:xfrm>
              <a:off x="747715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39E7C827-7D01-0129-F198-6A108365296E}"/>
                </a:ext>
              </a:extLst>
            </p:cNvPr>
            <p:cNvSpPr/>
            <p:nvPr/>
          </p:nvSpPr>
          <p:spPr>
            <a:xfrm>
              <a:off x="680746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6D7E14D3-449F-40E8-C861-EC2831D8046B}"/>
                </a:ext>
              </a:extLst>
            </p:cNvPr>
            <p:cNvSpPr/>
            <p:nvPr/>
          </p:nvSpPr>
          <p:spPr>
            <a:xfrm>
              <a:off x="6852106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5107E61F-6D09-9C35-F812-257C24E39FA7}"/>
                </a:ext>
              </a:extLst>
            </p:cNvPr>
            <p:cNvSpPr/>
            <p:nvPr/>
          </p:nvSpPr>
          <p:spPr>
            <a:xfrm>
              <a:off x="689684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C77735BA-988C-D444-DA7C-5116C93D4E54}"/>
                </a:ext>
              </a:extLst>
            </p:cNvPr>
            <p:cNvSpPr/>
            <p:nvPr/>
          </p:nvSpPr>
          <p:spPr>
            <a:xfrm>
              <a:off x="7030758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904F7A52-69E1-7222-132C-BF255B891B3D}"/>
                </a:ext>
              </a:extLst>
            </p:cNvPr>
            <p:cNvSpPr/>
            <p:nvPr/>
          </p:nvSpPr>
          <p:spPr>
            <a:xfrm>
              <a:off x="712003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80A7EB9A-512F-C4F4-C437-99CB238A8340}"/>
                </a:ext>
              </a:extLst>
            </p:cNvPr>
            <p:cNvSpPr/>
            <p:nvPr/>
          </p:nvSpPr>
          <p:spPr>
            <a:xfrm>
              <a:off x="720931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72C492C5-5A1F-63D1-6453-800AEACC690C}"/>
                </a:ext>
              </a:extLst>
            </p:cNvPr>
            <p:cNvSpPr/>
            <p:nvPr/>
          </p:nvSpPr>
          <p:spPr>
            <a:xfrm>
              <a:off x="725395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07DF7846-D1A3-BE76-A43A-81AA108E332B}"/>
                </a:ext>
              </a:extLst>
            </p:cNvPr>
            <p:cNvSpPr/>
            <p:nvPr/>
          </p:nvSpPr>
          <p:spPr>
            <a:xfrm>
              <a:off x="7387872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E782FFEB-14BC-03D7-E2EB-7387666481BA}"/>
                </a:ext>
              </a:extLst>
            </p:cNvPr>
            <p:cNvSpPr/>
            <p:nvPr/>
          </p:nvSpPr>
          <p:spPr>
            <a:xfrm>
              <a:off x="747715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6201762F-DDE4-04BC-FB83-5BBA33D00210}"/>
                </a:ext>
              </a:extLst>
            </p:cNvPr>
            <p:cNvSpPr/>
            <p:nvPr/>
          </p:nvSpPr>
          <p:spPr>
            <a:xfrm>
              <a:off x="680746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40B280E3-D6AC-E5E1-F97C-8A3296DCB85A}"/>
                </a:ext>
              </a:extLst>
            </p:cNvPr>
            <p:cNvSpPr/>
            <p:nvPr/>
          </p:nvSpPr>
          <p:spPr>
            <a:xfrm>
              <a:off x="689684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1C5593EB-1260-61B3-70BA-122160EBA894}"/>
                </a:ext>
              </a:extLst>
            </p:cNvPr>
            <p:cNvSpPr/>
            <p:nvPr/>
          </p:nvSpPr>
          <p:spPr>
            <a:xfrm>
              <a:off x="6941480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29395AC3-D72F-2E2A-3950-F9791DCF5750}"/>
                </a:ext>
              </a:extLst>
            </p:cNvPr>
            <p:cNvSpPr/>
            <p:nvPr/>
          </p:nvSpPr>
          <p:spPr>
            <a:xfrm>
              <a:off x="7075398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A9552098-6A7D-AAF4-FADE-5A359FDD77A6}"/>
                </a:ext>
              </a:extLst>
            </p:cNvPr>
            <p:cNvSpPr/>
            <p:nvPr/>
          </p:nvSpPr>
          <p:spPr>
            <a:xfrm>
              <a:off x="712003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FF0DA03E-4A16-08F1-61AE-4A9C343C37AF}"/>
                </a:ext>
              </a:extLst>
            </p:cNvPr>
            <p:cNvSpPr/>
            <p:nvPr/>
          </p:nvSpPr>
          <p:spPr>
            <a:xfrm>
              <a:off x="7164676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71A28393-CB8B-7BD2-3A45-E9823927332A}"/>
                </a:ext>
              </a:extLst>
            </p:cNvPr>
            <p:cNvSpPr/>
            <p:nvPr/>
          </p:nvSpPr>
          <p:spPr>
            <a:xfrm>
              <a:off x="7387872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7CD4909D-9AB0-964A-45E7-796DAF100769}"/>
                </a:ext>
              </a:extLst>
            </p:cNvPr>
            <p:cNvSpPr/>
            <p:nvPr/>
          </p:nvSpPr>
          <p:spPr>
            <a:xfrm>
              <a:off x="747715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485EFE18-1551-191B-03C5-14E6804D7180}"/>
                </a:ext>
              </a:extLst>
            </p:cNvPr>
            <p:cNvSpPr/>
            <p:nvPr/>
          </p:nvSpPr>
          <p:spPr>
            <a:xfrm>
              <a:off x="6807467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D2563A29-2FA5-B5B5-DCF7-FC45811983A2}"/>
                </a:ext>
              </a:extLst>
            </p:cNvPr>
            <p:cNvSpPr/>
            <p:nvPr/>
          </p:nvSpPr>
          <p:spPr>
            <a:xfrm>
              <a:off x="6896841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DD045CDE-24ED-979E-3546-F829E3714699}"/>
                </a:ext>
              </a:extLst>
            </p:cNvPr>
            <p:cNvSpPr/>
            <p:nvPr/>
          </p:nvSpPr>
          <p:spPr>
            <a:xfrm>
              <a:off x="6986119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685DEA47-FE37-B28A-0A31-57A7F7838021}"/>
                </a:ext>
              </a:extLst>
            </p:cNvPr>
            <p:cNvSpPr/>
            <p:nvPr/>
          </p:nvSpPr>
          <p:spPr>
            <a:xfrm>
              <a:off x="7075398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6CD824FA-B189-E68A-9F0C-5BD300678241}"/>
                </a:ext>
              </a:extLst>
            </p:cNvPr>
            <p:cNvSpPr/>
            <p:nvPr/>
          </p:nvSpPr>
          <p:spPr>
            <a:xfrm>
              <a:off x="7164676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A26A4093-61F3-7329-C236-2F5846E29D41}"/>
                </a:ext>
              </a:extLst>
            </p:cNvPr>
            <p:cNvSpPr/>
            <p:nvPr/>
          </p:nvSpPr>
          <p:spPr>
            <a:xfrm>
              <a:off x="725395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F13A0D70-7F42-6303-A5A7-DA70899354C2}"/>
                </a:ext>
              </a:extLst>
            </p:cNvPr>
            <p:cNvSpPr/>
            <p:nvPr/>
          </p:nvSpPr>
          <p:spPr>
            <a:xfrm>
              <a:off x="7343233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DAD0D5B3-C9E3-85B2-90D8-EE8A9B1E299F}"/>
                </a:ext>
              </a:extLst>
            </p:cNvPr>
            <p:cNvSpPr/>
            <p:nvPr/>
          </p:nvSpPr>
          <p:spPr>
            <a:xfrm>
              <a:off x="7432512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7527CFBA-F981-212B-8DF9-CA7C246C99DB}"/>
                </a:ext>
              </a:extLst>
            </p:cNvPr>
            <p:cNvSpPr/>
            <p:nvPr/>
          </p:nvSpPr>
          <p:spPr>
            <a:xfrm>
              <a:off x="752188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C633C890-FEA5-71AB-AE2C-7A1BFE914570}"/>
                </a:ext>
              </a:extLst>
            </p:cNvPr>
            <p:cNvSpPr/>
            <p:nvPr/>
          </p:nvSpPr>
          <p:spPr>
            <a:xfrm>
              <a:off x="685210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64F3635B-954C-B790-151B-515798854197}"/>
                </a:ext>
              </a:extLst>
            </p:cNvPr>
            <p:cNvSpPr/>
            <p:nvPr/>
          </p:nvSpPr>
          <p:spPr>
            <a:xfrm>
              <a:off x="689684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Полилиния 103">
              <a:extLst>
                <a:ext uri="{FF2B5EF4-FFF2-40B4-BE49-F238E27FC236}">
                  <a16:creationId xmlns:a16="http://schemas.microsoft.com/office/drawing/2014/main" id="{4688EFC3-7CB0-490F-7EC3-7C26CDC8638B}"/>
                </a:ext>
              </a:extLst>
            </p:cNvPr>
            <p:cNvSpPr/>
            <p:nvPr/>
          </p:nvSpPr>
          <p:spPr>
            <a:xfrm>
              <a:off x="7030758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" name="Полилиния 104">
              <a:extLst>
                <a:ext uri="{FF2B5EF4-FFF2-40B4-BE49-F238E27FC236}">
                  <a16:creationId xmlns:a16="http://schemas.microsoft.com/office/drawing/2014/main" id="{0AE26F97-98D8-98CB-8FC9-332DDB825491}"/>
                </a:ext>
              </a:extLst>
            </p:cNvPr>
            <p:cNvSpPr/>
            <p:nvPr/>
          </p:nvSpPr>
          <p:spPr>
            <a:xfrm>
              <a:off x="716467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" name="Полилиния 105">
              <a:extLst>
                <a:ext uri="{FF2B5EF4-FFF2-40B4-BE49-F238E27FC236}">
                  <a16:creationId xmlns:a16="http://schemas.microsoft.com/office/drawing/2014/main" id="{FD401CD6-8BEF-0D3D-90B8-1DE72EAE81F2}"/>
                </a:ext>
              </a:extLst>
            </p:cNvPr>
            <p:cNvSpPr/>
            <p:nvPr/>
          </p:nvSpPr>
          <p:spPr>
            <a:xfrm>
              <a:off x="747715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" name="Полилиния 106">
              <a:extLst>
                <a:ext uri="{FF2B5EF4-FFF2-40B4-BE49-F238E27FC236}">
                  <a16:creationId xmlns:a16="http://schemas.microsoft.com/office/drawing/2014/main" id="{E965B668-DAC7-7FEF-EF26-71632A11900F}"/>
                </a:ext>
              </a:extLst>
            </p:cNvPr>
            <p:cNvSpPr/>
            <p:nvPr/>
          </p:nvSpPr>
          <p:spPr>
            <a:xfrm>
              <a:off x="7521885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" name="Полилиния 107">
              <a:extLst>
                <a:ext uri="{FF2B5EF4-FFF2-40B4-BE49-F238E27FC236}">
                  <a16:creationId xmlns:a16="http://schemas.microsoft.com/office/drawing/2014/main" id="{176661F1-D8EB-FA6D-4DF5-6F491C89B86D}"/>
                </a:ext>
              </a:extLst>
            </p:cNvPr>
            <p:cNvSpPr/>
            <p:nvPr/>
          </p:nvSpPr>
          <p:spPr>
            <a:xfrm>
              <a:off x="653963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" name="Полилиния 108">
              <a:extLst>
                <a:ext uri="{FF2B5EF4-FFF2-40B4-BE49-F238E27FC236}">
                  <a16:creationId xmlns:a16="http://schemas.microsoft.com/office/drawing/2014/main" id="{652D957F-FAC9-7FFC-B03A-98B3383FA630}"/>
                </a:ext>
              </a:extLst>
            </p:cNvPr>
            <p:cNvSpPr/>
            <p:nvPr/>
          </p:nvSpPr>
          <p:spPr>
            <a:xfrm>
              <a:off x="667354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" name="Полилиния 109">
              <a:extLst>
                <a:ext uri="{FF2B5EF4-FFF2-40B4-BE49-F238E27FC236}">
                  <a16:creationId xmlns:a16="http://schemas.microsoft.com/office/drawing/2014/main" id="{5DC9D1A1-D776-66AC-D57B-302B297FAD1E}"/>
                </a:ext>
              </a:extLst>
            </p:cNvPr>
            <p:cNvSpPr/>
            <p:nvPr/>
          </p:nvSpPr>
          <p:spPr>
            <a:xfrm>
              <a:off x="671818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" name="Полилиния 110">
              <a:extLst>
                <a:ext uri="{FF2B5EF4-FFF2-40B4-BE49-F238E27FC236}">
                  <a16:creationId xmlns:a16="http://schemas.microsoft.com/office/drawing/2014/main" id="{E8BFA029-8542-BBB5-5090-02FF7963C522}"/>
                </a:ext>
              </a:extLst>
            </p:cNvPr>
            <p:cNvSpPr/>
            <p:nvPr/>
          </p:nvSpPr>
          <p:spPr>
            <a:xfrm>
              <a:off x="676282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" name="Полилиния 111">
              <a:extLst>
                <a:ext uri="{FF2B5EF4-FFF2-40B4-BE49-F238E27FC236}">
                  <a16:creationId xmlns:a16="http://schemas.microsoft.com/office/drawing/2014/main" id="{AB4AA159-6533-D322-C8CC-FC1F91B1EA44}"/>
                </a:ext>
              </a:extLst>
            </p:cNvPr>
            <p:cNvSpPr/>
            <p:nvPr/>
          </p:nvSpPr>
          <p:spPr>
            <a:xfrm>
              <a:off x="680746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" name="Полилиния 112">
              <a:extLst>
                <a:ext uri="{FF2B5EF4-FFF2-40B4-BE49-F238E27FC236}">
                  <a16:creationId xmlns:a16="http://schemas.microsoft.com/office/drawing/2014/main" id="{05BF4988-5D0C-6AF9-3AB1-9B74F64004B4}"/>
                </a:ext>
              </a:extLst>
            </p:cNvPr>
            <p:cNvSpPr/>
            <p:nvPr/>
          </p:nvSpPr>
          <p:spPr>
            <a:xfrm>
              <a:off x="689684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" name="Полилиния 113">
              <a:extLst>
                <a:ext uri="{FF2B5EF4-FFF2-40B4-BE49-F238E27FC236}">
                  <a16:creationId xmlns:a16="http://schemas.microsoft.com/office/drawing/2014/main" id="{754645E9-A58F-6E9A-1051-13322880A14A}"/>
                </a:ext>
              </a:extLst>
            </p:cNvPr>
            <p:cNvSpPr/>
            <p:nvPr/>
          </p:nvSpPr>
          <p:spPr>
            <a:xfrm>
              <a:off x="703075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" name="Полилиния 114">
              <a:extLst>
                <a:ext uri="{FF2B5EF4-FFF2-40B4-BE49-F238E27FC236}">
                  <a16:creationId xmlns:a16="http://schemas.microsoft.com/office/drawing/2014/main" id="{44AE3059-5919-62C4-144A-7201255FAA9B}"/>
                </a:ext>
              </a:extLst>
            </p:cNvPr>
            <p:cNvSpPr/>
            <p:nvPr/>
          </p:nvSpPr>
          <p:spPr>
            <a:xfrm>
              <a:off x="712003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" name="Полилиния 115">
              <a:extLst>
                <a:ext uri="{FF2B5EF4-FFF2-40B4-BE49-F238E27FC236}">
                  <a16:creationId xmlns:a16="http://schemas.microsoft.com/office/drawing/2014/main" id="{1BF1589F-676A-A714-78F6-3F22435DED82}"/>
                </a:ext>
              </a:extLst>
            </p:cNvPr>
            <p:cNvSpPr/>
            <p:nvPr/>
          </p:nvSpPr>
          <p:spPr>
            <a:xfrm>
              <a:off x="7164676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 116">
              <a:extLst>
                <a:ext uri="{FF2B5EF4-FFF2-40B4-BE49-F238E27FC236}">
                  <a16:creationId xmlns:a16="http://schemas.microsoft.com/office/drawing/2014/main" id="{E5D3A95E-D8CE-8B40-D5DA-CF1589EB2181}"/>
                </a:ext>
              </a:extLst>
            </p:cNvPr>
            <p:cNvSpPr/>
            <p:nvPr/>
          </p:nvSpPr>
          <p:spPr>
            <a:xfrm>
              <a:off x="720931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" name="Полилиния 117">
              <a:extLst>
                <a:ext uri="{FF2B5EF4-FFF2-40B4-BE49-F238E27FC236}">
                  <a16:creationId xmlns:a16="http://schemas.microsoft.com/office/drawing/2014/main" id="{20328D4E-9196-FC3D-94E9-7903317E2963}"/>
                </a:ext>
              </a:extLst>
            </p:cNvPr>
            <p:cNvSpPr/>
            <p:nvPr/>
          </p:nvSpPr>
          <p:spPr>
            <a:xfrm>
              <a:off x="725395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" name="Полилиния 118">
              <a:extLst>
                <a:ext uri="{FF2B5EF4-FFF2-40B4-BE49-F238E27FC236}">
                  <a16:creationId xmlns:a16="http://schemas.microsoft.com/office/drawing/2014/main" id="{05861AE1-98B2-D6DB-C1C4-26D298503A8A}"/>
                </a:ext>
              </a:extLst>
            </p:cNvPr>
            <p:cNvSpPr/>
            <p:nvPr/>
          </p:nvSpPr>
          <p:spPr>
            <a:xfrm>
              <a:off x="734323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" name="Полилиния 119">
              <a:extLst>
                <a:ext uri="{FF2B5EF4-FFF2-40B4-BE49-F238E27FC236}">
                  <a16:creationId xmlns:a16="http://schemas.microsoft.com/office/drawing/2014/main" id="{393C4112-AC62-934D-E668-AA1B5A4F3CCA}"/>
                </a:ext>
              </a:extLst>
            </p:cNvPr>
            <p:cNvSpPr/>
            <p:nvPr/>
          </p:nvSpPr>
          <p:spPr>
            <a:xfrm>
              <a:off x="7566524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" name="Полилиния 120">
              <a:extLst>
                <a:ext uri="{FF2B5EF4-FFF2-40B4-BE49-F238E27FC236}">
                  <a16:creationId xmlns:a16="http://schemas.microsoft.com/office/drawing/2014/main" id="{73A096AB-7010-FC80-ADB4-BB7ED2AD92C6}"/>
                </a:ext>
              </a:extLst>
            </p:cNvPr>
            <p:cNvSpPr/>
            <p:nvPr/>
          </p:nvSpPr>
          <p:spPr>
            <a:xfrm>
              <a:off x="765580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" name="Полилиния 121">
              <a:extLst>
                <a:ext uri="{FF2B5EF4-FFF2-40B4-BE49-F238E27FC236}">
                  <a16:creationId xmlns:a16="http://schemas.microsoft.com/office/drawing/2014/main" id="{3A785189-D0FB-B548-7393-F3D443FBECBB}"/>
                </a:ext>
              </a:extLst>
            </p:cNvPr>
            <p:cNvSpPr/>
            <p:nvPr/>
          </p:nvSpPr>
          <p:spPr>
            <a:xfrm>
              <a:off x="7700442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" name="Полилиния 122">
              <a:extLst>
                <a:ext uri="{FF2B5EF4-FFF2-40B4-BE49-F238E27FC236}">
                  <a16:creationId xmlns:a16="http://schemas.microsoft.com/office/drawing/2014/main" id="{8825FBE5-F988-15A5-9A99-291F74B3AA83}"/>
                </a:ext>
              </a:extLst>
            </p:cNvPr>
            <p:cNvSpPr/>
            <p:nvPr/>
          </p:nvSpPr>
          <p:spPr>
            <a:xfrm>
              <a:off x="774508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" name="Полилиния 123">
              <a:extLst>
                <a:ext uri="{FF2B5EF4-FFF2-40B4-BE49-F238E27FC236}">
                  <a16:creationId xmlns:a16="http://schemas.microsoft.com/office/drawing/2014/main" id="{A5FD7387-E0CC-4520-831A-B9A350370A5F}"/>
                </a:ext>
              </a:extLst>
            </p:cNvPr>
            <p:cNvSpPr/>
            <p:nvPr/>
          </p:nvSpPr>
          <p:spPr>
            <a:xfrm>
              <a:off x="778972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" name="Полилиния 124">
              <a:extLst>
                <a:ext uri="{FF2B5EF4-FFF2-40B4-BE49-F238E27FC236}">
                  <a16:creationId xmlns:a16="http://schemas.microsoft.com/office/drawing/2014/main" id="{E32EFB0C-E777-DCD7-1910-5BBEEEF748DC}"/>
                </a:ext>
              </a:extLst>
            </p:cNvPr>
            <p:cNvSpPr/>
            <p:nvPr/>
          </p:nvSpPr>
          <p:spPr>
            <a:xfrm>
              <a:off x="7834360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" name="Полилиния 125">
              <a:extLst>
                <a:ext uri="{FF2B5EF4-FFF2-40B4-BE49-F238E27FC236}">
                  <a16:creationId xmlns:a16="http://schemas.microsoft.com/office/drawing/2014/main" id="{A37C3103-445F-76E7-C110-DE718BA7886B}"/>
                </a:ext>
              </a:extLst>
            </p:cNvPr>
            <p:cNvSpPr/>
            <p:nvPr/>
          </p:nvSpPr>
          <p:spPr>
            <a:xfrm>
              <a:off x="649499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" name="Полилиния 126">
              <a:extLst>
                <a:ext uri="{FF2B5EF4-FFF2-40B4-BE49-F238E27FC236}">
                  <a16:creationId xmlns:a16="http://schemas.microsoft.com/office/drawing/2014/main" id="{E91CDF4B-5DF0-FA59-05CA-4CA9E998E1F1}"/>
                </a:ext>
              </a:extLst>
            </p:cNvPr>
            <p:cNvSpPr/>
            <p:nvPr/>
          </p:nvSpPr>
          <p:spPr>
            <a:xfrm>
              <a:off x="653963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" name="Полилиния 127">
              <a:extLst>
                <a:ext uri="{FF2B5EF4-FFF2-40B4-BE49-F238E27FC236}">
                  <a16:creationId xmlns:a16="http://schemas.microsoft.com/office/drawing/2014/main" id="{96AC3E34-BE5F-DBB9-202B-A09BE2AC5C01}"/>
                </a:ext>
              </a:extLst>
            </p:cNvPr>
            <p:cNvSpPr/>
            <p:nvPr/>
          </p:nvSpPr>
          <p:spPr>
            <a:xfrm>
              <a:off x="667354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" name="Полилиния 128">
              <a:extLst>
                <a:ext uri="{FF2B5EF4-FFF2-40B4-BE49-F238E27FC236}">
                  <a16:creationId xmlns:a16="http://schemas.microsoft.com/office/drawing/2014/main" id="{253BCCA3-44D5-A068-3D46-CB5803C037D7}"/>
                </a:ext>
              </a:extLst>
            </p:cNvPr>
            <p:cNvSpPr/>
            <p:nvPr/>
          </p:nvSpPr>
          <p:spPr>
            <a:xfrm>
              <a:off x="6852106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" name="Полилиния 129">
              <a:extLst>
                <a:ext uri="{FF2B5EF4-FFF2-40B4-BE49-F238E27FC236}">
                  <a16:creationId xmlns:a16="http://schemas.microsoft.com/office/drawing/2014/main" id="{10DCEF63-1601-EE77-F159-2CE408E2806F}"/>
                </a:ext>
              </a:extLst>
            </p:cNvPr>
            <p:cNvSpPr/>
            <p:nvPr/>
          </p:nvSpPr>
          <p:spPr>
            <a:xfrm>
              <a:off x="6941480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" name="Полилиния 130">
              <a:extLst>
                <a:ext uri="{FF2B5EF4-FFF2-40B4-BE49-F238E27FC236}">
                  <a16:creationId xmlns:a16="http://schemas.microsoft.com/office/drawing/2014/main" id="{348BEF39-51CE-A449-ECC2-B1FCBC670624}"/>
                </a:ext>
              </a:extLst>
            </p:cNvPr>
            <p:cNvSpPr/>
            <p:nvPr/>
          </p:nvSpPr>
          <p:spPr>
            <a:xfrm>
              <a:off x="7030758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" name="Полилиния 131">
              <a:extLst>
                <a:ext uri="{FF2B5EF4-FFF2-40B4-BE49-F238E27FC236}">
                  <a16:creationId xmlns:a16="http://schemas.microsoft.com/office/drawing/2014/main" id="{16DA196F-990D-46F0-0C51-12A205B6D812}"/>
                </a:ext>
              </a:extLst>
            </p:cNvPr>
            <p:cNvSpPr/>
            <p:nvPr/>
          </p:nvSpPr>
          <p:spPr>
            <a:xfrm>
              <a:off x="720931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" name="Полилиния 132">
              <a:extLst>
                <a:ext uri="{FF2B5EF4-FFF2-40B4-BE49-F238E27FC236}">
                  <a16:creationId xmlns:a16="http://schemas.microsoft.com/office/drawing/2014/main" id="{973A7080-9CB8-511A-3629-1A598831CA67}"/>
                </a:ext>
              </a:extLst>
            </p:cNvPr>
            <p:cNvSpPr/>
            <p:nvPr/>
          </p:nvSpPr>
          <p:spPr>
            <a:xfrm>
              <a:off x="725395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" name="Полилиния 133">
              <a:extLst>
                <a:ext uri="{FF2B5EF4-FFF2-40B4-BE49-F238E27FC236}">
                  <a16:creationId xmlns:a16="http://schemas.microsoft.com/office/drawing/2014/main" id="{09DBBB45-6442-C72B-377C-C5EEB2BF4056}"/>
                </a:ext>
              </a:extLst>
            </p:cNvPr>
            <p:cNvSpPr/>
            <p:nvPr/>
          </p:nvSpPr>
          <p:spPr>
            <a:xfrm>
              <a:off x="729859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" name="Полилиния 134">
              <a:extLst>
                <a:ext uri="{FF2B5EF4-FFF2-40B4-BE49-F238E27FC236}">
                  <a16:creationId xmlns:a16="http://schemas.microsoft.com/office/drawing/2014/main" id="{764C86E6-FD18-658E-E880-54AC0A02F78E}"/>
                </a:ext>
              </a:extLst>
            </p:cNvPr>
            <p:cNvSpPr/>
            <p:nvPr/>
          </p:nvSpPr>
          <p:spPr>
            <a:xfrm>
              <a:off x="7432512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" name="Полилиния 135">
              <a:extLst>
                <a:ext uri="{FF2B5EF4-FFF2-40B4-BE49-F238E27FC236}">
                  <a16:creationId xmlns:a16="http://schemas.microsoft.com/office/drawing/2014/main" id="{7E5A7A40-4D81-DA7A-4E1C-8026F6387F47}"/>
                </a:ext>
              </a:extLst>
            </p:cNvPr>
            <p:cNvSpPr/>
            <p:nvPr/>
          </p:nvSpPr>
          <p:spPr>
            <a:xfrm>
              <a:off x="747715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" name="Полилиния 136">
              <a:extLst>
                <a:ext uri="{FF2B5EF4-FFF2-40B4-BE49-F238E27FC236}">
                  <a16:creationId xmlns:a16="http://schemas.microsoft.com/office/drawing/2014/main" id="{55B36C43-9698-6F50-A863-ED38BB763E7D}"/>
                </a:ext>
              </a:extLst>
            </p:cNvPr>
            <p:cNvSpPr/>
            <p:nvPr/>
          </p:nvSpPr>
          <p:spPr>
            <a:xfrm>
              <a:off x="752188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" name="Полилиния 137">
              <a:extLst>
                <a:ext uri="{FF2B5EF4-FFF2-40B4-BE49-F238E27FC236}">
                  <a16:creationId xmlns:a16="http://schemas.microsoft.com/office/drawing/2014/main" id="{CB4C7803-5557-AC36-671F-DC6A81D56931}"/>
                </a:ext>
              </a:extLst>
            </p:cNvPr>
            <p:cNvSpPr/>
            <p:nvPr/>
          </p:nvSpPr>
          <p:spPr>
            <a:xfrm>
              <a:off x="756652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" name="Полилиния 138">
              <a:extLst>
                <a:ext uri="{FF2B5EF4-FFF2-40B4-BE49-F238E27FC236}">
                  <a16:creationId xmlns:a16="http://schemas.microsoft.com/office/drawing/2014/main" id="{CF4CE090-C845-C874-368D-FE01F9E6F8B5}"/>
                </a:ext>
              </a:extLst>
            </p:cNvPr>
            <p:cNvSpPr/>
            <p:nvPr/>
          </p:nvSpPr>
          <p:spPr>
            <a:xfrm>
              <a:off x="761116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" name="Полилиния 139">
              <a:extLst>
                <a:ext uri="{FF2B5EF4-FFF2-40B4-BE49-F238E27FC236}">
                  <a16:creationId xmlns:a16="http://schemas.microsoft.com/office/drawing/2014/main" id="{C32CA1FA-831E-BE25-8768-98F393AAE0E0}"/>
                </a:ext>
              </a:extLst>
            </p:cNvPr>
            <p:cNvSpPr/>
            <p:nvPr/>
          </p:nvSpPr>
          <p:spPr>
            <a:xfrm>
              <a:off x="765580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" name="Полилиния 140">
              <a:extLst>
                <a:ext uri="{FF2B5EF4-FFF2-40B4-BE49-F238E27FC236}">
                  <a16:creationId xmlns:a16="http://schemas.microsoft.com/office/drawing/2014/main" id="{EFFF860C-07B2-655D-B89C-40B69A1D58D4}"/>
                </a:ext>
              </a:extLst>
            </p:cNvPr>
            <p:cNvSpPr/>
            <p:nvPr/>
          </p:nvSpPr>
          <p:spPr>
            <a:xfrm>
              <a:off x="774508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" name="Полилиния 141">
              <a:extLst>
                <a:ext uri="{FF2B5EF4-FFF2-40B4-BE49-F238E27FC236}">
                  <a16:creationId xmlns:a16="http://schemas.microsoft.com/office/drawing/2014/main" id="{8D2F1159-D070-1DBA-4217-AC5FC8011E1F}"/>
                </a:ext>
              </a:extLst>
            </p:cNvPr>
            <p:cNvSpPr/>
            <p:nvPr/>
          </p:nvSpPr>
          <p:spPr>
            <a:xfrm>
              <a:off x="787899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" name="Полилиния 142">
              <a:extLst>
                <a:ext uri="{FF2B5EF4-FFF2-40B4-BE49-F238E27FC236}">
                  <a16:creationId xmlns:a16="http://schemas.microsoft.com/office/drawing/2014/main" id="{3C5E7457-133E-48B3-1809-CA1914EC9FE6}"/>
                </a:ext>
              </a:extLst>
            </p:cNvPr>
            <p:cNvSpPr/>
            <p:nvPr/>
          </p:nvSpPr>
          <p:spPr>
            <a:xfrm>
              <a:off x="671818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" name="Полилиния 143">
              <a:extLst>
                <a:ext uri="{FF2B5EF4-FFF2-40B4-BE49-F238E27FC236}">
                  <a16:creationId xmlns:a16="http://schemas.microsoft.com/office/drawing/2014/main" id="{62BAFD93-6172-D4AD-7A5B-E2226CEAAF83}"/>
                </a:ext>
              </a:extLst>
            </p:cNvPr>
            <p:cNvSpPr/>
            <p:nvPr/>
          </p:nvSpPr>
          <p:spPr>
            <a:xfrm>
              <a:off x="676282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" name="Полилиния 144">
              <a:extLst>
                <a:ext uri="{FF2B5EF4-FFF2-40B4-BE49-F238E27FC236}">
                  <a16:creationId xmlns:a16="http://schemas.microsoft.com/office/drawing/2014/main" id="{D9064AD5-686E-9D90-C412-1A71E0383775}"/>
                </a:ext>
              </a:extLst>
            </p:cNvPr>
            <p:cNvSpPr/>
            <p:nvPr/>
          </p:nvSpPr>
          <p:spPr>
            <a:xfrm>
              <a:off x="685210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" name="Полилиния 145">
              <a:extLst>
                <a:ext uri="{FF2B5EF4-FFF2-40B4-BE49-F238E27FC236}">
                  <a16:creationId xmlns:a16="http://schemas.microsoft.com/office/drawing/2014/main" id="{E2DEF5D6-4CD9-5544-B9C9-3FABB37F010F}"/>
                </a:ext>
              </a:extLst>
            </p:cNvPr>
            <p:cNvSpPr/>
            <p:nvPr/>
          </p:nvSpPr>
          <p:spPr>
            <a:xfrm>
              <a:off x="694148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" name="Полилиния 146">
              <a:extLst>
                <a:ext uri="{FF2B5EF4-FFF2-40B4-BE49-F238E27FC236}">
                  <a16:creationId xmlns:a16="http://schemas.microsoft.com/office/drawing/2014/main" id="{259D6511-F9C6-003E-2023-D73419BF80FD}"/>
                </a:ext>
              </a:extLst>
            </p:cNvPr>
            <p:cNvSpPr/>
            <p:nvPr/>
          </p:nvSpPr>
          <p:spPr>
            <a:xfrm>
              <a:off x="703075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" name="Полилиния 147">
              <a:extLst>
                <a:ext uri="{FF2B5EF4-FFF2-40B4-BE49-F238E27FC236}">
                  <a16:creationId xmlns:a16="http://schemas.microsoft.com/office/drawing/2014/main" id="{5C280713-6F1D-7334-EC09-D3FF77246591}"/>
                </a:ext>
              </a:extLst>
            </p:cNvPr>
            <p:cNvSpPr/>
            <p:nvPr/>
          </p:nvSpPr>
          <p:spPr>
            <a:xfrm>
              <a:off x="707539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" name="Полилиния 148">
              <a:extLst>
                <a:ext uri="{FF2B5EF4-FFF2-40B4-BE49-F238E27FC236}">
                  <a16:creationId xmlns:a16="http://schemas.microsoft.com/office/drawing/2014/main" id="{3DCD2A8D-DA55-4594-39A4-9DF3F549B20B}"/>
                </a:ext>
              </a:extLst>
            </p:cNvPr>
            <p:cNvSpPr/>
            <p:nvPr/>
          </p:nvSpPr>
          <p:spPr>
            <a:xfrm>
              <a:off x="7120037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" name="Полилиния 149">
              <a:extLst>
                <a:ext uri="{FF2B5EF4-FFF2-40B4-BE49-F238E27FC236}">
                  <a16:creationId xmlns:a16="http://schemas.microsoft.com/office/drawing/2014/main" id="{0B207389-5281-F539-B275-E23EE298D212}"/>
                </a:ext>
              </a:extLst>
            </p:cNvPr>
            <p:cNvSpPr/>
            <p:nvPr/>
          </p:nvSpPr>
          <p:spPr>
            <a:xfrm>
              <a:off x="716467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Полилиния 150">
              <a:extLst>
                <a:ext uri="{FF2B5EF4-FFF2-40B4-BE49-F238E27FC236}">
                  <a16:creationId xmlns:a16="http://schemas.microsoft.com/office/drawing/2014/main" id="{7CCC54D2-A69E-3C17-EEC4-20295B08E67A}"/>
                </a:ext>
              </a:extLst>
            </p:cNvPr>
            <p:cNvSpPr/>
            <p:nvPr/>
          </p:nvSpPr>
          <p:spPr>
            <a:xfrm>
              <a:off x="7209315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" name="Полилиния 151">
              <a:extLst>
                <a:ext uri="{FF2B5EF4-FFF2-40B4-BE49-F238E27FC236}">
                  <a16:creationId xmlns:a16="http://schemas.microsoft.com/office/drawing/2014/main" id="{96723457-89AB-7D31-6532-E6E4A0A09E53}"/>
                </a:ext>
              </a:extLst>
            </p:cNvPr>
            <p:cNvSpPr/>
            <p:nvPr/>
          </p:nvSpPr>
          <p:spPr>
            <a:xfrm>
              <a:off x="729859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" name="Полилиния 152">
              <a:extLst>
                <a:ext uri="{FF2B5EF4-FFF2-40B4-BE49-F238E27FC236}">
                  <a16:creationId xmlns:a16="http://schemas.microsoft.com/office/drawing/2014/main" id="{BE2E41EE-92C0-26B6-1A1D-A67469F6CA07}"/>
                </a:ext>
              </a:extLst>
            </p:cNvPr>
            <p:cNvSpPr/>
            <p:nvPr/>
          </p:nvSpPr>
          <p:spPr>
            <a:xfrm>
              <a:off x="734323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" name="Полилиния 153">
              <a:extLst>
                <a:ext uri="{FF2B5EF4-FFF2-40B4-BE49-F238E27FC236}">
                  <a16:creationId xmlns:a16="http://schemas.microsoft.com/office/drawing/2014/main" id="{EEE8C9D9-940C-BE11-6B66-EC63A2552D1E}"/>
                </a:ext>
              </a:extLst>
            </p:cNvPr>
            <p:cNvSpPr/>
            <p:nvPr/>
          </p:nvSpPr>
          <p:spPr>
            <a:xfrm>
              <a:off x="738787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" name="Полилиния 154">
              <a:extLst>
                <a:ext uri="{FF2B5EF4-FFF2-40B4-BE49-F238E27FC236}">
                  <a16:creationId xmlns:a16="http://schemas.microsoft.com/office/drawing/2014/main" id="{E8734CF1-4B40-7CF9-839A-A2BCCD170D7C}"/>
                </a:ext>
              </a:extLst>
            </p:cNvPr>
            <p:cNvSpPr/>
            <p:nvPr/>
          </p:nvSpPr>
          <p:spPr>
            <a:xfrm>
              <a:off x="743251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" name="Полилиния 155">
              <a:extLst>
                <a:ext uri="{FF2B5EF4-FFF2-40B4-BE49-F238E27FC236}">
                  <a16:creationId xmlns:a16="http://schemas.microsoft.com/office/drawing/2014/main" id="{CBBDA2C7-75F2-9026-D0DB-B86E0DE8EE50}"/>
                </a:ext>
              </a:extLst>
            </p:cNvPr>
            <p:cNvSpPr/>
            <p:nvPr/>
          </p:nvSpPr>
          <p:spPr>
            <a:xfrm>
              <a:off x="747715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" name="Полилиния 156">
              <a:extLst>
                <a:ext uri="{FF2B5EF4-FFF2-40B4-BE49-F238E27FC236}">
                  <a16:creationId xmlns:a16="http://schemas.microsoft.com/office/drawing/2014/main" id="{81372B50-8191-3C5C-D661-2850D30F97F9}"/>
                </a:ext>
              </a:extLst>
            </p:cNvPr>
            <p:cNvSpPr/>
            <p:nvPr/>
          </p:nvSpPr>
          <p:spPr>
            <a:xfrm>
              <a:off x="761116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" name="Полилиния 157">
              <a:extLst>
                <a:ext uri="{FF2B5EF4-FFF2-40B4-BE49-F238E27FC236}">
                  <a16:creationId xmlns:a16="http://schemas.microsoft.com/office/drawing/2014/main" id="{CE656A6A-FF10-F2FD-7834-8D42DA052BDF}"/>
                </a:ext>
              </a:extLst>
            </p:cNvPr>
            <p:cNvSpPr/>
            <p:nvPr/>
          </p:nvSpPr>
          <p:spPr>
            <a:xfrm>
              <a:off x="765580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" name="Полилиния 158">
              <a:extLst>
                <a:ext uri="{FF2B5EF4-FFF2-40B4-BE49-F238E27FC236}">
                  <a16:creationId xmlns:a16="http://schemas.microsoft.com/office/drawing/2014/main" id="{EE30700B-6F07-D0F1-FEBA-D9E97AB0F7D8}"/>
                </a:ext>
              </a:extLst>
            </p:cNvPr>
            <p:cNvSpPr/>
            <p:nvPr/>
          </p:nvSpPr>
          <p:spPr>
            <a:xfrm>
              <a:off x="770044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" name="Полилиния 159">
              <a:extLst>
                <a:ext uri="{FF2B5EF4-FFF2-40B4-BE49-F238E27FC236}">
                  <a16:creationId xmlns:a16="http://schemas.microsoft.com/office/drawing/2014/main" id="{AFBF9584-C0A9-42AE-54AA-76B4E56113B2}"/>
                </a:ext>
              </a:extLst>
            </p:cNvPr>
            <p:cNvSpPr/>
            <p:nvPr/>
          </p:nvSpPr>
          <p:spPr>
            <a:xfrm>
              <a:off x="774508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" name="Полилиния 160">
              <a:extLst>
                <a:ext uri="{FF2B5EF4-FFF2-40B4-BE49-F238E27FC236}">
                  <a16:creationId xmlns:a16="http://schemas.microsoft.com/office/drawing/2014/main" id="{D807A1C6-14FF-A588-A2F4-FD15632908FE}"/>
                </a:ext>
              </a:extLst>
            </p:cNvPr>
            <p:cNvSpPr/>
            <p:nvPr/>
          </p:nvSpPr>
          <p:spPr>
            <a:xfrm>
              <a:off x="778972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" name="Полилиния 161">
              <a:extLst>
                <a:ext uri="{FF2B5EF4-FFF2-40B4-BE49-F238E27FC236}">
                  <a16:creationId xmlns:a16="http://schemas.microsoft.com/office/drawing/2014/main" id="{50465C9A-6C0A-07C2-FB7D-B7CFF99E326A}"/>
                </a:ext>
              </a:extLst>
            </p:cNvPr>
            <p:cNvSpPr/>
            <p:nvPr/>
          </p:nvSpPr>
          <p:spPr>
            <a:xfrm>
              <a:off x="783436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" name="Полилиния 162">
              <a:extLst>
                <a:ext uri="{FF2B5EF4-FFF2-40B4-BE49-F238E27FC236}">
                  <a16:creationId xmlns:a16="http://schemas.microsoft.com/office/drawing/2014/main" id="{5776D4D3-D8E6-0199-4A4B-320287057ED4}"/>
                </a:ext>
              </a:extLst>
            </p:cNvPr>
            <p:cNvSpPr/>
            <p:nvPr/>
          </p:nvSpPr>
          <p:spPr>
            <a:xfrm>
              <a:off x="787899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" name="Полилиния 163">
              <a:extLst>
                <a:ext uri="{FF2B5EF4-FFF2-40B4-BE49-F238E27FC236}">
                  <a16:creationId xmlns:a16="http://schemas.microsoft.com/office/drawing/2014/main" id="{75C68EF0-4EC5-B389-532C-4E61E12C39AB}"/>
                </a:ext>
              </a:extLst>
            </p:cNvPr>
            <p:cNvSpPr/>
            <p:nvPr/>
          </p:nvSpPr>
          <p:spPr>
            <a:xfrm>
              <a:off x="649499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" name="Полилиния 164">
              <a:extLst>
                <a:ext uri="{FF2B5EF4-FFF2-40B4-BE49-F238E27FC236}">
                  <a16:creationId xmlns:a16="http://schemas.microsoft.com/office/drawing/2014/main" id="{4C6B3290-0827-6358-B2E3-5ABB5083497C}"/>
                </a:ext>
              </a:extLst>
            </p:cNvPr>
            <p:cNvSpPr/>
            <p:nvPr/>
          </p:nvSpPr>
          <p:spPr>
            <a:xfrm>
              <a:off x="653963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" name="Полилиния 165">
              <a:extLst>
                <a:ext uri="{FF2B5EF4-FFF2-40B4-BE49-F238E27FC236}">
                  <a16:creationId xmlns:a16="http://schemas.microsoft.com/office/drawing/2014/main" id="{92C7A409-0A61-C89C-9CF9-ED189AD0E729}"/>
                </a:ext>
              </a:extLst>
            </p:cNvPr>
            <p:cNvSpPr/>
            <p:nvPr/>
          </p:nvSpPr>
          <p:spPr>
            <a:xfrm>
              <a:off x="6628910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" name="Полилиния 166">
              <a:extLst>
                <a:ext uri="{FF2B5EF4-FFF2-40B4-BE49-F238E27FC236}">
                  <a16:creationId xmlns:a16="http://schemas.microsoft.com/office/drawing/2014/main" id="{D9C9FDBA-AA64-E084-00D0-F6342BEADF89}"/>
                </a:ext>
              </a:extLst>
            </p:cNvPr>
            <p:cNvSpPr/>
            <p:nvPr/>
          </p:nvSpPr>
          <p:spPr>
            <a:xfrm>
              <a:off x="667354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8" name="Полилиния 167">
              <a:extLst>
                <a:ext uri="{FF2B5EF4-FFF2-40B4-BE49-F238E27FC236}">
                  <a16:creationId xmlns:a16="http://schemas.microsoft.com/office/drawing/2014/main" id="{D00AFAA6-1353-2B8B-9DD9-1E80436376E0}"/>
                </a:ext>
              </a:extLst>
            </p:cNvPr>
            <p:cNvSpPr/>
            <p:nvPr/>
          </p:nvSpPr>
          <p:spPr>
            <a:xfrm>
              <a:off x="685210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9" name="Полилиния 168">
              <a:extLst>
                <a:ext uri="{FF2B5EF4-FFF2-40B4-BE49-F238E27FC236}">
                  <a16:creationId xmlns:a16="http://schemas.microsoft.com/office/drawing/2014/main" id="{F0D4895A-059E-87BB-DA9D-51711FB07321}"/>
                </a:ext>
              </a:extLst>
            </p:cNvPr>
            <p:cNvSpPr/>
            <p:nvPr/>
          </p:nvSpPr>
          <p:spPr>
            <a:xfrm>
              <a:off x="698611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0" name="Полилиния 169">
              <a:extLst>
                <a:ext uri="{FF2B5EF4-FFF2-40B4-BE49-F238E27FC236}">
                  <a16:creationId xmlns:a16="http://schemas.microsoft.com/office/drawing/2014/main" id="{96B6FBDB-23B2-4930-5AF6-C4886BF9A64C}"/>
                </a:ext>
              </a:extLst>
            </p:cNvPr>
            <p:cNvSpPr/>
            <p:nvPr/>
          </p:nvSpPr>
          <p:spPr>
            <a:xfrm>
              <a:off x="7030758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1" name="Полилиния 170">
              <a:extLst>
                <a:ext uri="{FF2B5EF4-FFF2-40B4-BE49-F238E27FC236}">
                  <a16:creationId xmlns:a16="http://schemas.microsoft.com/office/drawing/2014/main" id="{C0976B56-8B08-DFE9-3B98-CDD511FC4D61}"/>
                </a:ext>
              </a:extLst>
            </p:cNvPr>
            <p:cNvSpPr/>
            <p:nvPr/>
          </p:nvSpPr>
          <p:spPr>
            <a:xfrm>
              <a:off x="716467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2" name="Полилиния 171">
              <a:extLst>
                <a:ext uri="{FF2B5EF4-FFF2-40B4-BE49-F238E27FC236}">
                  <a16:creationId xmlns:a16="http://schemas.microsoft.com/office/drawing/2014/main" id="{10BE8E9D-E8A1-27A0-8389-9801B5F9CB01}"/>
                </a:ext>
              </a:extLst>
            </p:cNvPr>
            <p:cNvSpPr/>
            <p:nvPr/>
          </p:nvSpPr>
          <p:spPr>
            <a:xfrm>
              <a:off x="720931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3" name="Полилиния 172">
              <a:extLst>
                <a:ext uri="{FF2B5EF4-FFF2-40B4-BE49-F238E27FC236}">
                  <a16:creationId xmlns:a16="http://schemas.microsoft.com/office/drawing/2014/main" id="{1B402CEA-4A6A-828E-15E8-F5AE47126653}"/>
                </a:ext>
              </a:extLst>
            </p:cNvPr>
            <p:cNvSpPr/>
            <p:nvPr/>
          </p:nvSpPr>
          <p:spPr>
            <a:xfrm>
              <a:off x="725395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4" name="Полилиния 173">
              <a:extLst>
                <a:ext uri="{FF2B5EF4-FFF2-40B4-BE49-F238E27FC236}">
                  <a16:creationId xmlns:a16="http://schemas.microsoft.com/office/drawing/2014/main" id="{86739307-9909-7B0D-F70D-BBE108EA8043}"/>
                </a:ext>
              </a:extLst>
            </p:cNvPr>
            <p:cNvSpPr/>
            <p:nvPr/>
          </p:nvSpPr>
          <p:spPr>
            <a:xfrm>
              <a:off x="729859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5" name="Полилиния 174">
              <a:extLst>
                <a:ext uri="{FF2B5EF4-FFF2-40B4-BE49-F238E27FC236}">
                  <a16:creationId xmlns:a16="http://schemas.microsoft.com/office/drawing/2014/main" id="{2136FBEE-CEAC-986A-6BC7-002A8A5FD3F1}"/>
                </a:ext>
              </a:extLst>
            </p:cNvPr>
            <p:cNvSpPr/>
            <p:nvPr/>
          </p:nvSpPr>
          <p:spPr>
            <a:xfrm>
              <a:off x="734323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6" name="Полилиния 175">
              <a:extLst>
                <a:ext uri="{FF2B5EF4-FFF2-40B4-BE49-F238E27FC236}">
                  <a16:creationId xmlns:a16="http://schemas.microsoft.com/office/drawing/2014/main" id="{3378F68C-26DB-7C6A-5774-88DAD5766CEC}"/>
                </a:ext>
              </a:extLst>
            </p:cNvPr>
            <p:cNvSpPr/>
            <p:nvPr/>
          </p:nvSpPr>
          <p:spPr>
            <a:xfrm>
              <a:off x="7432512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7" name="Полилиния 176">
              <a:extLst>
                <a:ext uri="{FF2B5EF4-FFF2-40B4-BE49-F238E27FC236}">
                  <a16:creationId xmlns:a16="http://schemas.microsoft.com/office/drawing/2014/main" id="{4FB8F570-72EC-A69B-F910-92E7AC6766E3}"/>
                </a:ext>
              </a:extLst>
            </p:cNvPr>
            <p:cNvSpPr/>
            <p:nvPr/>
          </p:nvSpPr>
          <p:spPr>
            <a:xfrm>
              <a:off x="756652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8" name="Полилиния 177">
              <a:extLst>
                <a:ext uri="{FF2B5EF4-FFF2-40B4-BE49-F238E27FC236}">
                  <a16:creationId xmlns:a16="http://schemas.microsoft.com/office/drawing/2014/main" id="{93D006B0-B519-9D18-F4D6-5D7FF9344161}"/>
                </a:ext>
              </a:extLst>
            </p:cNvPr>
            <p:cNvSpPr/>
            <p:nvPr/>
          </p:nvSpPr>
          <p:spPr>
            <a:xfrm>
              <a:off x="765580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9" name="Полилиния 178">
              <a:extLst>
                <a:ext uri="{FF2B5EF4-FFF2-40B4-BE49-F238E27FC236}">
                  <a16:creationId xmlns:a16="http://schemas.microsoft.com/office/drawing/2014/main" id="{E1688A47-6600-9AEB-E2C3-BAFF46A44712}"/>
                </a:ext>
              </a:extLst>
            </p:cNvPr>
            <p:cNvSpPr/>
            <p:nvPr/>
          </p:nvSpPr>
          <p:spPr>
            <a:xfrm>
              <a:off x="774508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0" name="Полилиния 179">
              <a:extLst>
                <a:ext uri="{FF2B5EF4-FFF2-40B4-BE49-F238E27FC236}">
                  <a16:creationId xmlns:a16="http://schemas.microsoft.com/office/drawing/2014/main" id="{DFB65C79-1E28-80D7-C064-9E020E53E321}"/>
                </a:ext>
              </a:extLst>
            </p:cNvPr>
            <p:cNvSpPr/>
            <p:nvPr/>
          </p:nvSpPr>
          <p:spPr>
            <a:xfrm>
              <a:off x="649499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1" name="Полилиния 180">
              <a:extLst>
                <a:ext uri="{FF2B5EF4-FFF2-40B4-BE49-F238E27FC236}">
                  <a16:creationId xmlns:a16="http://schemas.microsoft.com/office/drawing/2014/main" id="{5688806E-EFD3-5F2E-E3CF-53381C13CCA8}"/>
                </a:ext>
              </a:extLst>
            </p:cNvPr>
            <p:cNvSpPr/>
            <p:nvPr/>
          </p:nvSpPr>
          <p:spPr>
            <a:xfrm>
              <a:off x="658427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2" name="Полилиния 181">
              <a:extLst>
                <a:ext uri="{FF2B5EF4-FFF2-40B4-BE49-F238E27FC236}">
                  <a16:creationId xmlns:a16="http://schemas.microsoft.com/office/drawing/2014/main" id="{0387C885-C534-4237-4187-F58D1384350D}"/>
                </a:ext>
              </a:extLst>
            </p:cNvPr>
            <p:cNvSpPr/>
            <p:nvPr/>
          </p:nvSpPr>
          <p:spPr>
            <a:xfrm>
              <a:off x="662891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" name="Полилиния 182">
              <a:extLst>
                <a:ext uri="{FF2B5EF4-FFF2-40B4-BE49-F238E27FC236}">
                  <a16:creationId xmlns:a16="http://schemas.microsoft.com/office/drawing/2014/main" id="{F2B5746E-2410-BA3D-C160-AC1E49574E69}"/>
                </a:ext>
              </a:extLst>
            </p:cNvPr>
            <p:cNvSpPr/>
            <p:nvPr/>
          </p:nvSpPr>
          <p:spPr>
            <a:xfrm>
              <a:off x="667354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4" name="Полилиния 183">
              <a:extLst>
                <a:ext uri="{FF2B5EF4-FFF2-40B4-BE49-F238E27FC236}">
                  <a16:creationId xmlns:a16="http://schemas.microsoft.com/office/drawing/2014/main" id="{F96CC817-B386-74DF-25EE-8A26276681A7}"/>
                </a:ext>
              </a:extLst>
            </p:cNvPr>
            <p:cNvSpPr/>
            <p:nvPr/>
          </p:nvSpPr>
          <p:spPr>
            <a:xfrm>
              <a:off x="671818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5" name="Полилиния 184">
              <a:extLst>
                <a:ext uri="{FF2B5EF4-FFF2-40B4-BE49-F238E27FC236}">
                  <a16:creationId xmlns:a16="http://schemas.microsoft.com/office/drawing/2014/main" id="{958DDC3F-3485-E5A9-8461-52EEF2425AFE}"/>
                </a:ext>
              </a:extLst>
            </p:cNvPr>
            <p:cNvSpPr/>
            <p:nvPr/>
          </p:nvSpPr>
          <p:spPr>
            <a:xfrm>
              <a:off x="676282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6" name="Полилиния 185">
              <a:extLst>
                <a:ext uri="{FF2B5EF4-FFF2-40B4-BE49-F238E27FC236}">
                  <a16:creationId xmlns:a16="http://schemas.microsoft.com/office/drawing/2014/main" id="{099B7DB0-1D9F-2455-26A4-208B86B1C0FC}"/>
                </a:ext>
              </a:extLst>
            </p:cNvPr>
            <p:cNvSpPr/>
            <p:nvPr/>
          </p:nvSpPr>
          <p:spPr>
            <a:xfrm>
              <a:off x="694148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7" name="Полилиния 186">
              <a:extLst>
                <a:ext uri="{FF2B5EF4-FFF2-40B4-BE49-F238E27FC236}">
                  <a16:creationId xmlns:a16="http://schemas.microsoft.com/office/drawing/2014/main" id="{F4C67200-5C16-776D-60DA-9F88193DD135}"/>
                </a:ext>
              </a:extLst>
            </p:cNvPr>
            <p:cNvSpPr/>
            <p:nvPr/>
          </p:nvSpPr>
          <p:spPr>
            <a:xfrm>
              <a:off x="698611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8" name="Полилиния 187">
              <a:extLst>
                <a:ext uri="{FF2B5EF4-FFF2-40B4-BE49-F238E27FC236}">
                  <a16:creationId xmlns:a16="http://schemas.microsoft.com/office/drawing/2014/main" id="{FE98A9B2-1D99-81D2-91E7-40F21262215A}"/>
                </a:ext>
              </a:extLst>
            </p:cNvPr>
            <p:cNvSpPr/>
            <p:nvPr/>
          </p:nvSpPr>
          <p:spPr>
            <a:xfrm>
              <a:off x="703075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9" name="Полилиния 188">
              <a:extLst>
                <a:ext uri="{FF2B5EF4-FFF2-40B4-BE49-F238E27FC236}">
                  <a16:creationId xmlns:a16="http://schemas.microsoft.com/office/drawing/2014/main" id="{7A5CBED9-D735-B5DB-A2E4-0B0FD287FFC0}"/>
                </a:ext>
              </a:extLst>
            </p:cNvPr>
            <p:cNvSpPr/>
            <p:nvPr/>
          </p:nvSpPr>
          <p:spPr>
            <a:xfrm>
              <a:off x="7120037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0" name="Полилиния 189">
              <a:extLst>
                <a:ext uri="{FF2B5EF4-FFF2-40B4-BE49-F238E27FC236}">
                  <a16:creationId xmlns:a16="http://schemas.microsoft.com/office/drawing/2014/main" id="{4BC307EE-7B7A-C215-8ADF-16D50069D92C}"/>
                </a:ext>
              </a:extLst>
            </p:cNvPr>
            <p:cNvSpPr/>
            <p:nvPr/>
          </p:nvSpPr>
          <p:spPr>
            <a:xfrm>
              <a:off x="7209315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1" name="Полилиния 190">
              <a:extLst>
                <a:ext uri="{FF2B5EF4-FFF2-40B4-BE49-F238E27FC236}">
                  <a16:creationId xmlns:a16="http://schemas.microsoft.com/office/drawing/2014/main" id="{62791FB7-B328-928E-BAB0-B2385B632B1B}"/>
                </a:ext>
              </a:extLst>
            </p:cNvPr>
            <p:cNvSpPr/>
            <p:nvPr/>
          </p:nvSpPr>
          <p:spPr>
            <a:xfrm>
              <a:off x="738787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2" name="Полилиния 191">
              <a:extLst>
                <a:ext uri="{FF2B5EF4-FFF2-40B4-BE49-F238E27FC236}">
                  <a16:creationId xmlns:a16="http://schemas.microsoft.com/office/drawing/2014/main" id="{5170AB40-2AC5-1869-911A-FBAF3825A98F}"/>
                </a:ext>
              </a:extLst>
            </p:cNvPr>
            <p:cNvSpPr/>
            <p:nvPr/>
          </p:nvSpPr>
          <p:spPr>
            <a:xfrm>
              <a:off x="743251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3" name="Полилиния 192">
              <a:extLst>
                <a:ext uri="{FF2B5EF4-FFF2-40B4-BE49-F238E27FC236}">
                  <a16:creationId xmlns:a16="http://schemas.microsoft.com/office/drawing/2014/main" id="{E8D5B912-58A6-178E-3429-701406F9A2EC}"/>
                </a:ext>
              </a:extLst>
            </p:cNvPr>
            <p:cNvSpPr/>
            <p:nvPr/>
          </p:nvSpPr>
          <p:spPr>
            <a:xfrm>
              <a:off x="747715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4" name="Полилиния 193">
              <a:extLst>
                <a:ext uri="{FF2B5EF4-FFF2-40B4-BE49-F238E27FC236}">
                  <a16:creationId xmlns:a16="http://schemas.microsoft.com/office/drawing/2014/main" id="{D0B5AB8C-F821-F204-CAB4-556807F376A9}"/>
                </a:ext>
              </a:extLst>
            </p:cNvPr>
            <p:cNvSpPr/>
            <p:nvPr/>
          </p:nvSpPr>
          <p:spPr>
            <a:xfrm>
              <a:off x="756652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5" name="Полилиния 194">
              <a:extLst>
                <a:ext uri="{FF2B5EF4-FFF2-40B4-BE49-F238E27FC236}">
                  <a16:creationId xmlns:a16="http://schemas.microsoft.com/office/drawing/2014/main" id="{3B7E88F4-32A1-0DC9-7E3E-74C577AFEB76}"/>
                </a:ext>
              </a:extLst>
            </p:cNvPr>
            <p:cNvSpPr/>
            <p:nvPr/>
          </p:nvSpPr>
          <p:spPr>
            <a:xfrm>
              <a:off x="761116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6" name="Полилиния 195">
              <a:extLst>
                <a:ext uri="{FF2B5EF4-FFF2-40B4-BE49-F238E27FC236}">
                  <a16:creationId xmlns:a16="http://schemas.microsoft.com/office/drawing/2014/main" id="{A1E7C260-F29F-62AD-9D55-5D2FCE3AB39F}"/>
                </a:ext>
              </a:extLst>
            </p:cNvPr>
            <p:cNvSpPr/>
            <p:nvPr/>
          </p:nvSpPr>
          <p:spPr>
            <a:xfrm>
              <a:off x="765580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7" name="Полилиния 196">
              <a:extLst>
                <a:ext uri="{FF2B5EF4-FFF2-40B4-BE49-F238E27FC236}">
                  <a16:creationId xmlns:a16="http://schemas.microsoft.com/office/drawing/2014/main" id="{C8AB9071-2C5E-ED43-760D-CD0877B16A2C}"/>
                </a:ext>
              </a:extLst>
            </p:cNvPr>
            <p:cNvSpPr/>
            <p:nvPr/>
          </p:nvSpPr>
          <p:spPr>
            <a:xfrm>
              <a:off x="770044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8" name="Полилиния 197">
              <a:extLst>
                <a:ext uri="{FF2B5EF4-FFF2-40B4-BE49-F238E27FC236}">
                  <a16:creationId xmlns:a16="http://schemas.microsoft.com/office/drawing/2014/main" id="{9EE3B8F9-8C3B-998C-7B3B-58BAB27238E5}"/>
                </a:ext>
              </a:extLst>
            </p:cNvPr>
            <p:cNvSpPr/>
            <p:nvPr/>
          </p:nvSpPr>
          <p:spPr>
            <a:xfrm>
              <a:off x="774508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9" name="Полилиния 198">
              <a:extLst>
                <a:ext uri="{FF2B5EF4-FFF2-40B4-BE49-F238E27FC236}">
                  <a16:creationId xmlns:a16="http://schemas.microsoft.com/office/drawing/2014/main" id="{0524E18B-DACE-13DB-8215-C3E6CAA68700}"/>
                </a:ext>
              </a:extLst>
            </p:cNvPr>
            <p:cNvSpPr/>
            <p:nvPr/>
          </p:nvSpPr>
          <p:spPr>
            <a:xfrm>
              <a:off x="787899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0" name="Полилиния 199">
              <a:extLst>
                <a:ext uri="{FF2B5EF4-FFF2-40B4-BE49-F238E27FC236}">
                  <a16:creationId xmlns:a16="http://schemas.microsoft.com/office/drawing/2014/main" id="{4BC13619-8F22-BE47-7356-7B2A479A5E83}"/>
                </a:ext>
              </a:extLst>
            </p:cNvPr>
            <p:cNvSpPr/>
            <p:nvPr/>
          </p:nvSpPr>
          <p:spPr>
            <a:xfrm>
              <a:off x="645035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1" name="Полилиния 200">
              <a:extLst>
                <a:ext uri="{FF2B5EF4-FFF2-40B4-BE49-F238E27FC236}">
                  <a16:creationId xmlns:a16="http://schemas.microsoft.com/office/drawing/2014/main" id="{57BAA716-0CF8-ABCD-AFD1-05AF0C52475A}"/>
                </a:ext>
              </a:extLst>
            </p:cNvPr>
            <p:cNvSpPr/>
            <p:nvPr/>
          </p:nvSpPr>
          <p:spPr>
            <a:xfrm>
              <a:off x="6941480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2" name="Полилиния 201">
              <a:extLst>
                <a:ext uri="{FF2B5EF4-FFF2-40B4-BE49-F238E27FC236}">
                  <a16:creationId xmlns:a16="http://schemas.microsoft.com/office/drawing/2014/main" id="{AE173D05-DFE5-A8A2-C267-494C3A33120D}"/>
                </a:ext>
              </a:extLst>
            </p:cNvPr>
            <p:cNvSpPr/>
            <p:nvPr/>
          </p:nvSpPr>
          <p:spPr>
            <a:xfrm>
              <a:off x="698611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3" name="Полилиния 202">
              <a:extLst>
                <a:ext uri="{FF2B5EF4-FFF2-40B4-BE49-F238E27FC236}">
                  <a16:creationId xmlns:a16="http://schemas.microsoft.com/office/drawing/2014/main" id="{2F77A747-A8B2-3493-D4E7-CFC26E8D6D63}"/>
                </a:ext>
              </a:extLst>
            </p:cNvPr>
            <p:cNvSpPr/>
            <p:nvPr/>
          </p:nvSpPr>
          <p:spPr>
            <a:xfrm>
              <a:off x="703075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4" name="Полилиния 203">
              <a:extLst>
                <a:ext uri="{FF2B5EF4-FFF2-40B4-BE49-F238E27FC236}">
                  <a16:creationId xmlns:a16="http://schemas.microsoft.com/office/drawing/2014/main" id="{7ABA9A1D-FD0C-83DF-1CFB-9AF56148AC5B}"/>
                </a:ext>
              </a:extLst>
            </p:cNvPr>
            <p:cNvSpPr/>
            <p:nvPr/>
          </p:nvSpPr>
          <p:spPr>
            <a:xfrm>
              <a:off x="707539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5" name="Полилиния 204">
              <a:extLst>
                <a:ext uri="{FF2B5EF4-FFF2-40B4-BE49-F238E27FC236}">
                  <a16:creationId xmlns:a16="http://schemas.microsoft.com/office/drawing/2014/main" id="{AFFF6306-7B4E-D27B-3445-1CA9796C8FAB}"/>
                </a:ext>
              </a:extLst>
            </p:cNvPr>
            <p:cNvSpPr/>
            <p:nvPr/>
          </p:nvSpPr>
          <p:spPr>
            <a:xfrm>
              <a:off x="7164676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6" name="Полилиния 205">
              <a:extLst>
                <a:ext uri="{FF2B5EF4-FFF2-40B4-BE49-F238E27FC236}">
                  <a16:creationId xmlns:a16="http://schemas.microsoft.com/office/drawing/2014/main" id="{21D1D9BB-3C00-1496-5A0A-CB3AA4259DAB}"/>
                </a:ext>
              </a:extLst>
            </p:cNvPr>
            <p:cNvSpPr/>
            <p:nvPr/>
          </p:nvSpPr>
          <p:spPr>
            <a:xfrm>
              <a:off x="720931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7" name="Полилиния 206">
              <a:extLst>
                <a:ext uri="{FF2B5EF4-FFF2-40B4-BE49-F238E27FC236}">
                  <a16:creationId xmlns:a16="http://schemas.microsoft.com/office/drawing/2014/main" id="{AB5F44F0-D14E-1EA2-D582-BE3521EA184D}"/>
                </a:ext>
              </a:extLst>
            </p:cNvPr>
            <p:cNvSpPr/>
            <p:nvPr/>
          </p:nvSpPr>
          <p:spPr>
            <a:xfrm>
              <a:off x="725395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8" name="Полилиния 207">
              <a:extLst>
                <a:ext uri="{FF2B5EF4-FFF2-40B4-BE49-F238E27FC236}">
                  <a16:creationId xmlns:a16="http://schemas.microsoft.com/office/drawing/2014/main" id="{BAA31D16-D3C9-B4A7-9BBE-EB8CCBE1F3AD}"/>
                </a:ext>
              </a:extLst>
            </p:cNvPr>
            <p:cNvSpPr/>
            <p:nvPr/>
          </p:nvSpPr>
          <p:spPr>
            <a:xfrm>
              <a:off x="729859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9" name="Полилиния 208">
              <a:extLst>
                <a:ext uri="{FF2B5EF4-FFF2-40B4-BE49-F238E27FC236}">
                  <a16:creationId xmlns:a16="http://schemas.microsoft.com/office/drawing/2014/main" id="{D320B377-FB95-9CFB-A59B-3EACF448868D}"/>
                </a:ext>
              </a:extLst>
            </p:cNvPr>
            <p:cNvSpPr/>
            <p:nvPr/>
          </p:nvSpPr>
          <p:spPr>
            <a:xfrm>
              <a:off x="734323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0" name="Полилиния 209">
              <a:extLst>
                <a:ext uri="{FF2B5EF4-FFF2-40B4-BE49-F238E27FC236}">
                  <a16:creationId xmlns:a16="http://schemas.microsoft.com/office/drawing/2014/main" id="{D2505CC1-F467-B3A5-5E38-A17570D73E7A}"/>
                </a:ext>
              </a:extLst>
            </p:cNvPr>
            <p:cNvSpPr/>
            <p:nvPr/>
          </p:nvSpPr>
          <p:spPr>
            <a:xfrm>
              <a:off x="738787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1" name="Полилиния 210">
              <a:extLst>
                <a:ext uri="{FF2B5EF4-FFF2-40B4-BE49-F238E27FC236}">
                  <a16:creationId xmlns:a16="http://schemas.microsoft.com/office/drawing/2014/main" id="{77FB350B-F9BF-4AE9-EE46-F8E493C89E64}"/>
                </a:ext>
              </a:extLst>
            </p:cNvPr>
            <p:cNvSpPr/>
            <p:nvPr/>
          </p:nvSpPr>
          <p:spPr>
            <a:xfrm>
              <a:off x="743251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2" name="Полилиния 211">
              <a:extLst>
                <a:ext uri="{FF2B5EF4-FFF2-40B4-BE49-F238E27FC236}">
                  <a16:creationId xmlns:a16="http://schemas.microsoft.com/office/drawing/2014/main" id="{C6862E07-936E-8B31-C006-703535E17B04}"/>
                </a:ext>
              </a:extLst>
            </p:cNvPr>
            <p:cNvSpPr/>
            <p:nvPr/>
          </p:nvSpPr>
          <p:spPr>
            <a:xfrm>
              <a:off x="747715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3" name="Полилиния 212">
              <a:extLst>
                <a:ext uri="{FF2B5EF4-FFF2-40B4-BE49-F238E27FC236}">
                  <a16:creationId xmlns:a16="http://schemas.microsoft.com/office/drawing/2014/main" id="{4D75FB46-5A81-2B71-75C2-E8175B811925}"/>
                </a:ext>
              </a:extLst>
            </p:cNvPr>
            <p:cNvSpPr/>
            <p:nvPr/>
          </p:nvSpPr>
          <p:spPr>
            <a:xfrm>
              <a:off x="752188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4" name="Полилиния 213">
              <a:extLst>
                <a:ext uri="{FF2B5EF4-FFF2-40B4-BE49-F238E27FC236}">
                  <a16:creationId xmlns:a16="http://schemas.microsoft.com/office/drawing/2014/main" id="{5E58B157-12E1-E818-74E3-0FB3E755938F}"/>
                </a:ext>
              </a:extLst>
            </p:cNvPr>
            <p:cNvSpPr/>
            <p:nvPr/>
          </p:nvSpPr>
          <p:spPr>
            <a:xfrm>
              <a:off x="761116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5" name="Полилиния 214">
              <a:extLst>
                <a:ext uri="{FF2B5EF4-FFF2-40B4-BE49-F238E27FC236}">
                  <a16:creationId xmlns:a16="http://schemas.microsoft.com/office/drawing/2014/main" id="{EA6CAEF7-D3CC-3976-5F18-EF4492EE96B7}"/>
                </a:ext>
              </a:extLst>
            </p:cNvPr>
            <p:cNvSpPr/>
            <p:nvPr/>
          </p:nvSpPr>
          <p:spPr>
            <a:xfrm>
              <a:off x="774508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6" name="Полилиния 215">
              <a:extLst>
                <a:ext uri="{FF2B5EF4-FFF2-40B4-BE49-F238E27FC236}">
                  <a16:creationId xmlns:a16="http://schemas.microsoft.com/office/drawing/2014/main" id="{DABB295D-A09A-40BC-EC16-535B48EF16B2}"/>
                </a:ext>
              </a:extLst>
            </p:cNvPr>
            <p:cNvSpPr/>
            <p:nvPr/>
          </p:nvSpPr>
          <p:spPr>
            <a:xfrm>
              <a:off x="787899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7" name="Полилиния 216">
              <a:extLst>
                <a:ext uri="{FF2B5EF4-FFF2-40B4-BE49-F238E27FC236}">
                  <a16:creationId xmlns:a16="http://schemas.microsoft.com/office/drawing/2014/main" id="{44C01F2C-778B-FBFA-CE29-FCFE94BA8F8C}"/>
                </a:ext>
              </a:extLst>
            </p:cNvPr>
            <p:cNvSpPr/>
            <p:nvPr/>
          </p:nvSpPr>
          <p:spPr>
            <a:xfrm>
              <a:off x="649499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8" name="Полилиния 217">
              <a:extLst>
                <a:ext uri="{FF2B5EF4-FFF2-40B4-BE49-F238E27FC236}">
                  <a16:creationId xmlns:a16="http://schemas.microsoft.com/office/drawing/2014/main" id="{BEA11414-7F52-47D7-3A22-65631170CF9A}"/>
                </a:ext>
              </a:extLst>
            </p:cNvPr>
            <p:cNvSpPr/>
            <p:nvPr/>
          </p:nvSpPr>
          <p:spPr>
            <a:xfrm>
              <a:off x="653963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9" name="Полилиния 218">
              <a:extLst>
                <a:ext uri="{FF2B5EF4-FFF2-40B4-BE49-F238E27FC236}">
                  <a16:creationId xmlns:a16="http://schemas.microsoft.com/office/drawing/2014/main" id="{72407101-2706-A001-A664-E3E4EF8ED531}"/>
                </a:ext>
              </a:extLst>
            </p:cNvPr>
            <p:cNvSpPr/>
            <p:nvPr/>
          </p:nvSpPr>
          <p:spPr>
            <a:xfrm>
              <a:off x="658427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0" name="Полилиния 219">
              <a:extLst>
                <a:ext uri="{FF2B5EF4-FFF2-40B4-BE49-F238E27FC236}">
                  <a16:creationId xmlns:a16="http://schemas.microsoft.com/office/drawing/2014/main" id="{43FB7881-681B-251C-8C82-999532E04E8A}"/>
                </a:ext>
              </a:extLst>
            </p:cNvPr>
            <p:cNvSpPr/>
            <p:nvPr/>
          </p:nvSpPr>
          <p:spPr>
            <a:xfrm>
              <a:off x="6628910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1" name="Полилиния 220">
              <a:extLst>
                <a:ext uri="{FF2B5EF4-FFF2-40B4-BE49-F238E27FC236}">
                  <a16:creationId xmlns:a16="http://schemas.microsoft.com/office/drawing/2014/main" id="{26511C41-5B94-F6F7-337B-5CD00E85475E}"/>
                </a:ext>
              </a:extLst>
            </p:cNvPr>
            <p:cNvSpPr/>
            <p:nvPr/>
          </p:nvSpPr>
          <p:spPr>
            <a:xfrm>
              <a:off x="671818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2" name="Полилиния 221">
              <a:extLst>
                <a:ext uri="{FF2B5EF4-FFF2-40B4-BE49-F238E27FC236}">
                  <a16:creationId xmlns:a16="http://schemas.microsoft.com/office/drawing/2014/main" id="{D334D12A-5AA5-DCA2-559D-8D5EC664B5C1}"/>
                </a:ext>
              </a:extLst>
            </p:cNvPr>
            <p:cNvSpPr/>
            <p:nvPr/>
          </p:nvSpPr>
          <p:spPr>
            <a:xfrm>
              <a:off x="676282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3" name="Полилиния 222">
              <a:extLst>
                <a:ext uri="{FF2B5EF4-FFF2-40B4-BE49-F238E27FC236}">
                  <a16:creationId xmlns:a16="http://schemas.microsoft.com/office/drawing/2014/main" id="{A0D3FA9F-6399-2545-2331-BDCE16DBED84}"/>
                </a:ext>
              </a:extLst>
            </p:cNvPr>
            <p:cNvSpPr/>
            <p:nvPr/>
          </p:nvSpPr>
          <p:spPr>
            <a:xfrm>
              <a:off x="698611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4" name="Полилиния 223">
              <a:extLst>
                <a:ext uri="{FF2B5EF4-FFF2-40B4-BE49-F238E27FC236}">
                  <a16:creationId xmlns:a16="http://schemas.microsoft.com/office/drawing/2014/main" id="{F5FD6456-158C-D169-0265-5A98B2329EA7}"/>
                </a:ext>
              </a:extLst>
            </p:cNvPr>
            <p:cNvSpPr/>
            <p:nvPr/>
          </p:nvSpPr>
          <p:spPr>
            <a:xfrm>
              <a:off x="707539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5" name="Полилиния 224">
              <a:extLst>
                <a:ext uri="{FF2B5EF4-FFF2-40B4-BE49-F238E27FC236}">
                  <a16:creationId xmlns:a16="http://schemas.microsoft.com/office/drawing/2014/main" id="{A8DB75FC-D3CB-2629-4538-7B08669A75ED}"/>
                </a:ext>
              </a:extLst>
            </p:cNvPr>
            <p:cNvSpPr/>
            <p:nvPr/>
          </p:nvSpPr>
          <p:spPr>
            <a:xfrm>
              <a:off x="7120037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6" name="Полилиния 225">
              <a:extLst>
                <a:ext uri="{FF2B5EF4-FFF2-40B4-BE49-F238E27FC236}">
                  <a16:creationId xmlns:a16="http://schemas.microsoft.com/office/drawing/2014/main" id="{9EECB70B-A297-E1C0-7BEE-CFDAEE5E3B0F}"/>
                </a:ext>
              </a:extLst>
            </p:cNvPr>
            <p:cNvSpPr/>
            <p:nvPr/>
          </p:nvSpPr>
          <p:spPr>
            <a:xfrm>
              <a:off x="7164676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7" name="Полилиния 226">
              <a:extLst>
                <a:ext uri="{FF2B5EF4-FFF2-40B4-BE49-F238E27FC236}">
                  <a16:creationId xmlns:a16="http://schemas.microsoft.com/office/drawing/2014/main" id="{D2CEC86A-F82F-5600-CCBC-F014003EAD16}"/>
                </a:ext>
              </a:extLst>
            </p:cNvPr>
            <p:cNvSpPr/>
            <p:nvPr/>
          </p:nvSpPr>
          <p:spPr>
            <a:xfrm>
              <a:off x="720931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8" name="Полилиния 227">
              <a:extLst>
                <a:ext uri="{FF2B5EF4-FFF2-40B4-BE49-F238E27FC236}">
                  <a16:creationId xmlns:a16="http://schemas.microsoft.com/office/drawing/2014/main" id="{344BF45B-1E00-7E5F-557D-DC1C1567405D}"/>
                </a:ext>
              </a:extLst>
            </p:cNvPr>
            <p:cNvSpPr/>
            <p:nvPr/>
          </p:nvSpPr>
          <p:spPr>
            <a:xfrm>
              <a:off x="725395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9" name="Полилиния 228">
              <a:extLst>
                <a:ext uri="{FF2B5EF4-FFF2-40B4-BE49-F238E27FC236}">
                  <a16:creationId xmlns:a16="http://schemas.microsoft.com/office/drawing/2014/main" id="{2EBBC00F-0C15-B376-B4CD-74126CB983DA}"/>
                </a:ext>
              </a:extLst>
            </p:cNvPr>
            <p:cNvSpPr/>
            <p:nvPr/>
          </p:nvSpPr>
          <p:spPr>
            <a:xfrm>
              <a:off x="734323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0" name="Полилиния 229">
              <a:extLst>
                <a:ext uri="{FF2B5EF4-FFF2-40B4-BE49-F238E27FC236}">
                  <a16:creationId xmlns:a16="http://schemas.microsoft.com/office/drawing/2014/main" id="{6AE8D584-DB17-7338-9A3E-F9887332999A}"/>
                </a:ext>
              </a:extLst>
            </p:cNvPr>
            <p:cNvSpPr/>
            <p:nvPr/>
          </p:nvSpPr>
          <p:spPr>
            <a:xfrm>
              <a:off x="747715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1" name="Полилиния 230">
              <a:extLst>
                <a:ext uri="{FF2B5EF4-FFF2-40B4-BE49-F238E27FC236}">
                  <a16:creationId xmlns:a16="http://schemas.microsoft.com/office/drawing/2014/main" id="{9DE64A35-9E19-8E73-0912-CB8902CC778F}"/>
                </a:ext>
              </a:extLst>
            </p:cNvPr>
            <p:cNvSpPr/>
            <p:nvPr/>
          </p:nvSpPr>
          <p:spPr>
            <a:xfrm>
              <a:off x="7566524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2" name="Полилиния 231">
              <a:extLst>
                <a:ext uri="{FF2B5EF4-FFF2-40B4-BE49-F238E27FC236}">
                  <a16:creationId xmlns:a16="http://schemas.microsoft.com/office/drawing/2014/main" id="{537C2437-9424-8F4B-9E04-D6F93B67B757}"/>
                </a:ext>
              </a:extLst>
            </p:cNvPr>
            <p:cNvSpPr/>
            <p:nvPr/>
          </p:nvSpPr>
          <p:spPr>
            <a:xfrm>
              <a:off x="778972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3" name="Полилиния 232">
              <a:extLst>
                <a:ext uri="{FF2B5EF4-FFF2-40B4-BE49-F238E27FC236}">
                  <a16:creationId xmlns:a16="http://schemas.microsoft.com/office/drawing/2014/main" id="{104151B3-606E-EB61-EB87-7007923E1F56}"/>
                </a:ext>
              </a:extLst>
            </p:cNvPr>
            <p:cNvSpPr/>
            <p:nvPr/>
          </p:nvSpPr>
          <p:spPr>
            <a:xfrm>
              <a:off x="787899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4" name="Полилиния 233">
              <a:extLst>
                <a:ext uri="{FF2B5EF4-FFF2-40B4-BE49-F238E27FC236}">
                  <a16:creationId xmlns:a16="http://schemas.microsoft.com/office/drawing/2014/main" id="{E7ACC6BE-304E-15F9-D47A-9F53906C2829}"/>
                </a:ext>
              </a:extLst>
            </p:cNvPr>
            <p:cNvSpPr/>
            <p:nvPr/>
          </p:nvSpPr>
          <p:spPr>
            <a:xfrm>
              <a:off x="645035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5" name="Полилиния 234">
              <a:extLst>
                <a:ext uri="{FF2B5EF4-FFF2-40B4-BE49-F238E27FC236}">
                  <a16:creationId xmlns:a16="http://schemas.microsoft.com/office/drawing/2014/main" id="{AC6390AD-2178-ED39-173A-45845F7812BF}"/>
                </a:ext>
              </a:extLst>
            </p:cNvPr>
            <p:cNvSpPr/>
            <p:nvPr/>
          </p:nvSpPr>
          <p:spPr>
            <a:xfrm>
              <a:off x="649499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6" name="Полилиния 235">
              <a:extLst>
                <a:ext uri="{FF2B5EF4-FFF2-40B4-BE49-F238E27FC236}">
                  <a16:creationId xmlns:a16="http://schemas.microsoft.com/office/drawing/2014/main" id="{F95F8BE8-F25D-8FB9-3602-4882820B17D8}"/>
                </a:ext>
              </a:extLst>
            </p:cNvPr>
            <p:cNvSpPr/>
            <p:nvPr/>
          </p:nvSpPr>
          <p:spPr>
            <a:xfrm>
              <a:off x="653963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7" name="Полилиния 236">
              <a:extLst>
                <a:ext uri="{FF2B5EF4-FFF2-40B4-BE49-F238E27FC236}">
                  <a16:creationId xmlns:a16="http://schemas.microsoft.com/office/drawing/2014/main" id="{B756CF05-39D0-05C8-1D36-101F04C3E666}"/>
                </a:ext>
              </a:extLst>
            </p:cNvPr>
            <p:cNvSpPr/>
            <p:nvPr/>
          </p:nvSpPr>
          <p:spPr>
            <a:xfrm>
              <a:off x="658427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8" name="Полилиния 237">
              <a:extLst>
                <a:ext uri="{FF2B5EF4-FFF2-40B4-BE49-F238E27FC236}">
                  <a16:creationId xmlns:a16="http://schemas.microsoft.com/office/drawing/2014/main" id="{3B1B314B-E48F-6415-8273-E01F1BC4F9E7}"/>
                </a:ext>
              </a:extLst>
            </p:cNvPr>
            <p:cNvSpPr/>
            <p:nvPr/>
          </p:nvSpPr>
          <p:spPr>
            <a:xfrm>
              <a:off x="662891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9" name="Полилиния 238">
              <a:extLst>
                <a:ext uri="{FF2B5EF4-FFF2-40B4-BE49-F238E27FC236}">
                  <a16:creationId xmlns:a16="http://schemas.microsoft.com/office/drawing/2014/main" id="{ADE858D7-AB68-4E47-71A4-6B3EC4A1315F}"/>
                </a:ext>
              </a:extLst>
            </p:cNvPr>
            <p:cNvSpPr/>
            <p:nvPr/>
          </p:nvSpPr>
          <p:spPr>
            <a:xfrm>
              <a:off x="676282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0" name="Полилиния 239">
              <a:extLst>
                <a:ext uri="{FF2B5EF4-FFF2-40B4-BE49-F238E27FC236}">
                  <a16:creationId xmlns:a16="http://schemas.microsoft.com/office/drawing/2014/main" id="{2C6F10E5-6907-D466-6C97-C83C200949B4}"/>
                </a:ext>
              </a:extLst>
            </p:cNvPr>
            <p:cNvSpPr/>
            <p:nvPr/>
          </p:nvSpPr>
          <p:spPr>
            <a:xfrm>
              <a:off x="680746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1" name="Полилиния 240">
              <a:extLst>
                <a:ext uri="{FF2B5EF4-FFF2-40B4-BE49-F238E27FC236}">
                  <a16:creationId xmlns:a16="http://schemas.microsoft.com/office/drawing/2014/main" id="{CC2C53B7-95D4-F851-410E-7F702FBECEAB}"/>
                </a:ext>
              </a:extLst>
            </p:cNvPr>
            <p:cNvSpPr/>
            <p:nvPr/>
          </p:nvSpPr>
          <p:spPr>
            <a:xfrm>
              <a:off x="689684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2" name="Полилиния 241">
              <a:extLst>
                <a:ext uri="{FF2B5EF4-FFF2-40B4-BE49-F238E27FC236}">
                  <a16:creationId xmlns:a16="http://schemas.microsoft.com/office/drawing/2014/main" id="{AABA3CE8-B0A8-7488-2F1F-AF4B66C5DE6B}"/>
                </a:ext>
              </a:extLst>
            </p:cNvPr>
            <p:cNvSpPr/>
            <p:nvPr/>
          </p:nvSpPr>
          <p:spPr>
            <a:xfrm>
              <a:off x="703075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3" name="Полилиния 242">
              <a:extLst>
                <a:ext uri="{FF2B5EF4-FFF2-40B4-BE49-F238E27FC236}">
                  <a16:creationId xmlns:a16="http://schemas.microsoft.com/office/drawing/2014/main" id="{FD46958A-5172-FEAA-1B4D-C2CA64E4F8A2}"/>
                </a:ext>
              </a:extLst>
            </p:cNvPr>
            <p:cNvSpPr/>
            <p:nvPr/>
          </p:nvSpPr>
          <p:spPr>
            <a:xfrm>
              <a:off x="712003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4" name="Полилиния 243">
              <a:extLst>
                <a:ext uri="{FF2B5EF4-FFF2-40B4-BE49-F238E27FC236}">
                  <a16:creationId xmlns:a16="http://schemas.microsoft.com/office/drawing/2014/main" id="{4BBA19C9-F20B-D134-37C4-FCDDFECBD706}"/>
                </a:ext>
              </a:extLst>
            </p:cNvPr>
            <p:cNvSpPr/>
            <p:nvPr/>
          </p:nvSpPr>
          <p:spPr>
            <a:xfrm>
              <a:off x="720931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5" name="Полилиния 244">
              <a:extLst>
                <a:ext uri="{FF2B5EF4-FFF2-40B4-BE49-F238E27FC236}">
                  <a16:creationId xmlns:a16="http://schemas.microsoft.com/office/drawing/2014/main" id="{05B72AC1-8F03-000F-3E5C-8A2E43F73E9E}"/>
                </a:ext>
              </a:extLst>
            </p:cNvPr>
            <p:cNvSpPr/>
            <p:nvPr/>
          </p:nvSpPr>
          <p:spPr>
            <a:xfrm>
              <a:off x="725395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6" name="Полилиния 245">
              <a:extLst>
                <a:ext uri="{FF2B5EF4-FFF2-40B4-BE49-F238E27FC236}">
                  <a16:creationId xmlns:a16="http://schemas.microsoft.com/office/drawing/2014/main" id="{0500F979-8B20-9A42-1BAC-3A754A20A31B}"/>
                </a:ext>
              </a:extLst>
            </p:cNvPr>
            <p:cNvSpPr/>
            <p:nvPr/>
          </p:nvSpPr>
          <p:spPr>
            <a:xfrm>
              <a:off x="729859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7" name="Полилиния 246">
              <a:extLst>
                <a:ext uri="{FF2B5EF4-FFF2-40B4-BE49-F238E27FC236}">
                  <a16:creationId xmlns:a16="http://schemas.microsoft.com/office/drawing/2014/main" id="{B1DAFB58-A51F-DD05-1F51-46600EB34A57}"/>
                </a:ext>
              </a:extLst>
            </p:cNvPr>
            <p:cNvSpPr/>
            <p:nvPr/>
          </p:nvSpPr>
          <p:spPr>
            <a:xfrm>
              <a:off x="7432512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8" name="Полилиния 247">
              <a:extLst>
                <a:ext uri="{FF2B5EF4-FFF2-40B4-BE49-F238E27FC236}">
                  <a16:creationId xmlns:a16="http://schemas.microsoft.com/office/drawing/2014/main" id="{59273736-9760-79BD-11D8-6CBE219829DE}"/>
                </a:ext>
              </a:extLst>
            </p:cNvPr>
            <p:cNvSpPr/>
            <p:nvPr/>
          </p:nvSpPr>
          <p:spPr>
            <a:xfrm>
              <a:off x="747715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9732A1E7-E311-E12A-EB87-4EC3DCF60DC3}"/>
                </a:ext>
              </a:extLst>
            </p:cNvPr>
            <p:cNvSpPr/>
            <p:nvPr/>
          </p:nvSpPr>
          <p:spPr>
            <a:xfrm>
              <a:off x="756652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0" name="Полилиния 249">
              <a:extLst>
                <a:ext uri="{FF2B5EF4-FFF2-40B4-BE49-F238E27FC236}">
                  <a16:creationId xmlns:a16="http://schemas.microsoft.com/office/drawing/2014/main" id="{6B8B44D5-057B-F514-FA63-915572785A7B}"/>
                </a:ext>
              </a:extLst>
            </p:cNvPr>
            <p:cNvSpPr/>
            <p:nvPr/>
          </p:nvSpPr>
          <p:spPr>
            <a:xfrm>
              <a:off x="774508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1" name="Полилиния 250">
              <a:extLst>
                <a:ext uri="{FF2B5EF4-FFF2-40B4-BE49-F238E27FC236}">
                  <a16:creationId xmlns:a16="http://schemas.microsoft.com/office/drawing/2014/main" id="{EF46FAA5-BDFE-9459-C1D9-C43E96BC4C2E}"/>
                </a:ext>
              </a:extLst>
            </p:cNvPr>
            <p:cNvSpPr/>
            <p:nvPr/>
          </p:nvSpPr>
          <p:spPr>
            <a:xfrm>
              <a:off x="783436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2" name="Полилиния 251">
              <a:extLst>
                <a:ext uri="{FF2B5EF4-FFF2-40B4-BE49-F238E27FC236}">
                  <a16:creationId xmlns:a16="http://schemas.microsoft.com/office/drawing/2014/main" id="{7FD4A76F-6B11-91AA-216B-D60C1F084BE4}"/>
                </a:ext>
              </a:extLst>
            </p:cNvPr>
            <p:cNvSpPr/>
            <p:nvPr/>
          </p:nvSpPr>
          <p:spPr>
            <a:xfrm>
              <a:off x="653963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3" name="Полилиния 252">
              <a:extLst>
                <a:ext uri="{FF2B5EF4-FFF2-40B4-BE49-F238E27FC236}">
                  <a16:creationId xmlns:a16="http://schemas.microsoft.com/office/drawing/2014/main" id="{AF50FBF3-F5D6-AEA2-2752-E9E19BF93704}"/>
                </a:ext>
              </a:extLst>
            </p:cNvPr>
            <p:cNvSpPr/>
            <p:nvPr/>
          </p:nvSpPr>
          <p:spPr>
            <a:xfrm>
              <a:off x="6628910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4E7C4459-33DD-D2B3-DA7B-738EEEFA9D3A}"/>
                </a:ext>
              </a:extLst>
            </p:cNvPr>
            <p:cNvSpPr/>
            <p:nvPr/>
          </p:nvSpPr>
          <p:spPr>
            <a:xfrm>
              <a:off x="667354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5" name="Полилиния 254">
              <a:extLst>
                <a:ext uri="{FF2B5EF4-FFF2-40B4-BE49-F238E27FC236}">
                  <a16:creationId xmlns:a16="http://schemas.microsoft.com/office/drawing/2014/main" id="{059FCA12-EDEF-87F3-5BEC-5C22165C5C19}"/>
                </a:ext>
              </a:extLst>
            </p:cNvPr>
            <p:cNvSpPr/>
            <p:nvPr/>
          </p:nvSpPr>
          <p:spPr>
            <a:xfrm>
              <a:off x="671818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6" name="Полилиния 255">
              <a:extLst>
                <a:ext uri="{FF2B5EF4-FFF2-40B4-BE49-F238E27FC236}">
                  <a16:creationId xmlns:a16="http://schemas.microsoft.com/office/drawing/2014/main" id="{183983F3-014D-7AB7-41F7-6D02053AFABD}"/>
                </a:ext>
              </a:extLst>
            </p:cNvPr>
            <p:cNvSpPr/>
            <p:nvPr/>
          </p:nvSpPr>
          <p:spPr>
            <a:xfrm>
              <a:off x="6852106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7" name="Полилиния 256">
              <a:extLst>
                <a:ext uri="{FF2B5EF4-FFF2-40B4-BE49-F238E27FC236}">
                  <a16:creationId xmlns:a16="http://schemas.microsoft.com/office/drawing/2014/main" id="{35FC6A1E-7A44-DBE6-1D09-119454D1689E}"/>
                </a:ext>
              </a:extLst>
            </p:cNvPr>
            <p:cNvSpPr/>
            <p:nvPr/>
          </p:nvSpPr>
          <p:spPr>
            <a:xfrm>
              <a:off x="7253955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8" name="Полилиния 257">
              <a:extLst>
                <a:ext uri="{FF2B5EF4-FFF2-40B4-BE49-F238E27FC236}">
                  <a16:creationId xmlns:a16="http://schemas.microsoft.com/office/drawing/2014/main" id="{524126F1-325C-03D4-C1E7-15E695D3FD50}"/>
                </a:ext>
              </a:extLst>
            </p:cNvPr>
            <p:cNvSpPr/>
            <p:nvPr/>
          </p:nvSpPr>
          <p:spPr>
            <a:xfrm>
              <a:off x="7432512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7F41BAD4-779E-CC6F-1DD1-B5A7D32E03E2}"/>
                </a:ext>
              </a:extLst>
            </p:cNvPr>
            <p:cNvSpPr/>
            <p:nvPr/>
          </p:nvSpPr>
          <p:spPr>
            <a:xfrm>
              <a:off x="747715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0" name="Полилиния 259">
              <a:extLst>
                <a:ext uri="{FF2B5EF4-FFF2-40B4-BE49-F238E27FC236}">
                  <a16:creationId xmlns:a16="http://schemas.microsoft.com/office/drawing/2014/main" id="{60039CEB-D415-48F4-4D07-40617F9E4421}"/>
                </a:ext>
              </a:extLst>
            </p:cNvPr>
            <p:cNvSpPr/>
            <p:nvPr/>
          </p:nvSpPr>
          <p:spPr>
            <a:xfrm>
              <a:off x="7611164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" name="Полилиния 260">
              <a:extLst>
                <a:ext uri="{FF2B5EF4-FFF2-40B4-BE49-F238E27FC236}">
                  <a16:creationId xmlns:a16="http://schemas.microsoft.com/office/drawing/2014/main" id="{AC065DEE-F192-D388-0A75-C476B546E838}"/>
                </a:ext>
              </a:extLst>
            </p:cNvPr>
            <p:cNvSpPr/>
            <p:nvPr/>
          </p:nvSpPr>
          <p:spPr>
            <a:xfrm>
              <a:off x="649499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" name="Полилиния 261">
              <a:extLst>
                <a:ext uri="{FF2B5EF4-FFF2-40B4-BE49-F238E27FC236}">
                  <a16:creationId xmlns:a16="http://schemas.microsoft.com/office/drawing/2014/main" id="{90DC3D24-7D2A-8823-5C27-FD29AD5F7CB8}"/>
                </a:ext>
              </a:extLst>
            </p:cNvPr>
            <p:cNvSpPr/>
            <p:nvPr/>
          </p:nvSpPr>
          <p:spPr>
            <a:xfrm>
              <a:off x="6628910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" name="Полилиния 262">
              <a:extLst>
                <a:ext uri="{FF2B5EF4-FFF2-40B4-BE49-F238E27FC236}">
                  <a16:creationId xmlns:a16="http://schemas.microsoft.com/office/drawing/2014/main" id="{E838DC94-DAB5-5842-0E5B-78E3C2BD8003}"/>
                </a:ext>
              </a:extLst>
            </p:cNvPr>
            <p:cNvSpPr/>
            <p:nvPr/>
          </p:nvSpPr>
          <p:spPr>
            <a:xfrm>
              <a:off x="667354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" name="Полилиния 263">
              <a:extLst>
                <a:ext uri="{FF2B5EF4-FFF2-40B4-BE49-F238E27FC236}">
                  <a16:creationId xmlns:a16="http://schemas.microsoft.com/office/drawing/2014/main" id="{32E90591-8E35-C875-70BF-2E3F9EF5B07D}"/>
                </a:ext>
              </a:extLst>
            </p:cNvPr>
            <p:cNvSpPr/>
            <p:nvPr/>
          </p:nvSpPr>
          <p:spPr>
            <a:xfrm>
              <a:off x="685210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" name="Полилиния 264">
              <a:extLst>
                <a:ext uri="{FF2B5EF4-FFF2-40B4-BE49-F238E27FC236}">
                  <a16:creationId xmlns:a16="http://schemas.microsoft.com/office/drawing/2014/main" id="{8DB18D4E-8564-E1C5-DD45-8475306F6598}"/>
                </a:ext>
              </a:extLst>
            </p:cNvPr>
            <p:cNvSpPr/>
            <p:nvPr/>
          </p:nvSpPr>
          <p:spPr>
            <a:xfrm>
              <a:off x="689684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" name="Полилиния 265">
              <a:extLst>
                <a:ext uri="{FF2B5EF4-FFF2-40B4-BE49-F238E27FC236}">
                  <a16:creationId xmlns:a16="http://schemas.microsoft.com/office/drawing/2014/main" id="{51C197F2-EBE9-F6CB-64F8-9D67A411A151}"/>
                </a:ext>
              </a:extLst>
            </p:cNvPr>
            <p:cNvSpPr/>
            <p:nvPr/>
          </p:nvSpPr>
          <p:spPr>
            <a:xfrm>
              <a:off x="7075398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" name="Полилиния 266">
              <a:extLst>
                <a:ext uri="{FF2B5EF4-FFF2-40B4-BE49-F238E27FC236}">
                  <a16:creationId xmlns:a16="http://schemas.microsoft.com/office/drawing/2014/main" id="{53458AC1-9D90-E5D2-1793-1367D89FB8E7}"/>
                </a:ext>
              </a:extLst>
            </p:cNvPr>
            <p:cNvSpPr/>
            <p:nvPr/>
          </p:nvSpPr>
          <p:spPr>
            <a:xfrm>
              <a:off x="716467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" name="Полилиния 267">
              <a:extLst>
                <a:ext uri="{FF2B5EF4-FFF2-40B4-BE49-F238E27FC236}">
                  <a16:creationId xmlns:a16="http://schemas.microsoft.com/office/drawing/2014/main" id="{5A361043-605C-B74D-C8AE-FB873770DE41}"/>
                </a:ext>
              </a:extLst>
            </p:cNvPr>
            <p:cNvSpPr/>
            <p:nvPr/>
          </p:nvSpPr>
          <p:spPr>
            <a:xfrm>
              <a:off x="7209315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" name="Полилиния 268">
              <a:extLst>
                <a:ext uri="{FF2B5EF4-FFF2-40B4-BE49-F238E27FC236}">
                  <a16:creationId xmlns:a16="http://schemas.microsoft.com/office/drawing/2014/main" id="{7EECA926-E9C3-672F-D4F0-CB459F154CC0}"/>
                </a:ext>
              </a:extLst>
            </p:cNvPr>
            <p:cNvSpPr/>
            <p:nvPr/>
          </p:nvSpPr>
          <p:spPr>
            <a:xfrm>
              <a:off x="734323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" name="Полилиния 269">
              <a:extLst>
                <a:ext uri="{FF2B5EF4-FFF2-40B4-BE49-F238E27FC236}">
                  <a16:creationId xmlns:a16="http://schemas.microsoft.com/office/drawing/2014/main" id="{49E80F46-D50B-C3FF-EEDE-8B75CC37DE0E}"/>
                </a:ext>
              </a:extLst>
            </p:cNvPr>
            <p:cNvSpPr/>
            <p:nvPr/>
          </p:nvSpPr>
          <p:spPr>
            <a:xfrm>
              <a:off x="747715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" name="Полилиния 270">
              <a:extLst>
                <a:ext uri="{FF2B5EF4-FFF2-40B4-BE49-F238E27FC236}">
                  <a16:creationId xmlns:a16="http://schemas.microsoft.com/office/drawing/2014/main" id="{AE115DB8-056E-2D5C-76CE-5B3501CBB7A4}"/>
                </a:ext>
              </a:extLst>
            </p:cNvPr>
            <p:cNvSpPr/>
            <p:nvPr/>
          </p:nvSpPr>
          <p:spPr>
            <a:xfrm>
              <a:off x="7566524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" name="Полилиния 271">
              <a:extLst>
                <a:ext uri="{FF2B5EF4-FFF2-40B4-BE49-F238E27FC236}">
                  <a16:creationId xmlns:a16="http://schemas.microsoft.com/office/drawing/2014/main" id="{79E1BD6B-3691-990A-D8E4-43DF7B27ADB4}"/>
                </a:ext>
              </a:extLst>
            </p:cNvPr>
            <p:cNvSpPr/>
            <p:nvPr/>
          </p:nvSpPr>
          <p:spPr>
            <a:xfrm>
              <a:off x="765580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" name="Полилиния 273">
              <a:extLst>
                <a:ext uri="{FF2B5EF4-FFF2-40B4-BE49-F238E27FC236}">
                  <a16:creationId xmlns:a16="http://schemas.microsoft.com/office/drawing/2014/main" id="{85135A52-11C1-9032-AB41-49F1EFAD6FBE}"/>
                </a:ext>
              </a:extLst>
            </p:cNvPr>
            <p:cNvSpPr/>
            <p:nvPr/>
          </p:nvSpPr>
          <p:spPr>
            <a:xfrm>
              <a:off x="778972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" name="Полилиния 274">
              <a:extLst>
                <a:ext uri="{FF2B5EF4-FFF2-40B4-BE49-F238E27FC236}">
                  <a16:creationId xmlns:a16="http://schemas.microsoft.com/office/drawing/2014/main" id="{73BB7657-5F35-E3CC-3F90-1A53544B2211}"/>
                </a:ext>
              </a:extLst>
            </p:cNvPr>
            <p:cNvSpPr/>
            <p:nvPr/>
          </p:nvSpPr>
          <p:spPr>
            <a:xfrm>
              <a:off x="787899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" name="Полилиния 275">
              <a:extLst>
                <a:ext uri="{FF2B5EF4-FFF2-40B4-BE49-F238E27FC236}">
                  <a16:creationId xmlns:a16="http://schemas.microsoft.com/office/drawing/2014/main" id="{81C60136-6303-2E3B-1957-411F250B6BCB}"/>
                </a:ext>
              </a:extLst>
            </p:cNvPr>
            <p:cNvSpPr/>
            <p:nvPr/>
          </p:nvSpPr>
          <p:spPr>
            <a:xfrm>
              <a:off x="645035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" name="Полилиния 295">
              <a:extLst>
                <a:ext uri="{FF2B5EF4-FFF2-40B4-BE49-F238E27FC236}">
                  <a16:creationId xmlns:a16="http://schemas.microsoft.com/office/drawing/2014/main" id="{6E40ECCF-545A-6F8C-B6EE-5B16F682C98A}"/>
                </a:ext>
              </a:extLst>
            </p:cNvPr>
            <p:cNvSpPr/>
            <p:nvPr/>
          </p:nvSpPr>
          <p:spPr>
            <a:xfrm>
              <a:off x="653963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" name="Полилиния 296">
              <a:extLst>
                <a:ext uri="{FF2B5EF4-FFF2-40B4-BE49-F238E27FC236}">
                  <a16:creationId xmlns:a16="http://schemas.microsoft.com/office/drawing/2014/main" id="{2FE0B9DA-B7E1-B6D8-BA81-89420AC64F41}"/>
                </a:ext>
              </a:extLst>
            </p:cNvPr>
            <p:cNvSpPr/>
            <p:nvPr/>
          </p:nvSpPr>
          <p:spPr>
            <a:xfrm>
              <a:off x="658427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" name="Полилиния 297">
              <a:extLst>
                <a:ext uri="{FF2B5EF4-FFF2-40B4-BE49-F238E27FC236}">
                  <a16:creationId xmlns:a16="http://schemas.microsoft.com/office/drawing/2014/main" id="{5EAAFC26-E1C9-A55E-800A-69E941B5DD17}"/>
                </a:ext>
              </a:extLst>
            </p:cNvPr>
            <p:cNvSpPr/>
            <p:nvPr/>
          </p:nvSpPr>
          <p:spPr>
            <a:xfrm>
              <a:off x="662891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" name="Полилиния 298">
              <a:extLst>
                <a:ext uri="{FF2B5EF4-FFF2-40B4-BE49-F238E27FC236}">
                  <a16:creationId xmlns:a16="http://schemas.microsoft.com/office/drawing/2014/main" id="{E6FBDAD6-F532-A406-D2D4-370D1EEEA63C}"/>
                </a:ext>
              </a:extLst>
            </p:cNvPr>
            <p:cNvSpPr/>
            <p:nvPr/>
          </p:nvSpPr>
          <p:spPr>
            <a:xfrm>
              <a:off x="667354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" name="Полилиния 299">
              <a:extLst>
                <a:ext uri="{FF2B5EF4-FFF2-40B4-BE49-F238E27FC236}">
                  <a16:creationId xmlns:a16="http://schemas.microsoft.com/office/drawing/2014/main" id="{C0A5DBDB-8510-4AC1-B8FB-D18EF5BDFCE3}"/>
                </a:ext>
              </a:extLst>
            </p:cNvPr>
            <p:cNvSpPr/>
            <p:nvPr/>
          </p:nvSpPr>
          <p:spPr>
            <a:xfrm>
              <a:off x="671818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" name="Полилиния 300">
              <a:extLst>
                <a:ext uri="{FF2B5EF4-FFF2-40B4-BE49-F238E27FC236}">
                  <a16:creationId xmlns:a16="http://schemas.microsoft.com/office/drawing/2014/main" id="{84D4ECA7-2A6F-4754-FC8C-6A19F5DA7D8A}"/>
                </a:ext>
              </a:extLst>
            </p:cNvPr>
            <p:cNvSpPr/>
            <p:nvPr/>
          </p:nvSpPr>
          <p:spPr>
            <a:xfrm>
              <a:off x="6762828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" name="Полилиния 301">
              <a:extLst>
                <a:ext uri="{FF2B5EF4-FFF2-40B4-BE49-F238E27FC236}">
                  <a16:creationId xmlns:a16="http://schemas.microsoft.com/office/drawing/2014/main" id="{45B9FFBA-5F8A-9238-D438-3608178154DC}"/>
                </a:ext>
              </a:extLst>
            </p:cNvPr>
            <p:cNvSpPr/>
            <p:nvPr/>
          </p:nvSpPr>
          <p:spPr>
            <a:xfrm>
              <a:off x="680746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" name="Полилиния 302">
              <a:extLst>
                <a:ext uri="{FF2B5EF4-FFF2-40B4-BE49-F238E27FC236}">
                  <a16:creationId xmlns:a16="http://schemas.microsoft.com/office/drawing/2014/main" id="{5F35FE0A-6CCD-BD53-F291-6D75D3534A95}"/>
                </a:ext>
              </a:extLst>
            </p:cNvPr>
            <p:cNvSpPr/>
            <p:nvPr/>
          </p:nvSpPr>
          <p:spPr>
            <a:xfrm>
              <a:off x="6852106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" name="Полилиния 303">
              <a:extLst>
                <a:ext uri="{FF2B5EF4-FFF2-40B4-BE49-F238E27FC236}">
                  <a16:creationId xmlns:a16="http://schemas.microsoft.com/office/drawing/2014/main" id="{A388393E-E985-1853-0D1D-6CE8481CCFDE}"/>
                </a:ext>
              </a:extLst>
            </p:cNvPr>
            <p:cNvSpPr/>
            <p:nvPr/>
          </p:nvSpPr>
          <p:spPr>
            <a:xfrm>
              <a:off x="689684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" name="Полилиния 304">
              <a:extLst>
                <a:ext uri="{FF2B5EF4-FFF2-40B4-BE49-F238E27FC236}">
                  <a16:creationId xmlns:a16="http://schemas.microsoft.com/office/drawing/2014/main" id="{CFD71F9A-1995-86A0-54E8-1BDA41362F4C}"/>
                </a:ext>
              </a:extLst>
            </p:cNvPr>
            <p:cNvSpPr/>
            <p:nvPr/>
          </p:nvSpPr>
          <p:spPr>
            <a:xfrm>
              <a:off x="694148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" name="Полилиния 305">
              <a:extLst>
                <a:ext uri="{FF2B5EF4-FFF2-40B4-BE49-F238E27FC236}">
                  <a16:creationId xmlns:a16="http://schemas.microsoft.com/office/drawing/2014/main" id="{E7D393AF-B993-F1AB-33AD-FA256DE5936B}"/>
                </a:ext>
              </a:extLst>
            </p:cNvPr>
            <p:cNvSpPr/>
            <p:nvPr/>
          </p:nvSpPr>
          <p:spPr>
            <a:xfrm>
              <a:off x="712003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" name="Полилиния 306">
              <a:extLst>
                <a:ext uri="{FF2B5EF4-FFF2-40B4-BE49-F238E27FC236}">
                  <a16:creationId xmlns:a16="http://schemas.microsoft.com/office/drawing/2014/main" id="{69D7C069-4768-D88B-C1E5-C5F5C70B141A}"/>
                </a:ext>
              </a:extLst>
            </p:cNvPr>
            <p:cNvSpPr/>
            <p:nvPr/>
          </p:nvSpPr>
          <p:spPr>
            <a:xfrm>
              <a:off x="734323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" name="Полилиния 307">
              <a:extLst>
                <a:ext uri="{FF2B5EF4-FFF2-40B4-BE49-F238E27FC236}">
                  <a16:creationId xmlns:a16="http://schemas.microsoft.com/office/drawing/2014/main" id="{3EC1055A-22D1-AB4D-5396-725649AC965A}"/>
                </a:ext>
              </a:extLst>
            </p:cNvPr>
            <p:cNvSpPr/>
            <p:nvPr/>
          </p:nvSpPr>
          <p:spPr>
            <a:xfrm>
              <a:off x="7432512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" name="Полилиния 308">
              <a:extLst>
                <a:ext uri="{FF2B5EF4-FFF2-40B4-BE49-F238E27FC236}">
                  <a16:creationId xmlns:a16="http://schemas.microsoft.com/office/drawing/2014/main" id="{2E6BE152-02DF-4543-A164-E65F8BD5D4BE}"/>
                </a:ext>
              </a:extLst>
            </p:cNvPr>
            <p:cNvSpPr/>
            <p:nvPr/>
          </p:nvSpPr>
          <p:spPr>
            <a:xfrm>
              <a:off x="747715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" name="Полилиния 309">
              <a:extLst>
                <a:ext uri="{FF2B5EF4-FFF2-40B4-BE49-F238E27FC236}">
                  <a16:creationId xmlns:a16="http://schemas.microsoft.com/office/drawing/2014/main" id="{0163304B-D849-C2C3-85F4-D89F649F75D5}"/>
                </a:ext>
              </a:extLst>
            </p:cNvPr>
            <p:cNvSpPr/>
            <p:nvPr/>
          </p:nvSpPr>
          <p:spPr>
            <a:xfrm>
              <a:off x="774508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" name="Полилиния 310">
              <a:extLst>
                <a:ext uri="{FF2B5EF4-FFF2-40B4-BE49-F238E27FC236}">
                  <a16:creationId xmlns:a16="http://schemas.microsoft.com/office/drawing/2014/main" id="{152DFD4B-A198-29DD-9B00-DBA612EC2F1A}"/>
                </a:ext>
              </a:extLst>
            </p:cNvPr>
            <p:cNvSpPr/>
            <p:nvPr/>
          </p:nvSpPr>
          <p:spPr>
            <a:xfrm>
              <a:off x="778972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" name="Полилиния 311">
              <a:extLst>
                <a:ext uri="{FF2B5EF4-FFF2-40B4-BE49-F238E27FC236}">
                  <a16:creationId xmlns:a16="http://schemas.microsoft.com/office/drawing/2014/main" id="{AD5697D2-95DD-12EF-160F-F6E1F3D5406E}"/>
                </a:ext>
              </a:extLst>
            </p:cNvPr>
            <p:cNvSpPr/>
            <p:nvPr/>
          </p:nvSpPr>
          <p:spPr>
            <a:xfrm>
              <a:off x="787899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" name="Полилиния 312">
              <a:extLst>
                <a:ext uri="{FF2B5EF4-FFF2-40B4-BE49-F238E27FC236}">
                  <a16:creationId xmlns:a16="http://schemas.microsoft.com/office/drawing/2014/main" id="{60C2B5A1-B702-61AE-2354-902612AB9B49}"/>
                </a:ext>
              </a:extLst>
            </p:cNvPr>
            <p:cNvSpPr/>
            <p:nvPr/>
          </p:nvSpPr>
          <p:spPr>
            <a:xfrm>
              <a:off x="649499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" name="Полилиния 313">
              <a:extLst>
                <a:ext uri="{FF2B5EF4-FFF2-40B4-BE49-F238E27FC236}">
                  <a16:creationId xmlns:a16="http://schemas.microsoft.com/office/drawing/2014/main" id="{21C29BC4-81C2-0679-8AB6-087DCADE4BEB}"/>
                </a:ext>
              </a:extLst>
            </p:cNvPr>
            <p:cNvSpPr/>
            <p:nvPr/>
          </p:nvSpPr>
          <p:spPr>
            <a:xfrm>
              <a:off x="653963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" name="Полилиния 314">
              <a:extLst>
                <a:ext uri="{FF2B5EF4-FFF2-40B4-BE49-F238E27FC236}">
                  <a16:creationId xmlns:a16="http://schemas.microsoft.com/office/drawing/2014/main" id="{22991EDE-592B-892D-80DB-16694D1FB74F}"/>
                </a:ext>
              </a:extLst>
            </p:cNvPr>
            <p:cNvSpPr/>
            <p:nvPr/>
          </p:nvSpPr>
          <p:spPr>
            <a:xfrm>
              <a:off x="667354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" name="Полилиния 315">
              <a:extLst>
                <a:ext uri="{FF2B5EF4-FFF2-40B4-BE49-F238E27FC236}">
                  <a16:creationId xmlns:a16="http://schemas.microsoft.com/office/drawing/2014/main" id="{17CA6753-ECF2-1545-31E6-75112DC5F3F3}"/>
                </a:ext>
              </a:extLst>
            </p:cNvPr>
            <p:cNvSpPr/>
            <p:nvPr/>
          </p:nvSpPr>
          <p:spPr>
            <a:xfrm>
              <a:off x="676282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" name="Полилиния 316">
              <a:extLst>
                <a:ext uri="{FF2B5EF4-FFF2-40B4-BE49-F238E27FC236}">
                  <a16:creationId xmlns:a16="http://schemas.microsoft.com/office/drawing/2014/main" id="{99CC0304-2A93-3D8A-46FE-6268A5929EE7}"/>
                </a:ext>
              </a:extLst>
            </p:cNvPr>
            <p:cNvSpPr/>
            <p:nvPr/>
          </p:nvSpPr>
          <p:spPr>
            <a:xfrm>
              <a:off x="689684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" name="Полилиния 317">
              <a:extLst>
                <a:ext uri="{FF2B5EF4-FFF2-40B4-BE49-F238E27FC236}">
                  <a16:creationId xmlns:a16="http://schemas.microsoft.com/office/drawing/2014/main" id="{C9B55BE2-33A5-8ACB-3A42-F4EAA316A4FC}"/>
                </a:ext>
              </a:extLst>
            </p:cNvPr>
            <p:cNvSpPr/>
            <p:nvPr/>
          </p:nvSpPr>
          <p:spPr>
            <a:xfrm>
              <a:off x="6941480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" name="Полилиния 318">
              <a:extLst>
                <a:ext uri="{FF2B5EF4-FFF2-40B4-BE49-F238E27FC236}">
                  <a16:creationId xmlns:a16="http://schemas.microsoft.com/office/drawing/2014/main" id="{2A7DBB42-4D3E-C3C5-C873-0750BE5CDF79}"/>
                </a:ext>
              </a:extLst>
            </p:cNvPr>
            <p:cNvSpPr/>
            <p:nvPr/>
          </p:nvSpPr>
          <p:spPr>
            <a:xfrm>
              <a:off x="707539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" name="Полилиния 319">
              <a:extLst>
                <a:ext uri="{FF2B5EF4-FFF2-40B4-BE49-F238E27FC236}">
                  <a16:creationId xmlns:a16="http://schemas.microsoft.com/office/drawing/2014/main" id="{F976CED7-F5CF-5B71-6025-B17B79B7436C}"/>
                </a:ext>
              </a:extLst>
            </p:cNvPr>
            <p:cNvSpPr/>
            <p:nvPr/>
          </p:nvSpPr>
          <p:spPr>
            <a:xfrm>
              <a:off x="7120037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" name="Полилиния 320">
              <a:extLst>
                <a:ext uri="{FF2B5EF4-FFF2-40B4-BE49-F238E27FC236}">
                  <a16:creationId xmlns:a16="http://schemas.microsoft.com/office/drawing/2014/main" id="{13D6E029-BB33-3B26-3112-AC1F1DD8233E}"/>
                </a:ext>
              </a:extLst>
            </p:cNvPr>
            <p:cNvSpPr/>
            <p:nvPr/>
          </p:nvSpPr>
          <p:spPr>
            <a:xfrm>
              <a:off x="7209315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" name="Полилиния 321">
              <a:extLst>
                <a:ext uri="{FF2B5EF4-FFF2-40B4-BE49-F238E27FC236}">
                  <a16:creationId xmlns:a16="http://schemas.microsoft.com/office/drawing/2014/main" id="{FCFA5420-DF70-1189-D06A-D5451C4257E7}"/>
                </a:ext>
              </a:extLst>
            </p:cNvPr>
            <p:cNvSpPr/>
            <p:nvPr/>
          </p:nvSpPr>
          <p:spPr>
            <a:xfrm>
              <a:off x="734323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" name="Полилиния 322">
              <a:extLst>
                <a:ext uri="{FF2B5EF4-FFF2-40B4-BE49-F238E27FC236}">
                  <a16:creationId xmlns:a16="http://schemas.microsoft.com/office/drawing/2014/main" id="{047DF1E4-2A83-4CFB-8CEB-555EBA002D87}"/>
                </a:ext>
              </a:extLst>
            </p:cNvPr>
            <p:cNvSpPr/>
            <p:nvPr/>
          </p:nvSpPr>
          <p:spPr>
            <a:xfrm>
              <a:off x="747715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" name="Полилиния 323">
              <a:extLst>
                <a:ext uri="{FF2B5EF4-FFF2-40B4-BE49-F238E27FC236}">
                  <a16:creationId xmlns:a16="http://schemas.microsoft.com/office/drawing/2014/main" id="{531174F2-7A12-E986-CD67-5F59506F95B3}"/>
                </a:ext>
              </a:extLst>
            </p:cNvPr>
            <p:cNvSpPr/>
            <p:nvPr/>
          </p:nvSpPr>
          <p:spPr>
            <a:xfrm>
              <a:off x="7611164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" name="Полилиния 324">
              <a:extLst>
                <a:ext uri="{FF2B5EF4-FFF2-40B4-BE49-F238E27FC236}">
                  <a16:creationId xmlns:a16="http://schemas.microsoft.com/office/drawing/2014/main" id="{A95E30B6-7B6A-87D0-74BA-46C02616F307}"/>
                </a:ext>
              </a:extLst>
            </p:cNvPr>
            <p:cNvSpPr/>
            <p:nvPr/>
          </p:nvSpPr>
          <p:spPr>
            <a:xfrm>
              <a:off x="765580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" name="Полилиния 325">
              <a:extLst>
                <a:ext uri="{FF2B5EF4-FFF2-40B4-BE49-F238E27FC236}">
                  <a16:creationId xmlns:a16="http://schemas.microsoft.com/office/drawing/2014/main" id="{CD107D46-05A2-B366-3B34-921C34720A90}"/>
                </a:ext>
              </a:extLst>
            </p:cNvPr>
            <p:cNvSpPr/>
            <p:nvPr/>
          </p:nvSpPr>
          <p:spPr>
            <a:xfrm>
              <a:off x="774508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" name="Полилиния 326">
              <a:extLst>
                <a:ext uri="{FF2B5EF4-FFF2-40B4-BE49-F238E27FC236}">
                  <a16:creationId xmlns:a16="http://schemas.microsoft.com/office/drawing/2014/main" id="{6D8193DE-DE73-DAF5-01C2-73B9CEC34E06}"/>
                </a:ext>
              </a:extLst>
            </p:cNvPr>
            <p:cNvSpPr/>
            <p:nvPr/>
          </p:nvSpPr>
          <p:spPr>
            <a:xfrm>
              <a:off x="787899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" name="Полилиния 327">
              <a:extLst>
                <a:ext uri="{FF2B5EF4-FFF2-40B4-BE49-F238E27FC236}">
                  <a16:creationId xmlns:a16="http://schemas.microsoft.com/office/drawing/2014/main" id="{B9FB7AD4-D396-9277-9413-36336499C727}"/>
                </a:ext>
              </a:extLst>
            </p:cNvPr>
            <p:cNvSpPr/>
            <p:nvPr/>
          </p:nvSpPr>
          <p:spPr>
            <a:xfrm>
              <a:off x="645035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" name="Полилиния 328">
              <a:extLst>
                <a:ext uri="{FF2B5EF4-FFF2-40B4-BE49-F238E27FC236}">
                  <a16:creationId xmlns:a16="http://schemas.microsoft.com/office/drawing/2014/main" id="{CBCA8733-5354-C4DB-F412-7479A7E83432}"/>
                </a:ext>
              </a:extLst>
            </p:cNvPr>
            <p:cNvSpPr/>
            <p:nvPr/>
          </p:nvSpPr>
          <p:spPr>
            <a:xfrm>
              <a:off x="649499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" name="Полилиния 329">
              <a:extLst>
                <a:ext uri="{FF2B5EF4-FFF2-40B4-BE49-F238E27FC236}">
                  <a16:creationId xmlns:a16="http://schemas.microsoft.com/office/drawing/2014/main" id="{F67D543E-51F2-1FEC-5EB1-C97E43B2B74A}"/>
                </a:ext>
              </a:extLst>
            </p:cNvPr>
            <p:cNvSpPr/>
            <p:nvPr/>
          </p:nvSpPr>
          <p:spPr>
            <a:xfrm>
              <a:off x="658427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" name="Полилиния 330">
              <a:extLst>
                <a:ext uri="{FF2B5EF4-FFF2-40B4-BE49-F238E27FC236}">
                  <a16:creationId xmlns:a16="http://schemas.microsoft.com/office/drawing/2014/main" id="{98D01845-0925-1657-D5B6-F2EEC3DB2E75}"/>
                </a:ext>
              </a:extLst>
            </p:cNvPr>
            <p:cNvSpPr/>
            <p:nvPr/>
          </p:nvSpPr>
          <p:spPr>
            <a:xfrm>
              <a:off x="662891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" name="Полилиния 331">
              <a:extLst>
                <a:ext uri="{FF2B5EF4-FFF2-40B4-BE49-F238E27FC236}">
                  <a16:creationId xmlns:a16="http://schemas.microsoft.com/office/drawing/2014/main" id="{DF832845-A475-B3B0-21C4-745C1BF5E251}"/>
                </a:ext>
              </a:extLst>
            </p:cNvPr>
            <p:cNvSpPr/>
            <p:nvPr/>
          </p:nvSpPr>
          <p:spPr>
            <a:xfrm>
              <a:off x="667354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" name="Полилиния 332">
              <a:extLst>
                <a:ext uri="{FF2B5EF4-FFF2-40B4-BE49-F238E27FC236}">
                  <a16:creationId xmlns:a16="http://schemas.microsoft.com/office/drawing/2014/main" id="{5D492ADB-14B4-E2FF-9586-84B64F665DAF}"/>
                </a:ext>
              </a:extLst>
            </p:cNvPr>
            <p:cNvSpPr/>
            <p:nvPr/>
          </p:nvSpPr>
          <p:spPr>
            <a:xfrm>
              <a:off x="671818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" name="Полилиния 333">
              <a:extLst>
                <a:ext uri="{FF2B5EF4-FFF2-40B4-BE49-F238E27FC236}">
                  <a16:creationId xmlns:a16="http://schemas.microsoft.com/office/drawing/2014/main" id="{807693DE-4EED-1619-7112-78C59E94B6F3}"/>
                </a:ext>
              </a:extLst>
            </p:cNvPr>
            <p:cNvSpPr/>
            <p:nvPr/>
          </p:nvSpPr>
          <p:spPr>
            <a:xfrm>
              <a:off x="680746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" name="Полилиния 334">
              <a:extLst>
                <a:ext uri="{FF2B5EF4-FFF2-40B4-BE49-F238E27FC236}">
                  <a16:creationId xmlns:a16="http://schemas.microsoft.com/office/drawing/2014/main" id="{3034FD9F-2167-6065-A890-F63DFC2495C2}"/>
                </a:ext>
              </a:extLst>
            </p:cNvPr>
            <p:cNvSpPr/>
            <p:nvPr/>
          </p:nvSpPr>
          <p:spPr>
            <a:xfrm>
              <a:off x="689684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" name="Полилиния 335">
              <a:extLst>
                <a:ext uri="{FF2B5EF4-FFF2-40B4-BE49-F238E27FC236}">
                  <a16:creationId xmlns:a16="http://schemas.microsoft.com/office/drawing/2014/main" id="{B1A238E2-ACA8-0CF6-0508-BA65A8AF1DD8}"/>
                </a:ext>
              </a:extLst>
            </p:cNvPr>
            <p:cNvSpPr/>
            <p:nvPr/>
          </p:nvSpPr>
          <p:spPr>
            <a:xfrm>
              <a:off x="694148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" name="Полилиния 336">
              <a:extLst>
                <a:ext uri="{FF2B5EF4-FFF2-40B4-BE49-F238E27FC236}">
                  <a16:creationId xmlns:a16="http://schemas.microsoft.com/office/drawing/2014/main" id="{73384646-97A8-21BB-09D4-06E15B19C016}"/>
                </a:ext>
              </a:extLst>
            </p:cNvPr>
            <p:cNvSpPr/>
            <p:nvPr/>
          </p:nvSpPr>
          <p:spPr>
            <a:xfrm>
              <a:off x="7030758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" name="Полилиния 337">
              <a:extLst>
                <a:ext uri="{FF2B5EF4-FFF2-40B4-BE49-F238E27FC236}">
                  <a16:creationId xmlns:a16="http://schemas.microsoft.com/office/drawing/2014/main" id="{443670A1-57DD-30EE-51D2-8C324608873D}"/>
                </a:ext>
              </a:extLst>
            </p:cNvPr>
            <p:cNvSpPr/>
            <p:nvPr/>
          </p:nvSpPr>
          <p:spPr>
            <a:xfrm>
              <a:off x="712003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" name="Полилиния 338">
              <a:extLst>
                <a:ext uri="{FF2B5EF4-FFF2-40B4-BE49-F238E27FC236}">
                  <a16:creationId xmlns:a16="http://schemas.microsoft.com/office/drawing/2014/main" id="{BF05D027-10B4-A9DD-F31C-7BD77BAFA800}"/>
                </a:ext>
              </a:extLst>
            </p:cNvPr>
            <p:cNvSpPr/>
            <p:nvPr/>
          </p:nvSpPr>
          <p:spPr>
            <a:xfrm>
              <a:off x="7253955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" name="Полилиния 339">
              <a:extLst>
                <a:ext uri="{FF2B5EF4-FFF2-40B4-BE49-F238E27FC236}">
                  <a16:creationId xmlns:a16="http://schemas.microsoft.com/office/drawing/2014/main" id="{681F96B3-EC74-1A50-6FD5-95558101E376}"/>
                </a:ext>
              </a:extLst>
            </p:cNvPr>
            <p:cNvSpPr/>
            <p:nvPr/>
          </p:nvSpPr>
          <p:spPr>
            <a:xfrm>
              <a:off x="7298594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" name="Полилиния 340">
              <a:extLst>
                <a:ext uri="{FF2B5EF4-FFF2-40B4-BE49-F238E27FC236}">
                  <a16:creationId xmlns:a16="http://schemas.microsoft.com/office/drawing/2014/main" id="{4E324197-4564-6C30-B4D4-78560504C6C4}"/>
                </a:ext>
              </a:extLst>
            </p:cNvPr>
            <p:cNvSpPr/>
            <p:nvPr/>
          </p:nvSpPr>
          <p:spPr>
            <a:xfrm>
              <a:off x="734323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" name="Полилиния 341">
              <a:extLst>
                <a:ext uri="{FF2B5EF4-FFF2-40B4-BE49-F238E27FC236}">
                  <a16:creationId xmlns:a16="http://schemas.microsoft.com/office/drawing/2014/main" id="{F90F2086-7FB1-BF37-FC25-ED1F64ACE0EB}"/>
                </a:ext>
              </a:extLst>
            </p:cNvPr>
            <p:cNvSpPr/>
            <p:nvPr/>
          </p:nvSpPr>
          <p:spPr>
            <a:xfrm>
              <a:off x="747715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" name="Полилиния 342">
              <a:extLst>
                <a:ext uri="{FF2B5EF4-FFF2-40B4-BE49-F238E27FC236}">
                  <a16:creationId xmlns:a16="http://schemas.microsoft.com/office/drawing/2014/main" id="{A902C540-54A0-D19D-CE99-7DF900B61BDE}"/>
                </a:ext>
              </a:extLst>
            </p:cNvPr>
            <p:cNvSpPr/>
            <p:nvPr/>
          </p:nvSpPr>
          <p:spPr>
            <a:xfrm>
              <a:off x="765580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" name="Полилиния 343">
              <a:extLst>
                <a:ext uri="{FF2B5EF4-FFF2-40B4-BE49-F238E27FC236}">
                  <a16:creationId xmlns:a16="http://schemas.microsoft.com/office/drawing/2014/main" id="{394D5420-A563-14FA-63A6-639F7B8ED4AC}"/>
                </a:ext>
              </a:extLst>
            </p:cNvPr>
            <p:cNvSpPr/>
            <p:nvPr/>
          </p:nvSpPr>
          <p:spPr>
            <a:xfrm>
              <a:off x="649499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" name="Полилиния 344">
              <a:extLst>
                <a:ext uri="{FF2B5EF4-FFF2-40B4-BE49-F238E27FC236}">
                  <a16:creationId xmlns:a16="http://schemas.microsoft.com/office/drawing/2014/main" id="{EF7C7AEE-66AD-62AD-A4EA-91DC6B8F2154}"/>
                </a:ext>
              </a:extLst>
            </p:cNvPr>
            <p:cNvSpPr/>
            <p:nvPr/>
          </p:nvSpPr>
          <p:spPr>
            <a:xfrm>
              <a:off x="653963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" name="Полилиния 345">
              <a:extLst>
                <a:ext uri="{FF2B5EF4-FFF2-40B4-BE49-F238E27FC236}">
                  <a16:creationId xmlns:a16="http://schemas.microsoft.com/office/drawing/2014/main" id="{4E9897C5-5E83-C727-732E-A4BAC99C2449}"/>
                </a:ext>
              </a:extLst>
            </p:cNvPr>
            <p:cNvSpPr/>
            <p:nvPr/>
          </p:nvSpPr>
          <p:spPr>
            <a:xfrm>
              <a:off x="658427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" name="Полилиния 346">
              <a:extLst>
                <a:ext uri="{FF2B5EF4-FFF2-40B4-BE49-F238E27FC236}">
                  <a16:creationId xmlns:a16="http://schemas.microsoft.com/office/drawing/2014/main" id="{6587FBF1-6216-F1C9-90AD-566807CD375B}"/>
                </a:ext>
              </a:extLst>
            </p:cNvPr>
            <p:cNvSpPr/>
            <p:nvPr/>
          </p:nvSpPr>
          <p:spPr>
            <a:xfrm>
              <a:off x="667354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" name="Полилиния 347">
              <a:extLst>
                <a:ext uri="{FF2B5EF4-FFF2-40B4-BE49-F238E27FC236}">
                  <a16:creationId xmlns:a16="http://schemas.microsoft.com/office/drawing/2014/main" id="{02660714-21A6-A613-910A-57FA15EBF3A9}"/>
                </a:ext>
              </a:extLst>
            </p:cNvPr>
            <p:cNvSpPr/>
            <p:nvPr/>
          </p:nvSpPr>
          <p:spPr>
            <a:xfrm>
              <a:off x="676282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" name="Полилиния 348">
              <a:extLst>
                <a:ext uri="{FF2B5EF4-FFF2-40B4-BE49-F238E27FC236}">
                  <a16:creationId xmlns:a16="http://schemas.microsoft.com/office/drawing/2014/main" id="{2ECA0B2F-3FFB-2E56-A719-9AEF8D09C369}"/>
                </a:ext>
              </a:extLst>
            </p:cNvPr>
            <p:cNvSpPr/>
            <p:nvPr/>
          </p:nvSpPr>
          <p:spPr>
            <a:xfrm>
              <a:off x="6807467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" name="Полилиния 349">
              <a:extLst>
                <a:ext uri="{FF2B5EF4-FFF2-40B4-BE49-F238E27FC236}">
                  <a16:creationId xmlns:a16="http://schemas.microsoft.com/office/drawing/2014/main" id="{3E8FD7AE-BEBF-2CD9-7B1E-9E3E8A4D5DA3}"/>
                </a:ext>
              </a:extLst>
            </p:cNvPr>
            <p:cNvSpPr/>
            <p:nvPr/>
          </p:nvSpPr>
          <p:spPr>
            <a:xfrm>
              <a:off x="685210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" name="Полилиния 350">
              <a:extLst>
                <a:ext uri="{FF2B5EF4-FFF2-40B4-BE49-F238E27FC236}">
                  <a16:creationId xmlns:a16="http://schemas.microsoft.com/office/drawing/2014/main" id="{218E5B38-AE6D-1BB5-6C38-000EFA7535EA}"/>
                </a:ext>
              </a:extLst>
            </p:cNvPr>
            <p:cNvSpPr/>
            <p:nvPr/>
          </p:nvSpPr>
          <p:spPr>
            <a:xfrm>
              <a:off x="703075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" name="Полилиния 351">
              <a:extLst>
                <a:ext uri="{FF2B5EF4-FFF2-40B4-BE49-F238E27FC236}">
                  <a16:creationId xmlns:a16="http://schemas.microsoft.com/office/drawing/2014/main" id="{A0C4D864-0421-1C1E-577A-A08FBBF8D108}"/>
                </a:ext>
              </a:extLst>
            </p:cNvPr>
            <p:cNvSpPr/>
            <p:nvPr/>
          </p:nvSpPr>
          <p:spPr>
            <a:xfrm>
              <a:off x="707539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" name="Полилиния 352">
              <a:extLst>
                <a:ext uri="{FF2B5EF4-FFF2-40B4-BE49-F238E27FC236}">
                  <a16:creationId xmlns:a16="http://schemas.microsoft.com/office/drawing/2014/main" id="{EE443848-11C4-F80D-13D5-05448B9FEE95}"/>
                </a:ext>
              </a:extLst>
            </p:cNvPr>
            <p:cNvSpPr/>
            <p:nvPr/>
          </p:nvSpPr>
          <p:spPr>
            <a:xfrm>
              <a:off x="716467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" name="Полилиния 353">
              <a:extLst>
                <a:ext uri="{FF2B5EF4-FFF2-40B4-BE49-F238E27FC236}">
                  <a16:creationId xmlns:a16="http://schemas.microsoft.com/office/drawing/2014/main" id="{314501DA-B082-2549-7137-A1F1E9306AFE}"/>
                </a:ext>
              </a:extLst>
            </p:cNvPr>
            <p:cNvSpPr/>
            <p:nvPr/>
          </p:nvSpPr>
          <p:spPr>
            <a:xfrm>
              <a:off x="720931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" name="Полилиния 354">
              <a:extLst>
                <a:ext uri="{FF2B5EF4-FFF2-40B4-BE49-F238E27FC236}">
                  <a16:creationId xmlns:a16="http://schemas.microsoft.com/office/drawing/2014/main" id="{2012FEFE-BD26-BA99-B108-3736AE6CFF10}"/>
                </a:ext>
              </a:extLst>
            </p:cNvPr>
            <p:cNvSpPr/>
            <p:nvPr/>
          </p:nvSpPr>
          <p:spPr>
            <a:xfrm>
              <a:off x="725395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" name="Полилиния 355">
              <a:extLst>
                <a:ext uri="{FF2B5EF4-FFF2-40B4-BE49-F238E27FC236}">
                  <a16:creationId xmlns:a16="http://schemas.microsoft.com/office/drawing/2014/main" id="{CD0C4F9C-B916-7AE6-1FF5-FFE99DEB08E6}"/>
                </a:ext>
              </a:extLst>
            </p:cNvPr>
            <p:cNvSpPr/>
            <p:nvPr/>
          </p:nvSpPr>
          <p:spPr>
            <a:xfrm>
              <a:off x="765580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" name="Полилиния 356">
              <a:extLst>
                <a:ext uri="{FF2B5EF4-FFF2-40B4-BE49-F238E27FC236}">
                  <a16:creationId xmlns:a16="http://schemas.microsoft.com/office/drawing/2014/main" id="{43D048B3-9390-21FC-0A94-5F4D221CDA43}"/>
                </a:ext>
              </a:extLst>
            </p:cNvPr>
            <p:cNvSpPr/>
            <p:nvPr/>
          </p:nvSpPr>
          <p:spPr>
            <a:xfrm>
              <a:off x="774508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" name="Полилиния 357">
              <a:extLst>
                <a:ext uri="{FF2B5EF4-FFF2-40B4-BE49-F238E27FC236}">
                  <a16:creationId xmlns:a16="http://schemas.microsoft.com/office/drawing/2014/main" id="{B1C063D4-D982-5FC7-FDEC-268E79514ABE}"/>
                </a:ext>
              </a:extLst>
            </p:cNvPr>
            <p:cNvSpPr/>
            <p:nvPr/>
          </p:nvSpPr>
          <p:spPr>
            <a:xfrm>
              <a:off x="778972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" name="Полилиния 358">
              <a:extLst>
                <a:ext uri="{FF2B5EF4-FFF2-40B4-BE49-F238E27FC236}">
                  <a16:creationId xmlns:a16="http://schemas.microsoft.com/office/drawing/2014/main" id="{AEF038B3-025D-5779-611B-4E13B1A9B8CE}"/>
                </a:ext>
              </a:extLst>
            </p:cNvPr>
            <p:cNvSpPr/>
            <p:nvPr/>
          </p:nvSpPr>
          <p:spPr>
            <a:xfrm>
              <a:off x="7834360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" name="Полилиния 359">
              <a:extLst>
                <a:ext uri="{FF2B5EF4-FFF2-40B4-BE49-F238E27FC236}">
                  <a16:creationId xmlns:a16="http://schemas.microsoft.com/office/drawing/2014/main" id="{2DB6B9D0-5C2D-4D71-E3FC-F0D881A446E4}"/>
                </a:ext>
              </a:extLst>
            </p:cNvPr>
            <p:cNvSpPr/>
            <p:nvPr/>
          </p:nvSpPr>
          <p:spPr>
            <a:xfrm>
              <a:off x="787899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" name="Полилиния 360">
              <a:extLst>
                <a:ext uri="{FF2B5EF4-FFF2-40B4-BE49-F238E27FC236}">
                  <a16:creationId xmlns:a16="http://schemas.microsoft.com/office/drawing/2014/main" id="{41B367E5-4CE1-6BA6-D4F3-2FF9661E742A}"/>
                </a:ext>
              </a:extLst>
            </p:cNvPr>
            <p:cNvSpPr/>
            <p:nvPr/>
          </p:nvSpPr>
          <p:spPr>
            <a:xfrm>
              <a:off x="645035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" name="Полилиния 361">
              <a:extLst>
                <a:ext uri="{FF2B5EF4-FFF2-40B4-BE49-F238E27FC236}">
                  <a16:creationId xmlns:a16="http://schemas.microsoft.com/office/drawing/2014/main" id="{6E0B7A81-0D2B-1D37-6475-34E08304019B}"/>
                </a:ext>
              </a:extLst>
            </p:cNvPr>
            <p:cNvSpPr/>
            <p:nvPr/>
          </p:nvSpPr>
          <p:spPr>
            <a:xfrm>
              <a:off x="649499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" name="Полилиния 362">
              <a:extLst>
                <a:ext uri="{FF2B5EF4-FFF2-40B4-BE49-F238E27FC236}">
                  <a16:creationId xmlns:a16="http://schemas.microsoft.com/office/drawing/2014/main" id="{494AB906-EACA-A4C7-2861-2C93736D58F3}"/>
                </a:ext>
              </a:extLst>
            </p:cNvPr>
            <p:cNvSpPr/>
            <p:nvPr/>
          </p:nvSpPr>
          <p:spPr>
            <a:xfrm>
              <a:off x="658427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" name="Полилиния 363">
              <a:extLst>
                <a:ext uri="{FF2B5EF4-FFF2-40B4-BE49-F238E27FC236}">
                  <a16:creationId xmlns:a16="http://schemas.microsoft.com/office/drawing/2014/main" id="{E996BAD6-6E6C-AC78-6CBE-9ADC531329E1}"/>
                </a:ext>
              </a:extLst>
            </p:cNvPr>
            <p:cNvSpPr/>
            <p:nvPr/>
          </p:nvSpPr>
          <p:spPr>
            <a:xfrm>
              <a:off x="667354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" name="Полилиния 364">
              <a:extLst>
                <a:ext uri="{FF2B5EF4-FFF2-40B4-BE49-F238E27FC236}">
                  <a16:creationId xmlns:a16="http://schemas.microsoft.com/office/drawing/2014/main" id="{8047F53A-C018-BC98-D2C3-CF7404DD7654}"/>
                </a:ext>
              </a:extLst>
            </p:cNvPr>
            <p:cNvSpPr/>
            <p:nvPr/>
          </p:nvSpPr>
          <p:spPr>
            <a:xfrm>
              <a:off x="671818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" name="Полилиния 365">
              <a:extLst>
                <a:ext uri="{FF2B5EF4-FFF2-40B4-BE49-F238E27FC236}">
                  <a16:creationId xmlns:a16="http://schemas.microsoft.com/office/drawing/2014/main" id="{DDDA5FF5-845B-9934-2887-221D2E7F96CA}"/>
                </a:ext>
              </a:extLst>
            </p:cNvPr>
            <p:cNvSpPr/>
            <p:nvPr/>
          </p:nvSpPr>
          <p:spPr>
            <a:xfrm>
              <a:off x="685210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" name="Полилиния 366">
              <a:extLst>
                <a:ext uri="{FF2B5EF4-FFF2-40B4-BE49-F238E27FC236}">
                  <a16:creationId xmlns:a16="http://schemas.microsoft.com/office/drawing/2014/main" id="{D71998AF-51B1-B901-51AF-388C36D546DE}"/>
                </a:ext>
              </a:extLst>
            </p:cNvPr>
            <p:cNvSpPr/>
            <p:nvPr/>
          </p:nvSpPr>
          <p:spPr>
            <a:xfrm>
              <a:off x="689684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" name="Полилиния 367">
              <a:extLst>
                <a:ext uri="{FF2B5EF4-FFF2-40B4-BE49-F238E27FC236}">
                  <a16:creationId xmlns:a16="http://schemas.microsoft.com/office/drawing/2014/main" id="{8B02C068-9722-7C6A-DE8F-ACC6B55E2F8B}"/>
                </a:ext>
              </a:extLst>
            </p:cNvPr>
            <p:cNvSpPr/>
            <p:nvPr/>
          </p:nvSpPr>
          <p:spPr>
            <a:xfrm>
              <a:off x="716467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" name="Полилиния 368">
              <a:extLst>
                <a:ext uri="{FF2B5EF4-FFF2-40B4-BE49-F238E27FC236}">
                  <a16:creationId xmlns:a16="http://schemas.microsoft.com/office/drawing/2014/main" id="{5AEA93B7-F875-CE45-289C-0FDD7C7B7378}"/>
                </a:ext>
              </a:extLst>
            </p:cNvPr>
            <p:cNvSpPr/>
            <p:nvPr/>
          </p:nvSpPr>
          <p:spPr>
            <a:xfrm>
              <a:off x="7253955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" name="Полилиния 369">
              <a:extLst>
                <a:ext uri="{FF2B5EF4-FFF2-40B4-BE49-F238E27FC236}">
                  <a16:creationId xmlns:a16="http://schemas.microsoft.com/office/drawing/2014/main" id="{166620B7-DE1C-9DD8-D412-0E2807179B91}"/>
                </a:ext>
              </a:extLst>
            </p:cNvPr>
            <p:cNvSpPr/>
            <p:nvPr/>
          </p:nvSpPr>
          <p:spPr>
            <a:xfrm>
              <a:off x="734323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" name="Полилиния 370">
              <a:extLst>
                <a:ext uri="{FF2B5EF4-FFF2-40B4-BE49-F238E27FC236}">
                  <a16:creationId xmlns:a16="http://schemas.microsoft.com/office/drawing/2014/main" id="{D878C388-9103-E06F-81FA-B103825EE02A}"/>
                </a:ext>
              </a:extLst>
            </p:cNvPr>
            <p:cNvSpPr/>
            <p:nvPr/>
          </p:nvSpPr>
          <p:spPr>
            <a:xfrm>
              <a:off x="738787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" name="Полилиния 371">
              <a:extLst>
                <a:ext uri="{FF2B5EF4-FFF2-40B4-BE49-F238E27FC236}">
                  <a16:creationId xmlns:a16="http://schemas.microsoft.com/office/drawing/2014/main" id="{1C7DD5D7-B0EC-BDBE-BB81-03BC9E4C11E9}"/>
                </a:ext>
              </a:extLst>
            </p:cNvPr>
            <p:cNvSpPr/>
            <p:nvPr/>
          </p:nvSpPr>
          <p:spPr>
            <a:xfrm>
              <a:off x="747715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" name="Полилиния 372">
              <a:extLst>
                <a:ext uri="{FF2B5EF4-FFF2-40B4-BE49-F238E27FC236}">
                  <a16:creationId xmlns:a16="http://schemas.microsoft.com/office/drawing/2014/main" id="{36EE600D-E5AA-E647-24C5-3C4E9DC1F21E}"/>
                </a:ext>
              </a:extLst>
            </p:cNvPr>
            <p:cNvSpPr/>
            <p:nvPr/>
          </p:nvSpPr>
          <p:spPr>
            <a:xfrm>
              <a:off x="756652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" name="Полилиния 373">
              <a:extLst>
                <a:ext uri="{FF2B5EF4-FFF2-40B4-BE49-F238E27FC236}">
                  <a16:creationId xmlns:a16="http://schemas.microsoft.com/office/drawing/2014/main" id="{896E09F0-9F4B-E025-67A2-C37732EA536A}"/>
                </a:ext>
              </a:extLst>
            </p:cNvPr>
            <p:cNvSpPr/>
            <p:nvPr/>
          </p:nvSpPr>
          <p:spPr>
            <a:xfrm>
              <a:off x="761116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" name="Полилиния 374">
              <a:extLst>
                <a:ext uri="{FF2B5EF4-FFF2-40B4-BE49-F238E27FC236}">
                  <a16:creationId xmlns:a16="http://schemas.microsoft.com/office/drawing/2014/main" id="{B48046FA-20FC-BC59-7719-E8CBB83EE42E}"/>
                </a:ext>
              </a:extLst>
            </p:cNvPr>
            <p:cNvSpPr/>
            <p:nvPr/>
          </p:nvSpPr>
          <p:spPr>
            <a:xfrm>
              <a:off x="770044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" name="Полилиния 375">
              <a:extLst>
                <a:ext uri="{FF2B5EF4-FFF2-40B4-BE49-F238E27FC236}">
                  <a16:creationId xmlns:a16="http://schemas.microsoft.com/office/drawing/2014/main" id="{AA53CC91-FA1C-E222-3070-CC9F8B154BAD}"/>
                </a:ext>
              </a:extLst>
            </p:cNvPr>
            <p:cNvSpPr/>
            <p:nvPr/>
          </p:nvSpPr>
          <p:spPr>
            <a:xfrm>
              <a:off x="774508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" name="Полилиния 376">
              <a:extLst>
                <a:ext uri="{FF2B5EF4-FFF2-40B4-BE49-F238E27FC236}">
                  <a16:creationId xmlns:a16="http://schemas.microsoft.com/office/drawing/2014/main" id="{32A097AC-D2D9-7FFE-F8AC-6D057BCFC01D}"/>
                </a:ext>
              </a:extLst>
            </p:cNvPr>
            <p:cNvSpPr/>
            <p:nvPr/>
          </p:nvSpPr>
          <p:spPr>
            <a:xfrm>
              <a:off x="787899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" name="Полилиния 377">
              <a:extLst>
                <a:ext uri="{FF2B5EF4-FFF2-40B4-BE49-F238E27FC236}">
                  <a16:creationId xmlns:a16="http://schemas.microsoft.com/office/drawing/2014/main" id="{E0AED521-08F3-FEF2-CE07-DE29984916C5}"/>
                </a:ext>
              </a:extLst>
            </p:cNvPr>
            <p:cNvSpPr/>
            <p:nvPr/>
          </p:nvSpPr>
          <p:spPr>
            <a:xfrm>
              <a:off x="658427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" name="Полилиния 378">
              <a:extLst>
                <a:ext uri="{FF2B5EF4-FFF2-40B4-BE49-F238E27FC236}">
                  <a16:creationId xmlns:a16="http://schemas.microsoft.com/office/drawing/2014/main" id="{99EB6489-1222-C58A-1271-611BF657A822}"/>
                </a:ext>
              </a:extLst>
            </p:cNvPr>
            <p:cNvSpPr/>
            <p:nvPr/>
          </p:nvSpPr>
          <p:spPr>
            <a:xfrm>
              <a:off x="662891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" name="Полилиния 379">
              <a:extLst>
                <a:ext uri="{FF2B5EF4-FFF2-40B4-BE49-F238E27FC236}">
                  <a16:creationId xmlns:a16="http://schemas.microsoft.com/office/drawing/2014/main" id="{E4698306-7133-3553-2A53-0EE323123E40}"/>
                </a:ext>
              </a:extLst>
            </p:cNvPr>
            <p:cNvSpPr/>
            <p:nvPr/>
          </p:nvSpPr>
          <p:spPr>
            <a:xfrm>
              <a:off x="667354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" name="Полилиния 380">
              <a:extLst>
                <a:ext uri="{FF2B5EF4-FFF2-40B4-BE49-F238E27FC236}">
                  <a16:creationId xmlns:a16="http://schemas.microsoft.com/office/drawing/2014/main" id="{5FCC14CC-2B77-9323-1FA1-9DB6C321DD2C}"/>
                </a:ext>
              </a:extLst>
            </p:cNvPr>
            <p:cNvSpPr/>
            <p:nvPr/>
          </p:nvSpPr>
          <p:spPr>
            <a:xfrm>
              <a:off x="676282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" name="Полилиния 381">
              <a:extLst>
                <a:ext uri="{FF2B5EF4-FFF2-40B4-BE49-F238E27FC236}">
                  <a16:creationId xmlns:a16="http://schemas.microsoft.com/office/drawing/2014/main" id="{7570B6F6-E2BC-2E41-39DF-B1D70FA70237}"/>
                </a:ext>
              </a:extLst>
            </p:cNvPr>
            <p:cNvSpPr/>
            <p:nvPr/>
          </p:nvSpPr>
          <p:spPr>
            <a:xfrm>
              <a:off x="685210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" name="Полилиния 382">
              <a:extLst>
                <a:ext uri="{FF2B5EF4-FFF2-40B4-BE49-F238E27FC236}">
                  <a16:creationId xmlns:a16="http://schemas.microsoft.com/office/drawing/2014/main" id="{5901828D-70DC-B686-9803-AA3721253AFF}"/>
                </a:ext>
              </a:extLst>
            </p:cNvPr>
            <p:cNvSpPr/>
            <p:nvPr/>
          </p:nvSpPr>
          <p:spPr>
            <a:xfrm>
              <a:off x="694148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" name="Полилиния 383">
              <a:extLst>
                <a:ext uri="{FF2B5EF4-FFF2-40B4-BE49-F238E27FC236}">
                  <a16:creationId xmlns:a16="http://schemas.microsoft.com/office/drawing/2014/main" id="{D94CE48B-A278-6303-D34D-878DF1ABAF6A}"/>
                </a:ext>
              </a:extLst>
            </p:cNvPr>
            <p:cNvSpPr/>
            <p:nvPr/>
          </p:nvSpPr>
          <p:spPr>
            <a:xfrm>
              <a:off x="698611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" name="Полилиния 384">
              <a:extLst>
                <a:ext uri="{FF2B5EF4-FFF2-40B4-BE49-F238E27FC236}">
                  <a16:creationId xmlns:a16="http://schemas.microsoft.com/office/drawing/2014/main" id="{9BF8E8E3-19B2-DF1D-ABCB-AB85C2D080DB}"/>
                </a:ext>
              </a:extLst>
            </p:cNvPr>
            <p:cNvSpPr/>
            <p:nvPr/>
          </p:nvSpPr>
          <p:spPr>
            <a:xfrm>
              <a:off x="703075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" name="Полилиния 385">
              <a:extLst>
                <a:ext uri="{FF2B5EF4-FFF2-40B4-BE49-F238E27FC236}">
                  <a16:creationId xmlns:a16="http://schemas.microsoft.com/office/drawing/2014/main" id="{E1816DC2-578B-C588-E97E-4AE0AA0A797E}"/>
                </a:ext>
              </a:extLst>
            </p:cNvPr>
            <p:cNvSpPr/>
            <p:nvPr/>
          </p:nvSpPr>
          <p:spPr>
            <a:xfrm>
              <a:off x="707539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" name="Полилиния 386">
              <a:extLst>
                <a:ext uri="{FF2B5EF4-FFF2-40B4-BE49-F238E27FC236}">
                  <a16:creationId xmlns:a16="http://schemas.microsoft.com/office/drawing/2014/main" id="{E816D02B-79AE-A9C9-AFEC-7B6C4BB040D1}"/>
                </a:ext>
              </a:extLst>
            </p:cNvPr>
            <p:cNvSpPr/>
            <p:nvPr/>
          </p:nvSpPr>
          <p:spPr>
            <a:xfrm>
              <a:off x="7120037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" name="Полилиния 387">
              <a:extLst>
                <a:ext uri="{FF2B5EF4-FFF2-40B4-BE49-F238E27FC236}">
                  <a16:creationId xmlns:a16="http://schemas.microsoft.com/office/drawing/2014/main" id="{B4ACABDD-858B-152C-2B8D-9231867AB767}"/>
                </a:ext>
              </a:extLst>
            </p:cNvPr>
            <p:cNvSpPr/>
            <p:nvPr/>
          </p:nvSpPr>
          <p:spPr>
            <a:xfrm>
              <a:off x="716467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" name="Полилиния 388">
              <a:extLst>
                <a:ext uri="{FF2B5EF4-FFF2-40B4-BE49-F238E27FC236}">
                  <a16:creationId xmlns:a16="http://schemas.microsoft.com/office/drawing/2014/main" id="{AC7B1919-854F-28F3-5A93-B7F377999494}"/>
                </a:ext>
              </a:extLst>
            </p:cNvPr>
            <p:cNvSpPr/>
            <p:nvPr/>
          </p:nvSpPr>
          <p:spPr>
            <a:xfrm>
              <a:off x="7209315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" name="Полилиния 389">
              <a:extLst>
                <a:ext uri="{FF2B5EF4-FFF2-40B4-BE49-F238E27FC236}">
                  <a16:creationId xmlns:a16="http://schemas.microsoft.com/office/drawing/2014/main" id="{865D53BE-3423-936A-5853-A5116AB4FA06}"/>
                </a:ext>
              </a:extLst>
            </p:cNvPr>
            <p:cNvSpPr/>
            <p:nvPr/>
          </p:nvSpPr>
          <p:spPr>
            <a:xfrm>
              <a:off x="7298594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" name="Полилиния 390">
              <a:extLst>
                <a:ext uri="{FF2B5EF4-FFF2-40B4-BE49-F238E27FC236}">
                  <a16:creationId xmlns:a16="http://schemas.microsoft.com/office/drawing/2014/main" id="{978E287E-ED42-5532-61E9-41F166AEBE73}"/>
                </a:ext>
              </a:extLst>
            </p:cNvPr>
            <p:cNvSpPr/>
            <p:nvPr/>
          </p:nvSpPr>
          <p:spPr>
            <a:xfrm>
              <a:off x="7655803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" name="Полилиния 391">
              <a:extLst>
                <a:ext uri="{FF2B5EF4-FFF2-40B4-BE49-F238E27FC236}">
                  <a16:creationId xmlns:a16="http://schemas.microsoft.com/office/drawing/2014/main" id="{329B87C4-5F62-131F-E2DF-3B29750C68DC}"/>
                </a:ext>
              </a:extLst>
            </p:cNvPr>
            <p:cNvSpPr/>
            <p:nvPr/>
          </p:nvSpPr>
          <p:spPr>
            <a:xfrm>
              <a:off x="7700442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" name="Полилиния 392">
              <a:extLst>
                <a:ext uri="{FF2B5EF4-FFF2-40B4-BE49-F238E27FC236}">
                  <a16:creationId xmlns:a16="http://schemas.microsoft.com/office/drawing/2014/main" id="{F8F2B30F-C3C8-41D0-F89E-DDDD2E6E1515}"/>
                </a:ext>
              </a:extLst>
            </p:cNvPr>
            <p:cNvSpPr/>
            <p:nvPr/>
          </p:nvSpPr>
          <p:spPr>
            <a:xfrm>
              <a:off x="774508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" name="Полилиния 393">
              <a:extLst>
                <a:ext uri="{FF2B5EF4-FFF2-40B4-BE49-F238E27FC236}">
                  <a16:creationId xmlns:a16="http://schemas.microsoft.com/office/drawing/2014/main" id="{B1BA1014-91B3-6CAF-2250-C83ABE205740}"/>
                </a:ext>
              </a:extLst>
            </p:cNvPr>
            <p:cNvSpPr/>
            <p:nvPr/>
          </p:nvSpPr>
          <p:spPr>
            <a:xfrm>
              <a:off x="783436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" name="Полилиния 394">
              <a:extLst>
                <a:ext uri="{FF2B5EF4-FFF2-40B4-BE49-F238E27FC236}">
                  <a16:creationId xmlns:a16="http://schemas.microsoft.com/office/drawing/2014/main" id="{9F0C03A4-FD7A-8274-15F2-7D4839F658E0}"/>
                </a:ext>
              </a:extLst>
            </p:cNvPr>
            <p:cNvSpPr/>
            <p:nvPr/>
          </p:nvSpPr>
          <p:spPr>
            <a:xfrm>
              <a:off x="645035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" name="Полилиния 395">
              <a:extLst>
                <a:ext uri="{FF2B5EF4-FFF2-40B4-BE49-F238E27FC236}">
                  <a16:creationId xmlns:a16="http://schemas.microsoft.com/office/drawing/2014/main" id="{670BBCDC-2AE4-4740-DFB4-FD813B1289B7}"/>
                </a:ext>
              </a:extLst>
            </p:cNvPr>
            <p:cNvSpPr/>
            <p:nvPr/>
          </p:nvSpPr>
          <p:spPr>
            <a:xfrm>
              <a:off x="649499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" name="Полилиния 396">
              <a:extLst>
                <a:ext uri="{FF2B5EF4-FFF2-40B4-BE49-F238E27FC236}">
                  <a16:creationId xmlns:a16="http://schemas.microsoft.com/office/drawing/2014/main" id="{DA3DFCD5-FD22-7D08-E548-45D030BD57CF}"/>
                </a:ext>
              </a:extLst>
            </p:cNvPr>
            <p:cNvSpPr/>
            <p:nvPr/>
          </p:nvSpPr>
          <p:spPr>
            <a:xfrm>
              <a:off x="653963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" name="Полилиния 397">
              <a:extLst>
                <a:ext uri="{FF2B5EF4-FFF2-40B4-BE49-F238E27FC236}">
                  <a16:creationId xmlns:a16="http://schemas.microsoft.com/office/drawing/2014/main" id="{8BFDBA06-E4F1-67A7-CAF2-101FD3A8272C}"/>
                </a:ext>
              </a:extLst>
            </p:cNvPr>
            <p:cNvSpPr/>
            <p:nvPr/>
          </p:nvSpPr>
          <p:spPr>
            <a:xfrm>
              <a:off x="658427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" name="Полилиния 398">
              <a:extLst>
                <a:ext uri="{FF2B5EF4-FFF2-40B4-BE49-F238E27FC236}">
                  <a16:creationId xmlns:a16="http://schemas.microsoft.com/office/drawing/2014/main" id="{9EF1F016-659D-3A3E-2830-3936A883ECC8}"/>
                </a:ext>
              </a:extLst>
            </p:cNvPr>
            <p:cNvSpPr/>
            <p:nvPr/>
          </p:nvSpPr>
          <p:spPr>
            <a:xfrm>
              <a:off x="662891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" name="Полилиния 399">
              <a:extLst>
                <a:ext uri="{FF2B5EF4-FFF2-40B4-BE49-F238E27FC236}">
                  <a16:creationId xmlns:a16="http://schemas.microsoft.com/office/drawing/2014/main" id="{F2804DB5-445B-F2C1-9727-546BD51DD1E6}"/>
                </a:ext>
              </a:extLst>
            </p:cNvPr>
            <p:cNvSpPr/>
            <p:nvPr/>
          </p:nvSpPr>
          <p:spPr>
            <a:xfrm>
              <a:off x="671818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" name="Полилиния 400">
              <a:extLst>
                <a:ext uri="{FF2B5EF4-FFF2-40B4-BE49-F238E27FC236}">
                  <a16:creationId xmlns:a16="http://schemas.microsoft.com/office/drawing/2014/main" id="{6802C9D1-ED8D-DA60-635C-1E3AB009ECD1}"/>
                </a:ext>
              </a:extLst>
            </p:cNvPr>
            <p:cNvSpPr/>
            <p:nvPr/>
          </p:nvSpPr>
          <p:spPr>
            <a:xfrm>
              <a:off x="698611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" name="Полилиния 401">
              <a:extLst>
                <a:ext uri="{FF2B5EF4-FFF2-40B4-BE49-F238E27FC236}">
                  <a16:creationId xmlns:a16="http://schemas.microsoft.com/office/drawing/2014/main" id="{C651B77D-A241-209F-E96F-A30912741620}"/>
                </a:ext>
              </a:extLst>
            </p:cNvPr>
            <p:cNvSpPr/>
            <p:nvPr/>
          </p:nvSpPr>
          <p:spPr>
            <a:xfrm>
              <a:off x="7030758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" name="Полилиния 402">
              <a:extLst>
                <a:ext uri="{FF2B5EF4-FFF2-40B4-BE49-F238E27FC236}">
                  <a16:creationId xmlns:a16="http://schemas.microsoft.com/office/drawing/2014/main" id="{79C44ABC-582C-FF2F-B8F1-92C66754E9CB}"/>
                </a:ext>
              </a:extLst>
            </p:cNvPr>
            <p:cNvSpPr/>
            <p:nvPr/>
          </p:nvSpPr>
          <p:spPr>
            <a:xfrm>
              <a:off x="7120037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" name="Полилиния 403">
              <a:extLst>
                <a:ext uri="{FF2B5EF4-FFF2-40B4-BE49-F238E27FC236}">
                  <a16:creationId xmlns:a16="http://schemas.microsoft.com/office/drawing/2014/main" id="{260E2A8A-1420-D3B6-EB6B-23CABC1799AD}"/>
                </a:ext>
              </a:extLst>
            </p:cNvPr>
            <p:cNvSpPr/>
            <p:nvPr/>
          </p:nvSpPr>
          <p:spPr>
            <a:xfrm>
              <a:off x="725395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" name="Полилиния 404">
              <a:extLst>
                <a:ext uri="{FF2B5EF4-FFF2-40B4-BE49-F238E27FC236}">
                  <a16:creationId xmlns:a16="http://schemas.microsoft.com/office/drawing/2014/main" id="{17AADD70-3AE3-4659-2CFA-9D01A96AC036}"/>
                </a:ext>
              </a:extLst>
            </p:cNvPr>
            <p:cNvSpPr/>
            <p:nvPr/>
          </p:nvSpPr>
          <p:spPr>
            <a:xfrm>
              <a:off x="734323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" name="Полилиния 405">
              <a:extLst>
                <a:ext uri="{FF2B5EF4-FFF2-40B4-BE49-F238E27FC236}">
                  <a16:creationId xmlns:a16="http://schemas.microsoft.com/office/drawing/2014/main" id="{605FB15E-3E16-7AF4-358D-CE95542C9844}"/>
                </a:ext>
              </a:extLst>
            </p:cNvPr>
            <p:cNvSpPr/>
            <p:nvPr/>
          </p:nvSpPr>
          <p:spPr>
            <a:xfrm>
              <a:off x="747715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" name="Полилиния 406">
              <a:extLst>
                <a:ext uri="{FF2B5EF4-FFF2-40B4-BE49-F238E27FC236}">
                  <a16:creationId xmlns:a16="http://schemas.microsoft.com/office/drawing/2014/main" id="{7A4CB699-F012-AFF4-6CA3-CFC46A2F9864}"/>
                </a:ext>
              </a:extLst>
            </p:cNvPr>
            <p:cNvSpPr/>
            <p:nvPr/>
          </p:nvSpPr>
          <p:spPr>
            <a:xfrm>
              <a:off x="752188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" name="Полилиния 407">
              <a:extLst>
                <a:ext uri="{FF2B5EF4-FFF2-40B4-BE49-F238E27FC236}">
                  <a16:creationId xmlns:a16="http://schemas.microsoft.com/office/drawing/2014/main" id="{EAB6F394-27EE-7342-6AD4-5B1B3E7DFB15}"/>
                </a:ext>
              </a:extLst>
            </p:cNvPr>
            <p:cNvSpPr/>
            <p:nvPr/>
          </p:nvSpPr>
          <p:spPr>
            <a:xfrm>
              <a:off x="756652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" name="Полилиния 408">
              <a:extLst>
                <a:ext uri="{FF2B5EF4-FFF2-40B4-BE49-F238E27FC236}">
                  <a16:creationId xmlns:a16="http://schemas.microsoft.com/office/drawing/2014/main" id="{CE755D19-9C4F-E3AD-BD9F-5BC53CD13C47}"/>
                </a:ext>
              </a:extLst>
            </p:cNvPr>
            <p:cNvSpPr/>
            <p:nvPr/>
          </p:nvSpPr>
          <p:spPr>
            <a:xfrm>
              <a:off x="761116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0" name="Полилиния 409">
              <a:extLst>
                <a:ext uri="{FF2B5EF4-FFF2-40B4-BE49-F238E27FC236}">
                  <a16:creationId xmlns:a16="http://schemas.microsoft.com/office/drawing/2014/main" id="{70F20424-5448-596F-CD56-418FB74CD75A}"/>
                </a:ext>
              </a:extLst>
            </p:cNvPr>
            <p:cNvSpPr/>
            <p:nvPr/>
          </p:nvSpPr>
          <p:spPr>
            <a:xfrm>
              <a:off x="765580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1" name="Полилиния 410">
              <a:extLst>
                <a:ext uri="{FF2B5EF4-FFF2-40B4-BE49-F238E27FC236}">
                  <a16:creationId xmlns:a16="http://schemas.microsoft.com/office/drawing/2014/main" id="{64A18BAD-9CF0-C9DB-1CAD-9C4007FEC34A}"/>
                </a:ext>
              </a:extLst>
            </p:cNvPr>
            <p:cNvSpPr/>
            <p:nvPr/>
          </p:nvSpPr>
          <p:spPr>
            <a:xfrm>
              <a:off x="7700442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2" name="Полилиния 411">
              <a:extLst>
                <a:ext uri="{FF2B5EF4-FFF2-40B4-BE49-F238E27FC236}">
                  <a16:creationId xmlns:a16="http://schemas.microsoft.com/office/drawing/2014/main" id="{7EE9647A-DC12-0AD6-3C99-39A764ABB04D}"/>
                </a:ext>
              </a:extLst>
            </p:cNvPr>
            <p:cNvSpPr/>
            <p:nvPr/>
          </p:nvSpPr>
          <p:spPr>
            <a:xfrm>
              <a:off x="774508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3" name="Полилиния 412">
              <a:extLst>
                <a:ext uri="{FF2B5EF4-FFF2-40B4-BE49-F238E27FC236}">
                  <a16:creationId xmlns:a16="http://schemas.microsoft.com/office/drawing/2014/main" id="{652189F6-9F53-046A-EE95-E4471BA2450A}"/>
                </a:ext>
              </a:extLst>
            </p:cNvPr>
            <p:cNvSpPr/>
            <p:nvPr/>
          </p:nvSpPr>
          <p:spPr>
            <a:xfrm>
              <a:off x="783436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4" name="Полилиния 413">
              <a:extLst>
                <a:ext uri="{FF2B5EF4-FFF2-40B4-BE49-F238E27FC236}">
                  <a16:creationId xmlns:a16="http://schemas.microsoft.com/office/drawing/2014/main" id="{C3884808-B9CA-74B7-D7E9-B81AED931E49}"/>
                </a:ext>
              </a:extLst>
            </p:cNvPr>
            <p:cNvSpPr/>
            <p:nvPr/>
          </p:nvSpPr>
          <p:spPr>
            <a:xfrm>
              <a:off x="787899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5" name="Полилиния 414">
              <a:extLst>
                <a:ext uri="{FF2B5EF4-FFF2-40B4-BE49-F238E27FC236}">
                  <a16:creationId xmlns:a16="http://schemas.microsoft.com/office/drawing/2014/main" id="{038AA901-65D3-0763-7655-B178F29578FC}"/>
                </a:ext>
              </a:extLst>
            </p:cNvPr>
            <p:cNvSpPr/>
            <p:nvPr/>
          </p:nvSpPr>
          <p:spPr>
            <a:xfrm>
              <a:off x="6807467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6" name="Полилиния 415">
              <a:extLst>
                <a:ext uri="{FF2B5EF4-FFF2-40B4-BE49-F238E27FC236}">
                  <a16:creationId xmlns:a16="http://schemas.microsoft.com/office/drawing/2014/main" id="{B4B46649-9D5E-7A46-0916-10993369531A}"/>
                </a:ext>
              </a:extLst>
            </p:cNvPr>
            <p:cNvSpPr/>
            <p:nvPr/>
          </p:nvSpPr>
          <p:spPr>
            <a:xfrm>
              <a:off x="7164676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7" name="Полилиния 416">
              <a:extLst>
                <a:ext uri="{FF2B5EF4-FFF2-40B4-BE49-F238E27FC236}">
                  <a16:creationId xmlns:a16="http://schemas.microsoft.com/office/drawing/2014/main" id="{1859BE9E-DE29-C9E9-649B-D15E44BBDEC5}"/>
                </a:ext>
              </a:extLst>
            </p:cNvPr>
            <p:cNvSpPr/>
            <p:nvPr/>
          </p:nvSpPr>
          <p:spPr>
            <a:xfrm>
              <a:off x="720931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8" name="Полилиния 417">
              <a:extLst>
                <a:ext uri="{FF2B5EF4-FFF2-40B4-BE49-F238E27FC236}">
                  <a16:creationId xmlns:a16="http://schemas.microsoft.com/office/drawing/2014/main" id="{4BDDB241-6507-488C-8386-E962C2C168EF}"/>
                </a:ext>
              </a:extLst>
            </p:cNvPr>
            <p:cNvSpPr/>
            <p:nvPr/>
          </p:nvSpPr>
          <p:spPr>
            <a:xfrm>
              <a:off x="738787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9" name="Полилиния 418">
              <a:extLst>
                <a:ext uri="{FF2B5EF4-FFF2-40B4-BE49-F238E27FC236}">
                  <a16:creationId xmlns:a16="http://schemas.microsoft.com/office/drawing/2014/main" id="{FEF302F4-6473-D155-1E82-59934355FC52}"/>
                </a:ext>
              </a:extLst>
            </p:cNvPr>
            <p:cNvSpPr/>
            <p:nvPr/>
          </p:nvSpPr>
          <p:spPr>
            <a:xfrm>
              <a:off x="752188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0" name="Полилиния 419">
              <a:extLst>
                <a:ext uri="{FF2B5EF4-FFF2-40B4-BE49-F238E27FC236}">
                  <a16:creationId xmlns:a16="http://schemas.microsoft.com/office/drawing/2014/main" id="{E7BD7EF4-0E23-50C8-2D21-E07CD2D55E9A}"/>
                </a:ext>
              </a:extLst>
            </p:cNvPr>
            <p:cNvSpPr/>
            <p:nvPr/>
          </p:nvSpPr>
          <p:spPr>
            <a:xfrm>
              <a:off x="770044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1" name="Полилиния 420">
              <a:extLst>
                <a:ext uri="{FF2B5EF4-FFF2-40B4-BE49-F238E27FC236}">
                  <a16:creationId xmlns:a16="http://schemas.microsoft.com/office/drawing/2014/main" id="{D7AD064F-A458-0365-D15F-CC4CC180452A}"/>
                </a:ext>
              </a:extLst>
            </p:cNvPr>
            <p:cNvSpPr/>
            <p:nvPr/>
          </p:nvSpPr>
          <p:spPr>
            <a:xfrm>
              <a:off x="7745081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2" name="Полилиния 421">
              <a:extLst>
                <a:ext uri="{FF2B5EF4-FFF2-40B4-BE49-F238E27FC236}">
                  <a16:creationId xmlns:a16="http://schemas.microsoft.com/office/drawing/2014/main" id="{319893DA-BA1F-D802-E882-6316120C7A6C}"/>
                </a:ext>
              </a:extLst>
            </p:cNvPr>
            <p:cNvSpPr/>
            <p:nvPr/>
          </p:nvSpPr>
          <p:spPr>
            <a:xfrm>
              <a:off x="7834360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3" name="Полилиния 422">
              <a:extLst>
                <a:ext uri="{FF2B5EF4-FFF2-40B4-BE49-F238E27FC236}">
                  <a16:creationId xmlns:a16="http://schemas.microsoft.com/office/drawing/2014/main" id="{AE7905F5-E32C-A1DD-99DE-14ED7B8A0DE7}"/>
                </a:ext>
              </a:extLst>
            </p:cNvPr>
            <p:cNvSpPr/>
            <p:nvPr/>
          </p:nvSpPr>
          <p:spPr>
            <a:xfrm>
              <a:off x="7878999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4" name="Полилиния 423">
              <a:extLst>
                <a:ext uri="{FF2B5EF4-FFF2-40B4-BE49-F238E27FC236}">
                  <a16:creationId xmlns:a16="http://schemas.microsoft.com/office/drawing/2014/main" id="{776B6160-8DF7-87B2-D776-7AD5ACDA06A4}"/>
                </a:ext>
              </a:extLst>
            </p:cNvPr>
            <p:cNvSpPr/>
            <p:nvPr/>
          </p:nvSpPr>
          <p:spPr>
            <a:xfrm>
              <a:off x="680746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5" name="Полилиния 424">
              <a:extLst>
                <a:ext uri="{FF2B5EF4-FFF2-40B4-BE49-F238E27FC236}">
                  <a16:creationId xmlns:a16="http://schemas.microsoft.com/office/drawing/2014/main" id="{8A85AA49-31BF-4274-7D7F-F051958F371C}"/>
                </a:ext>
              </a:extLst>
            </p:cNvPr>
            <p:cNvSpPr/>
            <p:nvPr/>
          </p:nvSpPr>
          <p:spPr>
            <a:xfrm>
              <a:off x="685210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6" name="Полилиния 425">
              <a:extLst>
                <a:ext uri="{FF2B5EF4-FFF2-40B4-BE49-F238E27FC236}">
                  <a16:creationId xmlns:a16="http://schemas.microsoft.com/office/drawing/2014/main" id="{E52382B0-EE47-9972-D9EC-2D56CE86E3D3}"/>
                </a:ext>
              </a:extLst>
            </p:cNvPr>
            <p:cNvSpPr/>
            <p:nvPr/>
          </p:nvSpPr>
          <p:spPr>
            <a:xfrm>
              <a:off x="689684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7" name="Полилиния 426">
              <a:extLst>
                <a:ext uri="{FF2B5EF4-FFF2-40B4-BE49-F238E27FC236}">
                  <a16:creationId xmlns:a16="http://schemas.microsoft.com/office/drawing/2014/main" id="{439549FB-8CC5-9800-E7F9-523AD5D508E1}"/>
                </a:ext>
              </a:extLst>
            </p:cNvPr>
            <p:cNvSpPr/>
            <p:nvPr/>
          </p:nvSpPr>
          <p:spPr>
            <a:xfrm>
              <a:off x="703075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8" name="Полилиния 427">
              <a:extLst>
                <a:ext uri="{FF2B5EF4-FFF2-40B4-BE49-F238E27FC236}">
                  <a16:creationId xmlns:a16="http://schemas.microsoft.com/office/drawing/2014/main" id="{A6D7376B-FEF8-C3E8-E02E-87C0479B01F9}"/>
                </a:ext>
              </a:extLst>
            </p:cNvPr>
            <p:cNvSpPr/>
            <p:nvPr/>
          </p:nvSpPr>
          <p:spPr>
            <a:xfrm>
              <a:off x="707539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9" name="Полилиния 428">
              <a:extLst>
                <a:ext uri="{FF2B5EF4-FFF2-40B4-BE49-F238E27FC236}">
                  <a16:creationId xmlns:a16="http://schemas.microsoft.com/office/drawing/2014/main" id="{0A09FC0B-1E17-B9FB-6F45-13C4A06C9CAA}"/>
                </a:ext>
              </a:extLst>
            </p:cNvPr>
            <p:cNvSpPr/>
            <p:nvPr/>
          </p:nvSpPr>
          <p:spPr>
            <a:xfrm>
              <a:off x="712003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0" name="Полилиния 429">
              <a:extLst>
                <a:ext uri="{FF2B5EF4-FFF2-40B4-BE49-F238E27FC236}">
                  <a16:creationId xmlns:a16="http://schemas.microsoft.com/office/drawing/2014/main" id="{819602DD-2592-9D91-1821-F5489D2A1DD9}"/>
                </a:ext>
              </a:extLst>
            </p:cNvPr>
            <p:cNvSpPr/>
            <p:nvPr/>
          </p:nvSpPr>
          <p:spPr>
            <a:xfrm>
              <a:off x="716467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1" name="Полилиния 430">
              <a:extLst>
                <a:ext uri="{FF2B5EF4-FFF2-40B4-BE49-F238E27FC236}">
                  <a16:creationId xmlns:a16="http://schemas.microsoft.com/office/drawing/2014/main" id="{2CA12039-1DEC-83B3-705B-3C359F3CAD5C}"/>
                </a:ext>
              </a:extLst>
            </p:cNvPr>
            <p:cNvSpPr/>
            <p:nvPr/>
          </p:nvSpPr>
          <p:spPr>
            <a:xfrm>
              <a:off x="729859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2" name="Полилиния 431">
              <a:extLst>
                <a:ext uri="{FF2B5EF4-FFF2-40B4-BE49-F238E27FC236}">
                  <a16:creationId xmlns:a16="http://schemas.microsoft.com/office/drawing/2014/main" id="{9D083FDB-98E6-4207-E3CA-66DE3A5604C0}"/>
                </a:ext>
              </a:extLst>
            </p:cNvPr>
            <p:cNvSpPr/>
            <p:nvPr/>
          </p:nvSpPr>
          <p:spPr>
            <a:xfrm>
              <a:off x="7343233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3" name="Полилиния 432">
              <a:extLst>
                <a:ext uri="{FF2B5EF4-FFF2-40B4-BE49-F238E27FC236}">
                  <a16:creationId xmlns:a16="http://schemas.microsoft.com/office/drawing/2014/main" id="{D367BEE2-C170-6819-30AF-CA2EC40C5435}"/>
                </a:ext>
              </a:extLst>
            </p:cNvPr>
            <p:cNvSpPr/>
            <p:nvPr/>
          </p:nvSpPr>
          <p:spPr>
            <a:xfrm>
              <a:off x="7521885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4" name="Полилиния 433">
              <a:extLst>
                <a:ext uri="{FF2B5EF4-FFF2-40B4-BE49-F238E27FC236}">
                  <a16:creationId xmlns:a16="http://schemas.microsoft.com/office/drawing/2014/main" id="{DF025C0D-E822-6797-92DD-2FE8265860A4}"/>
                </a:ext>
              </a:extLst>
            </p:cNvPr>
            <p:cNvSpPr/>
            <p:nvPr/>
          </p:nvSpPr>
          <p:spPr>
            <a:xfrm>
              <a:off x="761116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5" name="Полилиния 434">
              <a:extLst>
                <a:ext uri="{FF2B5EF4-FFF2-40B4-BE49-F238E27FC236}">
                  <a16:creationId xmlns:a16="http://schemas.microsoft.com/office/drawing/2014/main" id="{6880CBCF-38D2-EEF1-2E66-CF7262395857}"/>
                </a:ext>
              </a:extLst>
            </p:cNvPr>
            <p:cNvSpPr/>
            <p:nvPr/>
          </p:nvSpPr>
          <p:spPr>
            <a:xfrm>
              <a:off x="7700442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6" name="Полилиния 435">
              <a:extLst>
                <a:ext uri="{FF2B5EF4-FFF2-40B4-BE49-F238E27FC236}">
                  <a16:creationId xmlns:a16="http://schemas.microsoft.com/office/drawing/2014/main" id="{0CBABA19-3DAE-B73B-3C02-E8A30DFA3271}"/>
                </a:ext>
              </a:extLst>
            </p:cNvPr>
            <p:cNvSpPr/>
            <p:nvPr/>
          </p:nvSpPr>
          <p:spPr>
            <a:xfrm>
              <a:off x="778972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7" name="Полилиния 436">
              <a:extLst>
                <a:ext uri="{FF2B5EF4-FFF2-40B4-BE49-F238E27FC236}">
                  <a16:creationId xmlns:a16="http://schemas.microsoft.com/office/drawing/2014/main" id="{A72EA11E-D626-34A6-FCB5-6B62F3D8E185}"/>
                </a:ext>
              </a:extLst>
            </p:cNvPr>
            <p:cNvSpPr/>
            <p:nvPr/>
          </p:nvSpPr>
          <p:spPr>
            <a:xfrm>
              <a:off x="7878999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8" name="Полилиния 437">
              <a:extLst>
                <a:ext uri="{FF2B5EF4-FFF2-40B4-BE49-F238E27FC236}">
                  <a16:creationId xmlns:a16="http://schemas.microsoft.com/office/drawing/2014/main" id="{050BD28F-B4EF-659B-1134-A1BEAD55963F}"/>
                </a:ext>
              </a:extLst>
            </p:cNvPr>
            <p:cNvSpPr/>
            <p:nvPr/>
          </p:nvSpPr>
          <p:spPr>
            <a:xfrm>
              <a:off x="680746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9" name="Полилиния 438">
              <a:extLst>
                <a:ext uri="{FF2B5EF4-FFF2-40B4-BE49-F238E27FC236}">
                  <a16:creationId xmlns:a16="http://schemas.microsoft.com/office/drawing/2014/main" id="{B06EAEA4-AC02-6870-6B63-D123DAEC90D2}"/>
                </a:ext>
              </a:extLst>
            </p:cNvPr>
            <p:cNvSpPr/>
            <p:nvPr/>
          </p:nvSpPr>
          <p:spPr>
            <a:xfrm>
              <a:off x="689684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0" name="Полилиния 439">
              <a:extLst>
                <a:ext uri="{FF2B5EF4-FFF2-40B4-BE49-F238E27FC236}">
                  <a16:creationId xmlns:a16="http://schemas.microsoft.com/office/drawing/2014/main" id="{4C2C5E3B-80F1-CE29-576B-5C59E8264112}"/>
                </a:ext>
              </a:extLst>
            </p:cNvPr>
            <p:cNvSpPr/>
            <p:nvPr/>
          </p:nvSpPr>
          <p:spPr>
            <a:xfrm>
              <a:off x="694148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1" name="Полилиния 440">
              <a:extLst>
                <a:ext uri="{FF2B5EF4-FFF2-40B4-BE49-F238E27FC236}">
                  <a16:creationId xmlns:a16="http://schemas.microsoft.com/office/drawing/2014/main" id="{33CDB23F-3DD8-CB06-2FDB-350613FD6CC5}"/>
                </a:ext>
              </a:extLst>
            </p:cNvPr>
            <p:cNvSpPr/>
            <p:nvPr/>
          </p:nvSpPr>
          <p:spPr>
            <a:xfrm>
              <a:off x="698611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2" name="Полилиния 441">
              <a:extLst>
                <a:ext uri="{FF2B5EF4-FFF2-40B4-BE49-F238E27FC236}">
                  <a16:creationId xmlns:a16="http://schemas.microsoft.com/office/drawing/2014/main" id="{66FB0C7F-719B-11F0-ABD1-12BE99A98393}"/>
                </a:ext>
              </a:extLst>
            </p:cNvPr>
            <p:cNvSpPr/>
            <p:nvPr/>
          </p:nvSpPr>
          <p:spPr>
            <a:xfrm>
              <a:off x="712003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3" name="Полилиния 442">
              <a:extLst>
                <a:ext uri="{FF2B5EF4-FFF2-40B4-BE49-F238E27FC236}">
                  <a16:creationId xmlns:a16="http://schemas.microsoft.com/office/drawing/2014/main" id="{6414F5EE-9E6D-1E8C-C7CE-2B78548395B8}"/>
                </a:ext>
              </a:extLst>
            </p:cNvPr>
            <p:cNvSpPr/>
            <p:nvPr/>
          </p:nvSpPr>
          <p:spPr>
            <a:xfrm>
              <a:off x="720931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4" name="Полилиния 443">
              <a:extLst>
                <a:ext uri="{FF2B5EF4-FFF2-40B4-BE49-F238E27FC236}">
                  <a16:creationId xmlns:a16="http://schemas.microsoft.com/office/drawing/2014/main" id="{D1BC2701-9103-C24C-0303-7D3BDC02AF1A}"/>
                </a:ext>
              </a:extLst>
            </p:cNvPr>
            <p:cNvSpPr/>
            <p:nvPr/>
          </p:nvSpPr>
          <p:spPr>
            <a:xfrm>
              <a:off x="725395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5" name="Полилиния 444">
              <a:extLst>
                <a:ext uri="{FF2B5EF4-FFF2-40B4-BE49-F238E27FC236}">
                  <a16:creationId xmlns:a16="http://schemas.microsoft.com/office/drawing/2014/main" id="{B199777C-B4AF-9257-F00A-78EF4405C7EE}"/>
                </a:ext>
              </a:extLst>
            </p:cNvPr>
            <p:cNvSpPr/>
            <p:nvPr/>
          </p:nvSpPr>
          <p:spPr>
            <a:xfrm>
              <a:off x="738787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6" name="Полилиния 445">
              <a:extLst>
                <a:ext uri="{FF2B5EF4-FFF2-40B4-BE49-F238E27FC236}">
                  <a16:creationId xmlns:a16="http://schemas.microsoft.com/office/drawing/2014/main" id="{ADEA112B-0313-0B94-AA60-9ED222EBBAFB}"/>
                </a:ext>
              </a:extLst>
            </p:cNvPr>
            <p:cNvSpPr/>
            <p:nvPr/>
          </p:nvSpPr>
          <p:spPr>
            <a:xfrm>
              <a:off x="747715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7" name="Полилиния 446">
              <a:extLst>
                <a:ext uri="{FF2B5EF4-FFF2-40B4-BE49-F238E27FC236}">
                  <a16:creationId xmlns:a16="http://schemas.microsoft.com/office/drawing/2014/main" id="{469D89EE-E058-E3A2-A71A-B14A3F0828CA}"/>
                </a:ext>
              </a:extLst>
            </p:cNvPr>
            <p:cNvSpPr/>
            <p:nvPr/>
          </p:nvSpPr>
          <p:spPr>
            <a:xfrm>
              <a:off x="752188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8" name="Полилиния 447">
              <a:extLst>
                <a:ext uri="{FF2B5EF4-FFF2-40B4-BE49-F238E27FC236}">
                  <a16:creationId xmlns:a16="http://schemas.microsoft.com/office/drawing/2014/main" id="{69CA9596-02C2-9503-F66F-BF9CF9D8C64F}"/>
                </a:ext>
              </a:extLst>
            </p:cNvPr>
            <p:cNvSpPr/>
            <p:nvPr/>
          </p:nvSpPr>
          <p:spPr>
            <a:xfrm>
              <a:off x="770044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9" name="Полилиния 448">
              <a:extLst>
                <a:ext uri="{FF2B5EF4-FFF2-40B4-BE49-F238E27FC236}">
                  <a16:creationId xmlns:a16="http://schemas.microsoft.com/office/drawing/2014/main" id="{70683373-0B8D-5DD9-4A9F-4B648A6001C1}"/>
                </a:ext>
              </a:extLst>
            </p:cNvPr>
            <p:cNvSpPr/>
            <p:nvPr/>
          </p:nvSpPr>
          <p:spPr>
            <a:xfrm>
              <a:off x="774508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0" name="Полилиния 449">
              <a:extLst>
                <a:ext uri="{FF2B5EF4-FFF2-40B4-BE49-F238E27FC236}">
                  <a16:creationId xmlns:a16="http://schemas.microsoft.com/office/drawing/2014/main" id="{168E2A53-7613-3129-C17A-9D8177DAD904}"/>
                </a:ext>
              </a:extLst>
            </p:cNvPr>
            <p:cNvSpPr/>
            <p:nvPr/>
          </p:nvSpPr>
          <p:spPr>
            <a:xfrm>
              <a:off x="783436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1" name="Полилиния 450">
              <a:extLst>
                <a:ext uri="{FF2B5EF4-FFF2-40B4-BE49-F238E27FC236}">
                  <a16:creationId xmlns:a16="http://schemas.microsoft.com/office/drawing/2014/main" id="{2E717ABD-302A-4805-9723-30AFD208FE34}"/>
                </a:ext>
              </a:extLst>
            </p:cNvPr>
            <p:cNvSpPr/>
            <p:nvPr/>
          </p:nvSpPr>
          <p:spPr>
            <a:xfrm>
              <a:off x="787899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2" name="Полилиния 451">
              <a:extLst>
                <a:ext uri="{FF2B5EF4-FFF2-40B4-BE49-F238E27FC236}">
                  <a16:creationId xmlns:a16="http://schemas.microsoft.com/office/drawing/2014/main" id="{BC65A916-371F-6276-EB4D-6625E6E8F982}"/>
                </a:ext>
              </a:extLst>
            </p:cNvPr>
            <p:cNvSpPr/>
            <p:nvPr/>
          </p:nvSpPr>
          <p:spPr>
            <a:xfrm>
              <a:off x="689684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3" name="Полилиния 452">
              <a:extLst>
                <a:ext uri="{FF2B5EF4-FFF2-40B4-BE49-F238E27FC236}">
                  <a16:creationId xmlns:a16="http://schemas.microsoft.com/office/drawing/2014/main" id="{EF824ED3-03B4-B149-3E76-82250A011DD0}"/>
                </a:ext>
              </a:extLst>
            </p:cNvPr>
            <p:cNvSpPr/>
            <p:nvPr/>
          </p:nvSpPr>
          <p:spPr>
            <a:xfrm>
              <a:off x="6941480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4" name="Полилиния 453">
              <a:extLst>
                <a:ext uri="{FF2B5EF4-FFF2-40B4-BE49-F238E27FC236}">
                  <a16:creationId xmlns:a16="http://schemas.microsoft.com/office/drawing/2014/main" id="{77085844-EBEB-9823-0864-BB2176DFBE49}"/>
                </a:ext>
              </a:extLst>
            </p:cNvPr>
            <p:cNvSpPr/>
            <p:nvPr/>
          </p:nvSpPr>
          <p:spPr>
            <a:xfrm>
              <a:off x="6986119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5" name="Полилиния 454">
              <a:extLst>
                <a:ext uri="{FF2B5EF4-FFF2-40B4-BE49-F238E27FC236}">
                  <a16:creationId xmlns:a16="http://schemas.microsoft.com/office/drawing/2014/main" id="{0A2EA0DA-AFC7-3F8C-CF2A-993C67DD0613}"/>
                </a:ext>
              </a:extLst>
            </p:cNvPr>
            <p:cNvSpPr/>
            <p:nvPr/>
          </p:nvSpPr>
          <p:spPr>
            <a:xfrm>
              <a:off x="703075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6" name="Полилиния 455">
              <a:extLst>
                <a:ext uri="{FF2B5EF4-FFF2-40B4-BE49-F238E27FC236}">
                  <a16:creationId xmlns:a16="http://schemas.microsoft.com/office/drawing/2014/main" id="{699DB216-AE0E-6E4A-D384-36E22F24831C}"/>
                </a:ext>
              </a:extLst>
            </p:cNvPr>
            <p:cNvSpPr/>
            <p:nvPr/>
          </p:nvSpPr>
          <p:spPr>
            <a:xfrm>
              <a:off x="707539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7" name="Полилиния 456">
              <a:extLst>
                <a:ext uri="{FF2B5EF4-FFF2-40B4-BE49-F238E27FC236}">
                  <a16:creationId xmlns:a16="http://schemas.microsoft.com/office/drawing/2014/main" id="{F24C5D52-FBDE-56A0-7023-21D07DAAE93A}"/>
                </a:ext>
              </a:extLst>
            </p:cNvPr>
            <p:cNvSpPr/>
            <p:nvPr/>
          </p:nvSpPr>
          <p:spPr>
            <a:xfrm>
              <a:off x="7120037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8" name="Полилиния 457">
              <a:extLst>
                <a:ext uri="{FF2B5EF4-FFF2-40B4-BE49-F238E27FC236}">
                  <a16:creationId xmlns:a16="http://schemas.microsoft.com/office/drawing/2014/main" id="{88515D9E-7323-1DF2-18C1-20994A3C2748}"/>
                </a:ext>
              </a:extLst>
            </p:cNvPr>
            <p:cNvSpPr/>
            <p:nvPr/>
          </p:nvSpPr>
          <p:spPr>
            <a:xfrm>
              <a:off x="729859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9" name="Полилиния 458">
              <a:extLst>
                <a:ext uri="{FF2B5EF4-FFF2-40B4-BE49-F238E27FC236}">
                  <a16:creationId xmlns:a16="http://schemas.microsoft.com/office/drawing/2014/main" id="{67CFB4A3-D021-6905-18C0-D70DC5F14C87}"/>
                </a:ext>
              </a:extLst>
            </p:cNvPr>
            <p:cNvSpPr/>
            <p:nvPr/>
          </p:nvSpPr>
          <p:spPr>
            <a:xfrm>
              <a:off x="734323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0" name="Полилиния 459">
              <a:extLst>
                <a:ext uri="{FF2B5EF4-FFF2-40B4-BE49-F238E27FC236}">
                  <a16:creationId xmlns:a16="http://schemas.microsoft.com/office/drawing/2014/main" id="{9520EC7F-BEBA-0E28-B34C-2AFDAB92E819}"/>
                </a:ext>
              </a:extLst>
            </p:cNvPr>
            <p:cNvSpPr/>
            <p:nvPr/>
          </p:nvSpPr>
          <p:spPr>
            <a:xfrm>
              <a:off x="738787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1" name="Полилиния 460">
              <a:extLst>
                <a:ext uri="{FF2B5EF4-FFF2-40B4-BE49-F238E27FC236}">
                  <a16:creationId xmlns:a16="http://schemas.microsoft.com/office/drawing/2014/main" id="{3287127D-0395-1C3C-C601-DDBA7C4E87FB}"/>
                </a:ext>
              </a:extLst>
            </p:cNvPr>
            <p:cNvSpPr/>
            <p:nvPr/>
          </p:nvSpPr>
          <p:spPr>
            <a:xfrm>
              <a:off x="747715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2" name="Полилиния 461">
              <a:extLst>
                <a:ext uri="{FF2B5EF4-FFF2-40B4-BE49-F238E27FC236}">
                  <a16:creationId xmlns:a16="http://schemas.microsoft.com/office/drawing/2014/main" id="{6F59F8CB-BEDD-625D-64B5-2A480062F52C}"/>
                </a:ext>
              </a:extLst>
            </p:cNvPr>
            <p:cNvSpPr/>
            <p:nvPr/>
          </p:nvSpPr>
          <p:spPr>
            <a:xfrm>
              <a:off x="7521885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3" name="Полилиния 462">
              <a:extLst>
                <a:ext uri="{FF2B5EF4-FFF2-40B4-BE49-F238E27FC236}">
                  <a16:creationId xmlns:a16="http://schemas.microsoft.com/office/drawing/2014/main" id="{86D4DBA6-ED01-92B7-5DFE-C444154F6BF1}"/>
                </a:ext>
              </a:extLst>
            </p:cNvPr>
            <p:cNvSpPr/>
            <p:nvPr/>
          </p:nvSpPr>
          <p:spPr>
            <a:xfrm>
              <a:off x="756652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4" name="Полилиния 463">
              <a:extLst>
                <a:ext uri="{FF2B5EF4-FFF2-40B4-BE49-F238E27FC236}">
                  <a16:creationId xmlns:a16="http://schemas.microsoft.com/office/drawing/2014/main" id="{AC6C5763-5942-A2BA-5EDF-B43916AC897B}"/>
                </a:ext>
              </a:extLst>
            </p:cNvPr>
            <p:cNvSpPr/>
            <p:nvPr/>
          </p:nvSpPr>
          <p:spPr>
            <a:xfrm>
              <a:off x="761116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5" name="Полилиния 464">
              <a:extLst>
                <a:ext uri="{FF2B5EF4-FFF2-40B4-BE49-F238E27FC236}">
                  <a16:creationId xmlns:a16="http://schemas.microsoft.com/office/drawing/2014/main" id="{9779FCB5-3680-4E70-D393-E7401F559F94}"/>
                </a:ext>
              </a:extLst>
            </p:cNvPr>
            <p:cNvSpPr/>
            <p:nvPr/>
          </p:nvSpPr>
          <p:spPr>
            <a:xfrm>
              <a:off x="765580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6" name="Полилиния 465">
              <a:extLst>
                <a:ext uri="{FF2B5EF4-FFF2-40B4-BE49-F238E27FC236}">
                  <a16:creationId xmlns:a16="http://schemas.microsoft.com/office/drawing/2014/main" id="{B33AC3EE-E3DB-121B-5D73-ED88592BE5D5}"/>
                </a:ext>
              </a:extLst>
            </p:cNvPr>
            <p:cNvSpPr/>
            <p:nvPr/>
          </p:nvSpPr>
          <p:spPr>
            <a:xfrm>
              <a:off x="770044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7" name="Полилиния 466">
              <a:extLst>
                <a:ext uri="{FF2B5EF4-FFF2-40B4-BE49-F238E27FC236}">
                  <a16:creationId xmlns:a16="http://schemas.microsoft.com/office/drawing/2014/main" id="{75A14463-8DA3-5E1B-C554-823759639842}"/>
                </a:ext>
              </a:extLst>
            </p:cNvPr>
            <p:cNvSpPr/>
            <p:nvPr/>
          </p:nvSpPr>
          <p:spPr>
            <a:xfrm>
              <a:off x="774508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8" name="Полилиния 467">
              <a:extLst>
                <a:ext uri="{FF2B5EF4-FFF2-40B4-BE49-F238E27FC236}">
                  <a16:creationId xmlns:a16="http://schemas.microsoft.com/office/drawing/2014/main" id="{020D1FC4-EA84-F925-9ED5-93E2C0E930A2}"/>
                </a:ext>
              </a:extLst>
            </p:cNvPr>
            <p:cNvSpPr/>
            <p:nvPr/>
          </p:nvSpPr>
          <p:spPr>
            <a:xfrm>
              <a:off x="685210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9" name="Полилиния 468">
              <a:extLst>
                <a:ext uri="{FF2B5EF4-FFF2-40B4-BE49-F238E27FC236}">
                  <a16:creationId xmlns:a16="http://schemas.microsoft.com/office/drawing/2014/main" id="{D7DDFEE9-0DBE-3F06-5CE7-BB150355DFE8}"/>
                </a:ext>
              </a:extLst>
            </p:cNvPr>
            <p:cNvSpPr/>
            <p:nvPr/>
          </p:nvSpPr>
          <p:spPr>
            <a:xfrm>
              <a:off x="6896841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0" name="Полилиния 469">
              <a:extLst>
                <a:ext uri="{FF2B5EF4-FFF2-40B4-BE49-F238E27FC236}">
                  <a16:creationId xmlns:a16="http://schemas.microsoft.com/office/drawing/2014/main" id="{7D80C5B0-DC3F-8DEB-2C62-AF5E9FDBAD10}"/>
                </a:ext>
              </a:extLst>
            </p:cNvPr>
            <p:cNvSpPr/>
            <p:nvPr/>
          </p:nvSpPr>
          <p:spPr>
            <a:xfrm>
              <a:off x="694148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1" name="Полилиния 470">
              <a:extLst>
                <a:ext uri="{FF2B5EF4-FFF2-40B4-BE49-F238E27FC236}">
                  <a16:creationId xmlns:a16="http://schemas.microsoft.com/office/drawing/2014/main" id="{147AEB4B-FA2C-F8B3-3E86-6E4538030E63}"/>
                </a:ext>
              </a:extLst>
            </p:cNvPr>
            <p:cNvSpPr/>
            <p:nvPr/>
          </p:nvSpPr>
          <p:spPr>
            <a:xfrm>
              <a:off x="7030758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2" name="Полилиния 471">
              <a:extLst>
                <a:ext uri="{FF2B5EF4-FFF2-40B4-BE49-F238E27FC236}">
                  <a16:creationId xmlns:a16="http://schemas.microsoft.com/office/drawing/2014/main" id="{93A2112E-77C9-BD11-808A-CB06A221B44C}"/>
                </a:ext>
              </a:extLst>
            </p:cNvPr>
            <p:cNvSpPr/>
            <p:nvPr/>
          </p:nvSpPr>
          <p:spPr>
            <a:xfrm>
              <a:off x="716467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3" name="Полилиния 472">
              <a:extLst>
                <a:ext uri="{FF2B5EF4-FFF2-40B4-BE49-F238E27FC236}">
                  <a16:creationId xmlns:a16="http://schemas.microsoft.com/office/drawing/2014/main" id="{783A3B1B-884B-2E91-4B88-535FE0FD6BA9}"/>
                </a:ext>
              </a:extLst>
            </p:cNvPr>
            <p:cNvSpPr/>
            <p:nvPr/>
          </p:nvSpPr>
          <p:spPr>
            <a:xfrm>
              <a:off x="7209315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4" name="Полилиния 473">
              <a:extLst>
                <a:ext uri="{FF2B5EF4-FFF2-40B4-BE49-F238E27FC236}">
                  <a16:creationId xmlns:a16="http://schemas.microsoft.com/office/drawing/2014/main" id="{B42CAD9F-B21B-4FB5-98C1-B2E2FB10DAEC}"/>
                </a:ext>
              </a:extLst>
            </p:cNvPr>
            <p:cNvSpPr/>
            <p:nvPr/>
          </p:nvSpPr>
          <p:spPr>
            <a:xfrm>
              <a:off x="734323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5" name="Полилиния 474">
              <a:extLst>
                <a:ext uri="{FF2B5EF4-FFF2-40B4-BE49-F238E27FC236}">
                  <a16:creationId xmlns:a16="http://schemas.microsoft.com/office/drawing/2014/main" id="{A8AF6FB0-C188-AC47-3BCA-DF19B458C7C6}"/>
                </a:ext>
              </a:extLst>
            </p:cNvPr>
            <p:cNvSpPr/>
            <p:nvPr/>
          </p:nvSpPr>
          <p:spPr>
            <a:xfrm>
              <a:off x="738787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6" name="Полилиния 475">
              <a:extLst>
                <a:ext uri="{FF2B5EF4-FFF2-40B4-BE49-F238E27FC236}">
                  <a16:creationId xmlns:a16="http://schemas.microsoft.com/office/drawing/2014/main" id="{643FBF9F-A4CE-E011-EC0C-4F2A14FD8D65}"/>
                </a:ext>
              </a:extLst>
            </p:cNvPr>
            <p:cNvSpPr/>
            <p:nvPr/>
          </p:nvSpPr>
          <p:spPr>
            <a:xfrm>
              <a:off x="7566524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7" name="Полилиния 476">
              <a:extLst>
                <a:ext uri="{FF2B5EF4-FFF2-40B4-BE49-F238E27FC236}">
                  <a16:creationId xmlns:a16="http://schemas.microsoft.com/office/drawing/2014/main" id="{3EEB1FF3-756C-CB9B-C899-7B991303293A}"/>
                </a:ext>
              </a:extLst>
            </p:cNvPr>
            <p:cNvSpPr/>
            <p:nvPr/>
          </p:nvSpPr>
          <p:spPr>
            <a:xfrm>
              <a:off x="765580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8" name="Полилиния 477">
              <a:extLst>
                <a:ext uri="{FF2B5EF4-FFF2-40B4-BE49-F238E27FC236}">
                  <a16:creationId xmlns:a16="http://schemas.microsoft.com/office/drawing/2014/main" id="{7CA3CEFA-FD1B-4221-5712-2E8A9B666A34}"/>
                </a:ext>
              </a:extLst>
            </p:cNvPr>
            <p:cNvSpPr/>
            <p:nvPr/>
          </p:nvSpPr>
          <p:spPr>
            <a:xfrm>
              <a:off x="770044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9" name="Полилиния 478">
              <a:extLst>
                <a:ext uri="{FF2B5EF4-FFF2-40B4-BE49-F238E27FC236}">
                  <a16:creationId xmlns:a16="http://schemas.microsoft.com/office/drawing/2014/main" id="{9C2A6B9B-DA1F-FBB5-ECFF-A6A95A5B6BC8}"/>
                </a:ext>
              </a:extLst>
            </p:cNvPr>
            <p:cNvSpPr/>
            <p:nvPr/>
          </p:nvSpPr>
          <p:spPr>
            <a:xfrm>
              <a:off x="783436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0" name="Полилиния 479">
              <a:extLst>
                <a:ext uri="{FF2B5EF4-FFF2-40B4-BE49-F238E27FC236}">
                  <a16:creationId xmlns:a16="http://schemas.microsoft.com/office/drawing/2014/main" id="{81E5E4F6-B7B7-26AD-EDD2-5370FC214778}"/>
                </a:ext>
              </a:extLst>
            </p:cNvPr>
            <p:cNvSpPr/>
            <p:nvPr/>
          </p:nvSpPr>
          <p:spPr>
            <a:xfrm>
              <a:off x="6807467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1" name="Полилиния 480">
              <a:extLst>
                <a:ext uri="{FF2B5EF4-FFF2-40B4-BE49-F238E27FC236}">
                  <a16:creationId xmlns:a16="http://schemas.microsoft.com/office/drawing/2014/main" id="{17CC793B-78D5-6115-B49A-4E994381256A}"/>
                </a:ext>
              </a:extLst>
            </p:cNvPr>
            <p:cNvSpPr/>
            <p:nvPr/>
          </p:nvSpPr>
          <p:spPr>
            <a:xfrm>
              <a:off x="685210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2" name="Полилиния 481">
              <a:extLst>
                <a:ext uri="{FF2B5EF4-FFF2-40B4-BE49-F238E27FC236}">
                  <a16:creationId xmlns:a16="http://schemas.microsoft.com/office/drawing/2014/main" id="{5BA747D0-0E59-CD2B-CFF1-99F11A45F84D}"/>
                </a:ext>
              </a:extLst>
            </p:cNvPr>
            <p:cNvSpPr/>
            <p:nvPr/>
          </p:nvSpPr>
          <p:spPr>
            <a:xfrm>
              <a:off x="694148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3" name="Полилиния 482">
              <a:extLst>
                <a:ext uri="{FF2B5EF4-FFF2-40B4-BE49-F238E27FC236}">
                  <a16:creationId xmlns:a16="http://schemas.microsoft.com/office/drawing/2014/main" id="{E6BB87AD-64F4-8A71-6187-5070EAC71BBC}"/>
                </a:ext>
              </a:extLst>
            </p:cNvPr>
            <p:cNvSpPr/>
            <p:nvPr/>
          </p:nvSpPr>
          <p:spPr>
            <a:xfrm>
              <a:off x="7075398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4" name="Полилиния 483">
              <a:extLst>
                <a:ext uri="{FF2B5EF4-FFF2-40B4-BE49-F238E27FC236}">
                  <a16:creationId xmlns:a16="http://schemas.microsoft.com/office/drawing/2014/main" id="{15A78737-8226-D178-6B45-21593A86A436}"/>
                </a:ext>
              </a:extLst>
            </p:cNvPr>
            <p:cNvSpPr/>
            <p:nvPr/>
          </p:nvSpPr>
          <p:spPr>
            <a:xfrm>
              <a:off x="716467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5" name="Полилиния 484">
              <a:extLst>
                <a:ext uri="{FF2B5EF4-FFF2-40B4-BE49-F238E27FC236}">
                  <a16:creationId xmlns:a16="http://schemas.microsoft.com/office/drawing/2014/main" id="{7355F47C-7F6D-6FE2-4B47-8BC4541E8C6F}"/>
                </a:ext>
              </a:extLst>
            </p:cNvPr>
            <p:cNvSpPr/>
            <p:nvPr/>
          </p:nvSpPr>
          <p:spPr>
            <a:xfrm>
              <a:off x="720931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6" name="Полилиния 485">
              <a:extLst>
                <a:ext uri="{FF2B5EF4-FFF2-40B4-BE49-F238E27FC236}">
                  <a16:creationId xmlns:a16="http://schemas.microsoft.com/office/drawing/2014/main" id="{8FABF401-7C6C-729E-EE8D-CAC8E4EE9FBF}"/>
                </a:ext>
              </a:extLst>
            </p:cNvPr>
            <p:cNvSpPr/>
            <p:nvPr/>
          </p:nvSpPr>
          <p:spPr>
            <a:xfrm>
              <a:off x="725395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7" name="Полилиния 486">
              <a:extLst>
                <a:ext uri="{FF2B5EF4-FFF2-40B4-BE49-F238E27FC236}">
                  <a16:creationId xmlns:a16="http://schemas.microsoft.com/office/drawing/2014/main" id="{FBEEA746-8928-C6A6-D340-10B98264B288}"/>
                </a:ext>
              </a:extLst>
            </p:cNvPr>
            <p:cNvSpPr/>
            <p:nvPr/>
          </p:nvSpPr>
          <p:spPr>
            <a:xfrm>
              <a:off x="7298594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8" name="Полилиния 487">
              <a:extLst>
                <a:ext uri="{FF2B5EF4-FFF2-40B4-BE49-F238E27FC236}">
                  <a16:creationId xmlns:a16="http://schemas.microsoft.com/office/drawing/2014/main" id="{841DE9F3-AE8A-93D1-42CB-910C4D8C3EB9}"/>
                </a:ext>
              </a:extLst>
            </p:cNvPr>
            <p:cNvSpPr/>
            <p:nvPr/>
          </p:nvSpPr>
          <p:spPr>
            <a:xfrm>
              <a:off x="7343233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9" name="Полилиния 488">
              <a:extLst>
                <a:ext uri="{FF2B5EF4-FFF2-40B4-BE49-F238E27FC236}">
                  <a16:creationId xmlns:a16="http://schemas.microsoft.com/office/drawing/2014/main" id="{CDDAA709-2264-F67B-26C6-F4794758066D}"/>
                </a:ext>
              </a:extLst>
            </p:cNvPr>
            <p:cNvSpPr/>
            <p:nvPr/>
          </p:nvSpPr>
          <p:spPr>
            <a:xfrm>
              <a:off x="743251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0" name="Полилиния 489">
              <a:extLst>
                <a:ext uri="{FF2B5EF4-FFF2-40B4-BE49-F238E27FC236}">
                  <a16:creationId xmlns:a16="http://schemas.microsoft.com/office/drawing/2014/main" id="{C636905F-065B-A932-CD2D-B432AC56340D}"/>
                </a:ext>
              </a:extLst>
            </p:cNvPr>
            <p:cNvSpPr/>
            <p:nvPr/>
          </p:nvSpPr>
          <p:spPr>
            <a:xfrm>
              <a:off x="747715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1" name="Полилиния 490">
              <a:extLst>
                <a:ext uri="{FF2B5EF4-FFF2-40B4-BE49-F238E27FC236}">
                  <a16:creationId xmlns:a16="http://schemas.microsoft.com/office/drawing/2014/main" id="{8591389E-4252-6E01-B112-ABE2106DB9D2}"/>
                </a:ext>
              </a:extLst>
            </p:cNvPr>
            <p:cNvSpPr/>
            <p:nvPr/>
          </p:nvSpPr>
          <p:spPr>
            <a:xfrm>
              <a:off x="752188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2" name="Полилиния 491">
              <a:extLst>
                <a:ext uri="{FF2B5EF4-FFF2-40B4-BE49-F238E27FC236}">
                  <a16:creationId xmlns:a16="http://schemas.microsoft.com/office/drawing/2014/main" id="{75BCF526-4C4F-C4F6-4FDB-C762B9D9FAC7}"/>
                </a:ext>
              </a:extLst>
            </p:cNvPr>
            <p:cNvSpPr/>
            <p:nvPr/>
          </p:nvSpPr>
          <p:spPr>
            <a:xfrm>
              <a:off x="770044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3" name="Полилиния 492">
              <a:extLst>
                <a:ext uri="{FF2B5EF4-FFF2-40B4-BE49-F238E27FC236}">
                  <a16:creationId xmlns:a16="http://schemas.microsoft.com/office/drawing/2014/main" id="{4D30555B-DD67-9838-B708-593CBD6EE873}"/>
                </a:ext>
              </a:extLst>
            </p:cNvPr>
            <p:cNvSpPr/>
            <p:nvPr/>
          </p:nvSpPr>
          <p:spPr>
            <a:xfrm>
              <a:off x="774508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4" name="Полилиния 493">
              <a:extLst>
                <a:ext uri="{FF2B5EF4-FFF2-40B4-BE49-F238E27FC236}">
                  <a16:creationId xmlns:a16="http://schemas.microsoft.com/office/drawing/2014/main" id="{2E56F155-91AA-A49A-7EC1-F17193F6D2BC}"/>
                </a:ext>
              </a:extLst>
            </p:cNvPr>
            <p:cNvSpPr/>
            <p:nvPr/>
          </p:nvSpPr>
          <p:spPr>
            <a:xfrm>
              <a:off x="783436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5" name="Полилиния 494">
              <a:extLst>
                <a:ext uri="{FF2B5EF4-FFF2-40B4-BE49-F238E27FC236}">
                  <a16:creationId xmlns:a16="http://schemas.microsoft.com/office/drawing/2014/main" id="{8DF1466C-57AD-18E0-20C0-AC11DE2DB88D}"/>
                </a:ext>
              </a:extLst>
            </p:cNvPr>
            <p:cNvSpPr/>
            <p:nvPr/>
          </p:nvSpPr>
          <p:spPr>
            <a:xfrm>
              <a:off x="7878999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6" name="Полилиния 495">
              <a:extLst>
                <a:ext uri="{FF2B5EF4-FFF2-40B4-BE49-F238E27FC236}">
                  <a16:creationId xmlns:a16="http://schemas.microsoft.com/office/drawing/2014/main" id="{2DEC2EC7-4385-2241-F109-97F43E5AF3DA}"/>
                </a:ext>
              </a:extLst>
            </p:cNvPr>
            <p:cNvSpPr/>
            <p:nvPr/>
          </p:nvSpPr>
          <p:spPr>
            <a:xfrm>
              <a:off x="6941480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7" name="Полилиния 496">
              <a:extLst>
                <a:ext uri="{FF2B5EF4-FFF2-40B4-BE49-F238E27FC236}">
                  <a16:creationId xmlns:a16="http://schemas.microsoft.com/office/drawing/2014/main" id="{CA00C964-BE88-A067-1987-931BE77B47C5}"/>
                </a:ext>
              </a:extLst>
            </p:cNvPr>
            <p:cNvSpPr/>
            <p:nvPr/>
          </p:nvSpPr>
          <p:spPr>
            <a:xfrm>
              <a:off x="6986119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8" name="Полилиния 497">
              <a:extLst>
                <a:ext uri="{FF2B5EF4-FFF2-40B4-BE49-F238E27FC236}">
                  <a16:creationId xmlns:a16="http://schemas.microsoft.com/office/drawing/2014/main" id="{DF9FE23C-A3B5-7D7C-1989-0F9008AEC848}"/>
                </a:ext>
              </a:extLst>
            </p:cNvPr>
            <p:cNvSpPr/>
            <p:nvPr/>
          </p:nvSpPr>
          <p:spPr>
            <a:xfrm>
              <a:off x="7120037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9" name="Полилиния 498">
              <a:extLst>
                <a:ext uri="{FF2B5EF4-FFF2-40B4-BE49-F238E27FC236}">
                  <a16:creationId xmlns:a16="http://schemas.microsoft.com/office/drawing/2014/main" id="{8C5BDB62-BC4A-26CB-E101-704C3766CF83}"/>
                </a:ext>
              </a:extLst>
            </p:cNvPr>
            <p:cNvSpPr/>
            <p:nvPr/>
          </p:nvSpPr>
          <p:spPr>
            <a:xfrm>
              <a:off x="7253955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0" name="Полилиния 499">
              <a:extLst>
                <a:ext uri="{FF2B5EF4-FFF2-40B4-BE49-F238E27FC236}">
                  <a16:creationId xmlns:a16="http://schemas.microsoft.com/office/drawing/2014/main" id="{64F1D737-1C5C-FEB4-7FBD-E732CD902DEE}"/>
                </a:ext>
              </a:extLst>
            </p:cNvPr>
            <p:cNvSpPr/>
            <p:nvPr/>
          </p:nvSpPr>
          <p:spPr>
            <a:xfrm>
              <a:off x="729859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1" name="Полилиния 500">
              <a:extLst>
                <a:ext uri="{FF2B5EF4-FFF2-40B4-BE49-F238E27FC236}">
                  <a16:creationId xmlns:a16="http://schemas.microsoft.com/office/drawing/2014/main" id="{13167AAA-3418-2BBE-DED7-C5D78A100C44}"/>
                </a:ext>
              </a:extLst>
            </p:cNvPr>
            <p:cNvSpPr/>
            <p:nvPr/>
          </p:nvSpPr>
          <p:spPr>
            <a:xfrm>
              <a:off x="7387872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2" name="Полилиния 501">
              <a:extLst>
                <a:ext uri="{FF2B5EF4-FFF2-40B4-BE49-F238E27FC236}">
                  <a16:creationId xmlns:a16="http://schemas.microsoft.com/office/drawing/2014/main" id="{285D064A-6B35-2F12-71C1-019A0B8FFA7B}"/>
                </a:ext>
              </a:extLst>
            </p:cNvPr>
            <p:cNvSpPr/>
            <p:nvPr/>
          </p:nvSpPr>
          <p:spPr>
            <a:xfrm>
              <a:off x="747715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3" name="Полилиния 502">
              <a:extLst>
                <a:ext uri="{FF2B5EF4-FFF2-40B4-BE49-F238E27FC236}">
                  <a16:creationId xmlns:a16="http://schemas.microsoft.com/office/drawing/2014/main" id="{3AAF8AFA-4104-25E9-F3CC-C82665C180DB}"/>
                </a:ext>
              </a:extLst>
            </p:cNvPr>
            <p:cNvSpPr/>
            <p:nvPr/>
          </p:nvSpPr>
          <p:spPr>
            <a:xfrm>
              <a:off x="756652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4" name="Полилиния 503">
              <a:extLst>
                <a:ext uri="{FF2B5EF4-FFF2-40B4-BE49-F238E27FC236}">
                  <a16:creationId xmlns:a16="http://schemas.microsoft.com/office/drawing/2014/main" id="{4FF0844A-671B-CE89-CF8E-9B8B53DCC60C}"/>
                </a:ext>
              </a:extLst>
            </p:cNvPr>
            <p:cNvSpPr/>
            <p:nvPr/>
          </p:nvSpPr>
          <p:spPr>
            <a:xfrm>
              <a:off x="761116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5" name="Полилиния 504">
              <a:extLst>
                <a:ext uri="{FF2B5EF4-FFF2-40B4-BE49-F238E27FC236}">
                  <a16:creationId xmlns:a16="http://schemas.microsoft.com/office/drawing/2014/main" id="{77122892-E075-32BC-D39E-553D417EFECE}"/>
                </a:ext>
              </a:extLst>
            </p:cNvPr>
            <p:cNvSpPr/>
            <p:nvPr/>
          </p:nvSpPr>
          <p:spPr>
            <a:xfrm>
              <a:off x="774508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6" name="Полилиния 505">
              <a:extLst>
                <a:ext uri="{FF2B5EF4-FFF2-40B4-BE49-F238E27FC236}">
                  <a16:creationId xmlns:a16="http://schemas.microsoft.com/office/drawing/2014/main" id="{575BC9A0-D979-2EF9-6F41-58DC6EB6CA8A}"/>
                </a:ext>
              </a:extLst>
            </p:cNvPr>
            <p:cNvSpPr/>
            <p:nvPr/>
          </p:nvSpPr>
          <p:spPr>
            <a:xfrm>
              <a:off x="6852106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7" name="Полилиния 506">
              <a:extLst>
                <a:ext uri="{FF2B5EF4-FFF2-40B4-BE49-F238E27FC236}">
                  <a16:creationId xmlns:a16="http://schemas.microsoft.com/office/drawing/2014/main" id="{97C3DCC2-822C-66B2-5613-48168EAAB2D6}"/>
                </a:ext>
              </a:extLst>
            </p:cNvPr>
            <p:cNvSpPr/>
            <p:nvPr/>
          </p:nvSpPr>
          <p:spPr>
            <a:xfrm>
              <a:off x="6896841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8" name="Полилиния 507">
              <a:extLst>
                <a:ext uri="{FF2B5EF4-FFF2-40B4-BE49-F238E27FC236}">
                  <a16:creationId xmlns:a16="http://schemas.microsoft.com/office/drawing/2014/main" id="{11AA8A76-7014-2C95-9542-722D2F4C0298}"/>
                </a:ext>
              </a:extLst>
            </p:cNvPr>
            <p:cNvSpPr/>
            <p:nvPr/>
          </p:nvSpPr>
          <p:spPr>
            <a:xfrm>
              <a:off x="698611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9" name="Полилиния 508">
              <a:extLst>
                <a:ext uri="{FF2B5EF4-FFF2-40B4-BE49-F238E27FC236}">
                  <a16:creationId xmlns:a16="http://schemas.microsoft.com/office/drawing/2014/main" id="{BA71871B-B108-99AF-8041-95E6BC728298}"/>
                </a:ext>
              </a:extLst>
            </p:cNvPr>
            <p:cNvSpPr/>
            <p:nvPr/>
          </p:nvSpPr>
          <p:spPr>
            <a:xfrm>
              <a:off x="703075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0" name="Полилиния 509">
              <a:extLst>
                <a:ext uri="{FF2B5EF4-FFF2-40B4-BE49-F238E27FC236}">
                  <a16:creationId xmlns:a16="http://schemas.microsoft.com/office/drawing/2014/main" id="{E2D82460-7BBD-7B17-F6A2-EF597BCA96DB}"/>
                </a:ext>
              </a:extLst>
            </p:cNvPr>
            <p:cNvSpPr/>
            <p:nvPr/>
          </p:nvSpPr>
          <p:spPr>
            <a:xfrm>
              <a:off x="707539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1" name="Полилиния 510">
              <a:extLst>
                <a:ext uri="{FF2B5EF4-FFF2-40B4-BE49-F238E27FC236}">
                  <a16:creationId xmlns:a16="http://schemas.microsoft.com/office/drawing/2014/main" id="{9B00D409-924C-49A4-75AA-87A08E2E5092}"/>
                </a:ext>
              </a:extLst>
            </p:cNvPr>
            <p:cNvSpPr/>
            <p:nvPr/>
          </p:nvSpPr>
          <p:spPr>
            <a:xfrm>
              <a:off x="720931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2" name="Полилиния 511">
              <a:extLst>
                <a:ext uri="{FF2B5EF4-FFF2-40B4-BE49-F238E27FC236}">
                  <a16:creationId xmlns:a16="http://schemas.microsoft.com/office/drawing/2014/main" id="{7E088035-55AF-F91A-14DC-104BAF880600}"/>
                </a:ext>
              </a:extLst>
            </p:cNvPr>
            <p:cNvSpPr/>
            <p:nvPr/>
          </p:nvSpPr>
          <p:spPr>
            <a:xfrm>
              <a:off x="725395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3" name="Полилиния 512">
              <a:extLst>
                <a:ext uri="{FF2B5EF4-FFF2-40B4-BE49-F238E27FC236}">
                  <a16:creationId xmlns:a16="http://schemas.microsoft.com/office/drawing/2014/main" id="{A0507027-0199-4104-7FA1-F232B225A01B}"/>
                </a:ext>
              </a:extLst>
            </p:cNvPr>
            <p:cNvSpPr/>
            <p:nvPr/>
          </p:nvSpPr>
          <p:spPr>
            <a:xfrm>
              <a:off x="738787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4" name="Полилиния 513">
              <a:extLst>
                <a:ext uri="{FF2B5EF4-FFF2-40B4-BE49-F238E27FC236}">
                  <a16:creationId xmlns:a16="http://schemas.microsoft.com/office/drawing/2014/main" id="{87A68F4B-04FF-047F-C8C5-FF157F19E543}"/>
                </a:ext>
              </a:extLst>
            </p:cNvPr>
            <p:cNvSpPr/>
            <p:nvPr/>
          </p:nvSpPr>
          <p:spPr>
            <a:xfrm>
              <a:off x="752188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5" name="Полилиния 514">
              <a:extLst>
                <a:ext uri="{FF2B5EF4-FFF2-40B4-BE49-F238E27FC236}">
                  <a16:creationId xmlns:a16="http://schemas.microsoft.com/office/drawing/2014/main" id="{3557CD1C-CB21-C5FA-DC8A-BFCDED1BCDD9}"/>
                </a:ext>
              </a:extLst>
            </p:cNvPr>
            <p:cNvSpPr/>
            <p:nvPr/>
          </p:nvSpPr>
          <p:spPr>
            <a:xfrm>
              <a:off x="770044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6" name="Полилиния 515">
              <a:extLst>
                <a:ext uri="{FF2B5EF4-FFF2-40B4-BE49-F238E27FC236}">
                  <a16:creationId xmlns:a16="http://schemas.microsoft.com/office/drawing/2014/main" id="{8A2D6F85-BCA9-075E-D1EC-4FC62C9AB006}"/>
                </a:ext>
              </a:extLst>
            </p:cNvPr>
            <p:cNvSpPr/>
            <p:nvPr/>
          </p:nvSpPr>
          <p:spPr>
            <a:xfrm>
              <a:off x="787899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7" name="Полилиния 516">
              <a:extLst>
                <a:ext uri="{FF2B5EF4-FFF2-40B4-BE49-F238E27FC236}">
                  <a16:creationId xmlns:a16="http://schemas.microsoft.com/office/drawing/2014/main" id="{6E79BB0A-5B6D-7C86-4391-A8E152EB2152}"/>
                </a:ext>
              </a:extLst>
            </p:cNvPr>
            <p:cNvSpPr/>
            <p:nvPr/>
          </p:nvSpPr>
          <p:spPr>
            <a:xfrm>
              <a:off x="645339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4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8" name="Полилиния 517">
              <a:extLst>
                <a:ext uri="{FF2B5EF4-FFF2-40B4-BE49-F238E27FC236}">
                  <a16:creationId xmlns:a16="http://schemas.microsoft.com/office/drawing/2014/main" id="{979D0133-9BF5-8A5C-58C0-F40EB6B663B7}"/>
                </a:ext>
              </a:extLst>
            </p:cNvPr>
            <p:cNvSpPr/>
            <p:nvPr/>
          </p:nvSpPr>
          <p:spPr>
            <a:xfrm>
              <a:off x="761420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4" y="0"/>
                    <a:pt x="0" y="68364"/>
                    <a:pt x="0" y="152659"/>
                  </a:cubicBezTo>
                  <a:cubicBezTo>
                    <a:pt x="0" y="236953"/>
                    <a:pt x="68624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2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9" name="Полилиния 518">
              <a:extLst>
                <a:ext uri="{FF2B5EF4-FFF2-40B4-BE49-F238E27FC236}">
                  <a16:creationId xmlns:a16="http://schemas.microsoft.com/office/drawing/2014/main" id="{A055C0CB-0CAB-F054-F33E-CE72D713A0E0}"/>
                </a:ext>
              </a:extLst>
            </p:cNvPr>
            <p:cNvSpPr/>
            <p:nvPr/>
          </p:nvSpPr>
          <p:spPr>
            <a:xfrm>
              <a:off x="6453399" y="3843927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5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5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0" name="Полилиния 519">
              <a:extLst>
                <a:ext uri="{FF2B5EF4-FFF2-40B4-BE49-F238E27FC236}">
                  <a16:creationId xmlns:a16="http://schemas.microsoft.com/office/drawing/2014/main" id="{C10E9D75-E8E0-EEEF-40E1-2DFEB1E1BF4F}"/>
                </a:ext>
              </a:extLst>
            </p:cNvPr>
            <p:cNvSpPr/>
            <p:nvPr/>
          </p:nvSpPr>
          <p:spPr>
            <a:xfrm>
              <a:off x="6539631" y="2773421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1" name="Полилиния 520">
              <a:extLst>
                <a:ext uri="{FF2B5EF4-FFF2-40B4-BE49-F238E27FC236}">
                  <a16:creationId xmlns:a16="http://schemas.microsoft.com/office/drawing/2014/main" id="{5437FE94-FFAB-980F-5E9D-90418BF04D8F}"/>
                </a:ext>
              </a:extLst>
            </p:cNvPr>
            <p:cNvSpPr/>
            <p:nvPr/>
          </p:nvSpPr>
          <p:spPr>
            <a:xfrm>
              <a:off x="7700442" y="2773421"/>
              <a:ext cx="131347" cy="130850"/>
            </a:xfrm>
            <a:custGeom>
              <a:avLst/>
              <a:gdLst>
                <a:gd name="connsiteX0" fmla="*/ 131348 w 131347"/>
                <a:gd name="connsiteY0" fmla="*/ 65425 h 130850"/>
                <a:gd name="connsiteX1" fmla="*/ 65674 w 131347"/>
                <a:gd name="connsiteY1" fmla="*/ 130850 h 130850"/>
                <a:gd name="connsiteX2" fmla="*/ 0 w 131347"/>
                <a:gd name="connsiteY2" fmla="*/ 65425 h 130850"/>
                <a:gd name="connsiteX3" fmla="*/ 65674 w 131347"/>
                <a:gd name="connsiteY3" fmla="*/ 0 h 130850"/>
                <a:gd name="connsiteX4" fmla="*/ 131348 w 131347"/>
                <a:gd name="connsiteY4" fmla="*/ 65425 h 130850"/>
                <a:gd name="connsiteX5" fmla="*/ 131348 w 131347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7" h="130850">
                  <a:moveTo>
                    <a:pt x="131348" y="65425"/>
                  </a:moveTo>
                  <a:cubicBezTo>
                    <a:pt x="131348" y="101551"/>
                    <a:pt x="101937" y="130850"/>
                    <a:pt x="65674" y="130850"/>
                  </a:cubicBezTo>
                  <a:cubicBezTo>
                    <a:pt x="29410" y="130850"/>
                    <a:pt x="0" y="101551"/>
                    <a:pt x="0" y="65425"/>
                  </a:cubicBezTo>
                  <a:cubicBezTo>
                    <a:pt x="0" y="29299"/>
                    <a:pt x="29410" y="0"/>
                    <a:pt x="65674" y="0"/>
                  </a:cubicBezTo>
                  <a:cubicBezTo>
                    <a:pt x="101937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2" name="Полилиния 521">
              <a:extLst>
                <a:ext uri="{FF2B5EF4-FFF2-40B4-BE49-F238E27FC236}">
                  <a16:creationId xmlns:a16="http://schemas.microsoft.com/office/drawing/2014/main" id="{59E83F1E-22EB-67B1-4EAF-FCC9F71C4A11}"/>
                </a:ext>
              </a:extLst>
            </p:cNvPr>
            <p:cNvSpPr/>
            <p:nvPr/>
          </p:nvSpPr>
          <p:spPr>
            <a:xfrm>
              <a:off x="6539631" y="3929834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3" name="Полилиния 522">
              <a:extLst>
                <a:ext uri="{FF2B5EF4-FFF2-40B4-BE49-F238E27FC236}">
                  <a16:creationId xmlns:a16="http://schemas.microsoft.com/office/drawing/2014/main" id="{289DBC7F-B6D3-3DD0-1EC7-EE1417318E56}"/>
                </a:ext>
              </a:extLst>
            </p:cNvPr>
            <p:cNvSpPr/>
            <p:nvPr/>
          </p:nvSpPr>
          <p:spPr>
            <a:xfrm>
              <a:off x="6941480" y="3173652"/>
              <a:ext cx="491126" cy="489266"/>
            </a:xfrm>
            <a:custGeom>
              <a:avLst/>
              <a:gdLst>
                <a:gd name="connsiteX0" fmla="*/ 0 w 491126"/>
                <a:gd name="connsiteY0" fmla="*/ 244633 h 489266"/>
                <a:gd name="connsiteX1" fmla="*/ 245564 w 491126"/>
                <a:gd name="connsiteY1" fmla="*/ 0 h 489266"/>
                <a:gd name="connsiteX2" fmla="*/ 491127 w 491126"/>
                <a:gd name="connsiteY2" fmla="*/ 244633 h 489266"/>
                <a:gd name="connsiteX3" fmla="*/ 245564 w 491126"/>
                <a:gd name="connsiteY3" fmla="*/ 489266 h 489266"/>
                <a:gd name="connsiteX4" fmla="*/ 0 w 491126"/>
                <a:gd name="connsiteY4" fmla="*/ 244633 h 489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126" h="489266">
                  <a:moveTo>
                    <a:pt x="0" y="244633"/>
                  </a:moveTo>
                  <a:cubicBezTo>
                    <a:pt x="0" y="109516"/>
                    <a:pt x="109933" y="0"/>
                    <a:pt x="245564" y="0"/>
                  </a:cubicBezTo>
                  <a:cubicBezTo>
                    <a:pt x="381194" y="0"/>
                    <a:pt x="491127" y="109516"/>
                    <a:pt x="491127" y="244633"/>
                  </a:cubicBezTo>
                  <a:cubicBezTo>
                    <a:pt x="491127" y="379750"/>
                    <a:pt x="381194" y="489266"/>
                    <a:pt x="245564" y="489266"/>
                  </a:cubicBezTo>
                  <a:cubicBezTo>
                    <a:pt x="109933" y="489266"/>
                    <a:pt x="0" y="379750"/>
                    <a:pt x="0" y="244633"/>
                  </a:cubicBezTo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4" name="Полилиния 523">
              <a:extLst>
                <a:ext uri="{FF2B5EF4-FFF2-40B4-BE49-F238E27FC236}">
                  <a16:creationId xmlns:a16="http://schemas.microsoft.com/office/drawing/2014/main" id="{E8411FAD-9461-81FE-1B02-F7E74C18B7BD}"/>
                </a:ext>
              </a:extLst>
            </p:cNvPr>
            <p:cNvSpPr/>
            <p:nvPr/>
          </p:nvSpPr>
          <p:spPr>
            <a:xfrm>
              <a:off x="7002815" y="3284324"/>
              <a:ext cx="323875" cy="267920"/>
            </a:xfrm>
            <a:custGeom>
              <a:avLst/>
              <a:gdLst>
                <a:gd name="connsiteX0" fmla="*/ 323762 w 323875"/>
                <a:gd name="connsiteY0" fmla="*/ 26057 h 267920"/>
                <a:gd name="connsiteX1" fmla="*/ 315671 w 323875"/>
                <a:gd name="connsiteY1" fmla="*/ 82284 h 267920"/>
                <a:gd name="connsiteX2" fmla="*/ 292257 w 323875"/>
                <a:gd name="connsiteY2" fmla="*/ 235227 h 267920"/>
                <a:gd name="connsiteX3" fmla="*/ 286165 w 323875"/>
                <a:gd name="connsiteY3" fmla="*/ 254665 h 267920"/>
                <a:gd name="connsiteX4" fmla="*/ 258944 w 323875"/>
                <a:gd name="connsiteY4" fmla="*/ 266518 h 267920"/>
                <a:gd name="connsiteX5" fmla="*/ 236101 w 323875"/>
                <a:gd name="connsiteY5" fmla="*/ 255329 h 267920"/>
                <a:gd name="connsiteX6" fmla="*/ 151106 w 323875"/>
                <a:gd name="connsiteY6" fmla="*/ 198438 h 267920"/>
                <a:gd name="connsiteX7" fmla="*/ 147965 w 323875"/>
                <a:gd name="connsiteY7" fmla="*/ 166578 h 267920"/>
                <a:gd name="connsiteX8" fmla="*/ 197934 w 323875"/>
                <a:gd name="connsiteY8" fmla="*/ 119927 h 267920"/>
                <a:gd name="connsiteX9" fmla="*/ 236196 w 323875"/>
                <a:gd name="connsiteY9" fmla="*/ 83517 h 267920"/>
                <a:gd name="connsiteX10" fmla="*/ 241050 w 323875"/>
                <a:gd name="connsiteY10" fmla="*/ 78207 h 267920"/>
                <a:gd name="connsiteX11" fmla="*/ 242668 w 323875"/>
                <a:gd name="connsiteY11" fmla="*/ 69389 h 267920"/>
                <a:gd name="connsiteX12" fmla="*/ 233626 w 323875"/>
                <a:gd name="connsiteY12" fmla="*/ 69484 h 267920"/>
                <a:gd name="connsiteX13" fmla="*/ 190129 w 323875"/>
                <a:gd name="connsiteY13" fmla="*/ 98403 h 267920"/>
                <a:gd name="connsiteX14" fmla="*/ 115794 w 323875"/>
                <a:gd name="connsiteY14" fmla="*/ 149226 h 267920"/>
                <a:gd name="connsiteX15" fmla="*/ 98757 w 323875"/>
                <a:gd name="connsiteY15" fmla="*/ 158614 h 267920"/>
                <a:gd name="connsiteX16" fmla="*/ 66777 w 323875"/>
                <a:gd name="connsiteY16" fmla="*/ 160889 h 267920"/>
                <a:gd name="connsiteX17" fmla="*/ 15284 w 323875"/>
                <a:gd name="connsiteY17" fmla="*/ 146666 h 267920"/>
                <a:gd name="connsiteX18" fmla="*/ 4719 w 323875"/>
                <a:gd name="connsiteY18" fmla="*/ 141831 h 267920"/>
                <a:gd name="connsiteX19" fmla="*/ 3101 w 323875"/>
                <a:gd name="connsiteY19" fmla="*/ 127608 h 267920"/>
                <a:gd name="connsiteX20" fmla="*/ 16331 w 323875"/>
                <a:gd name="connsiteY20" fmla="*/ 118790 h 267920"/>
                <a:gd name="connsiteX21" fmla="*/ 281216 w 323875"/>
                <a:gd name="connsiteY21" fmla="*/ 6808 h 267920"/>
                <a:gd name="connsiteX22" fmla="*/ 299110 w 323875"/>
                <a:gd name="connsiteY22" fmla="*/ 835 h 267920"/>
                <a:gd name="connsiteX23" fmla="*/ 323857 w 323875"/>
                <a:gd name="connsiteY23" fmla="*/ 25962 h 26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23875" h="267920">
                  <a:moveTo>
                    <a:pt x="323762" y="26057"/>
                  </a:moveTo>
                  <a:cubicBezTo>
                    <a:pt x="321477" y="41986"/>
                    <a:pt x="318717" y="62183"/>
                    <a:pt x="315671" y="82284"/>
                  </a:cubicBezTo>
                  <a:cubicBezTo>
                    <a:pt x="307962" y="133297"/>
                    <a:pt x="300252" y="184215"/>
                    <a:pt x="292257" y="235227"/>
                  </a:cubicBezTo>
                  <a:cubicBezTo>
                    <a:pt x="291210" y="241865"/>
                    <a:pt x="289116" y="248597"/>
                    <a:pt x="286165" y="254665"/>
                  </a:cubicBezTo>
                  <a:cubicBezTo>
                    <a:pt x="280645" y="266138"/>
                    <a:pt x="271032" y="270405"/>
                    <a:pt x="258944" y="266518"/>
                  </a:cubicBezTo>
                  <a:cubicBezTo>
                    <a:pt x="250949" y="263863"/>
                    <a:pt x="243144" y="259880"/>
                    <a:pt x="236101" y="255329"/>
                  </a:cubicBezTo>
                  <a:cubicBezTo>
                    <a:pt x="207547" y="236650"/>
                    <a:pt x="179374" y="217496"/>
                    <a:pt x="151106" y="198438"/>
                  </a:cubicBezTo>
                  <a:cubicBezTo>
                    <a:pt x="137781" y="189525"/>
                    <a:pt x="136353" y="177767"/>
                    <a:pt x="147965" y="166578"/>
                  </a:cubicBezTo>
                  <a:cubicBezTo>
                    <a:pt x="164336" y="150744"/>
                    <a:pt x="181278" y="135478"/>
                    <a:pt x="197934" y="119927"/>
                  </a:cubicBezTo>
                  <a:cubicBezTo>
                    <a:pt x="210783" y="107885"/>
                    <a:pt x="223442" y="95748"/>
                    <a:pt x="236196" y="83517"/>
                  </a:cubicBezTo>
                  <a:cubicBezTo>
                    <a:pt x="237909" y="81810"/>
                    <a:pt x="239432" y="80009"/>
                    <a:pt x="241050" y="78207"/>
                  </a:cubicBezTo>
                  <a:cubicBezTo>
                    <a:pt x="243335" y="75552"/>
                    <a:pt x="245524" y="72613"/>
                    <a:pt x="242668" y="69389"/>
                  </a:cubicBezTo>
                  <a:cubicBezTo>
                    <a:pt x="239908" y="66165"/>
                    <a:pt x="236482" y="67587"/>
                    <a:pt x="233626" y="69484"/>
                  </a:cubicBezTo>
                  <a:cubicBezTo>
                    <a:pt x="219064" y="79060"/>
                    <a:pt x="204501" y="88637"/>
                    <a:pt x="190129" y="98403"/>
                  </a:cubicBezTo>
                  <a:cubicBezTo>
                    <a:pt x="165288" y="115281"/>
                    <a:pt x="140636" y="132443"/>
                    <a:pt x="115794" y="149226"/>
                  </a:cubicBezTo>
                  <a:cubicBezTo>
                    <a:pt x="110464" y="152830"/>
                    <a:pt x="104658" y="155864"/>
                    <a:pt x="98757" y="158614"/>
                  </a:cubicBezTo>
                  <a:cubicBezTo>
                    <a:pt x="88478" y="163449"/>
                    <a:pt x="77912" y="164208"/>
                    <a:pt x="66777" y="160889"/>
                  </a:cubicBezTo>
                  <a:cubicBezTo>
                    <a:pt x="49739" y="155769"/>
                    <a:pt x="32417" y="151502"/>
                    <a:pt x="15284" y="146666"/>
                  </a:cubicBezTo>
                  <a:cubicBezTo>
                    <a:pt x="11572" y="145623"/>
                    <a:pt x="7955" y="143917"/>
                    <a:pt x="4719" y="141831"/>
                  </a:cubicBezTo>
                  <a:cubicBezTo>
                    <a:pt x="-801" y="138133"/>
                    <a:pt x="-1658" y="132254"/>
                    <a:pt x="3101" y="127608"/>
                  </a:cubicBezTo>
                  <a:cubicBezTo>
                    <a:pt x="6909" y="124005"/>
                    <a:pt x="11477" y="120781"/>
                    <a:pt x="16331" y="118790"/>
                  </a:cubicBezTo>
                  <a:cubicBezTo>
                    <a:pt x="104563" y="81336"/>
                    <a:pt x="192890" y="44072"/>
                    <a:pt x="281216" y="6808"/>
                  </a:cubicBezTo>
                  <a:cubicBezTo>
                    <a:pt x="287022" y="4343"/>
                    <a:pt x="293018" y="2162"/>
                    <a:pt x="299110" y="835"/>
                  </a:cubicBezTo>
                  <a:cubicBezTo>
                    <a:pt x="315766" y="-2674"/>
                    <a:pt x="324333" y="4722"/>
                    <a:pt x="323857" y="25962"/>
                  </a:cubicBezTo>
                  <a:close/>
                </a:path>
              </a:pathLst>
            </a:custGeom>
            <a:solidFill>
              <a:schemeClr val="tx2"/>
            </a:solidFill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25" name="Полилиния 524">
            <a:extLst>
              <a:ext uri="{FF2B5EF4-FFF2-40B4-BE49-F238E27FC236}">
                <a16:creationId xmlns:a16="http://schemas.microsoft.com/office/drawing/2014/main" id="{E89F4E4E-82BC-A8D1-8F97-50BDC7F86DEE}"/>
              </a:ext>
            </a:extLst>
          </p:cNvPr>
          <p:cNvSpPr/>
          <p:nvPr/>
        </p:nvSpPr>
        <p:spPr>
          <a:xfrm>
            <a:off x="505250" y="2841898"/>
            <a:ext cx="1248421" cy="1243612"/>
          </a:xfrm>
          <a:custGeom>
            <a:avLst/>
            <a:gdLst>
              <a:gd name="connsiteX0" fmla="*/ 564796 w 1485658"/>
              <a:gd name="connsiteY0" fmla="*/ 0 h 1479935"/>
              <a:gd name="connsiteX1" fmla="*/ 595348 w 1485658"/>
              <a:gd name="connsiteY1" fmla="*/ 30437 h 1479935"/>
              <a:gd name="connsiteX2" fmla="*/ 564796 w 1485658"/>
              <a:gd name="connsiteY2" fmla="*/ 60874 h 1479935"/>
              <a:gd name="connsiteX3" fmla="*/ 534243 w 1485658"/>
              <a:gd name="connsiteY3" fmla="*/ 30437 h 1479935"/>
              <a:gd name="connsiteX4" fmla="*/ 564796 w 1485658"/>
              <a:gd name="connsiteY4" fmla="*/ 0 h 1479935"/>
              <a:gd name="connsiteX5" fmla="*/ 593635 w 1485658"/>
              <a:gd name="connsiteY5" fmla="*/ 30437 h 1479935"/>
              <a:gd name="connsiteX6" fmla="*/ 624188 w 1485658"/>
              <a:gd name="connsiteY6" fmla="*/ 60874 h 1479935"/>
              <a:gd name="connsiteX7" fmla="*/ 654740 w 1485658"/>
              <a:gd name="connsiteY7" fmla="*/ 30437 h 1479935"/>
              <a:gd name="connsiteX8" fmla="*/ 624188 w 1485658"/>
              <a:gd name="connsiteY8" fmla="*/ 0 h 1479935"/>
              <a:gd name="connsiteX9" fmla="*/ 593635 w 1485658"/>
              <a:gd name="connsiteY9" fmla="*/ 30437 h 1479935"/>
              <a:gd name="connsiteX10" fmla="*/ 652932 w 1485658"/>
              <a:gd name="connsiteY10" fmla="*/ 30437 h 1479935"/>
              <a:gd name="connsiteX11" fmla="*/ 683485 w 1485658"/>
              <a:gd name="connsiteY11" fmla="*/ 60874 h 1479935"/>
              <a:gd name="connsiteX12" fmla="*/ 714037 w 1485658"/>
              <a:gd name="connsiteY12" fmla="*/ 30437 h 1479935"/>
              <a:gd name="connsiteX13" fmla="*/ 683485 w 1485658"/>
              <a:gd name="connsiteY13" fmla="*/ 0 h 1479935"/>
              <a:gd name="connsiteX14" fmla="*/ 652932 w 1485658"/>
              <a:gd name="connsiteY14" fmla="*/ 30437 h 1479935"/>
              <a:gd name="connsiteX15" fmla="*/ 831013 w 1485658"/>
              <a:gd name="connsiteY15" fmla="*/ 30437 h 1479935"/>
              <a:gd name="connsiteX16" fmla="*/ 861566 w 1485658"/>
              <a:gd name="connsiteY16" fmla="*/ 60874 h 1479935"/>
              <a:gd name="connsiteX17" fmla="*/ 892118 w 1485658"/>
              <a:gd name="connsiteY17" fmla="*/ 30437 h 1479935"/>
              <a:gd name="connsiteX18" fmla="*/ 861566 w 1485658"/>
              <a:gd name="connsiteY18" fmla="*/ 0 h 1479935"/>
              <a:gd name="connsiteX19" fmla="*/ 831013 w 1485658"/>
              <a:gd name="connsiteY19" fmla="*/ 30437 h 1479935"/>
              <a:gd name="connsiteX20" fmla="*/ 949702 w 1485658"/>
              <a:gd name="connsiteY20" fmla="*/ 30437 h 1479935"/>
              <a:gd name="connsiteX21" fmla="*/ 980255 w 1485658"/>
              <a:gd name="connsiteY21" fmla="*/ 60874 h 1479935"/>
              <a:gd name="connsiteX22" fmla="*/ 1010807 w 1485658"/>
              <a:gd name="connsiteY22" fmla="*/ 30437 h 1479935"/>
              <a:gd name="connsiteX23" fmla="*/ 980255 w 1485658"/>
              <a:gd name="connsiteY23" fmla="*/ 0 h 1479935"/>
              <a:gd name="connsiteX24" fmla="*/ 949702 w 1485658"/>
              <a:gd name="connsiteY24" fmla="*/ 30437 h 1479935"/>
              <a:gd name="connsiteX25" fmla="*/ 593635 w 1485658"/>
              <a:gd name="connsiteY25" fmla="*/ 89509 h 1479935"/>
              <a:gd name="connsiteX26" fmla="*/ 624188 w 1485658"/>
              <a:gd name="connsiteY26" fmla="*/ 119946 h 1479935"/>
              <a:gd name="connsiteX27" fmla="*/ 654740 w 1485658"/>
              <a:gd name="connsiteY27" fmla="*/ 89509 h 1479935"/>
              <a:gd name="connsiteX28" fmla="*/ 624188 w 1485658"/>
              <a:gd name="connsiteY28" fmla="*/ 59072 h 1479935"/>
              <a:gd name="connsiteX29" fmla="*/ 593635 w 1485658"/>
              <a:gd name="connsiteY29" fmla="*/ 89509 h 1479935"/>
              <a:gd name="connsiteX30" fmla="*/ 771621 w 1485658"/>
              <a:gd name="connsiteY30" fmla="*/ 89509 h 1479935"/>
              <a:gd name="connsiteX31" fmla="*/ 802174 w 1485658"/>
              <a:gd name="connsiteY31" fmla="*/ 119946 h 1479935"/>
              <a:gd name="connsiteX32" fmla="*/ 832726 w 1485658"/>
              <a:gd name="connsiteY32" fmla="*/ 89509 h 1479935"/>
              <a:gd name="connsiteX33" fmla="*/ 802174 w 1485658"/>
              <a:gd name="connsiteY33" fmla="*/ 59072 h 1479935"/>
              <a:gd name="connsiteX34" fmla="*/ 771621 w 1485658"/>
              <a:gd name="connsiteY34" fmla="*/ 89509 h 1479935"/>
              <a:gd name="connsiteX35" fmla="*/ 890310 w 1485658"/>
              <a:gd name="connsiteY35" fmla="*/ 89509 h 1479935"/>
              <a:gd name="connsiteX36" fmla="*/ 920863 w 1485658"/>
              <a:gd name="connsiteY36" fmla="*/ 119946 h 1479935"/>
              <a:gd name="connsiteX37" fmla="*/ 951415 w 1485658"/>
              <a:gd name="connsiteY37" fmla="*/ 89509 h 1479935"/>
              <a:gd name="connsiteX38" fmla="*/ 920863 w 1485658"/>
              <a:gd name="connsiteY38" fmla="*/ 59072 h 1479935"/>
              <a:gd name="connsiteX39" fmla="*/ 890310 w 1485658"/>
              <a:gd name="connsiteY39" fmla="*/ 89509 h 1479935"/>
              <a:gd name="connsiteX40" fmla="*/ 474851 w 1485658"/>
              <a:gd name="connsiteY40" fmla="*/ 148676 h 1479935"/>
              <a:gd name="connsiteX41" fmla="*/ 505404 w 1485658"/>
              <a:gd name="connsiteY41" fmla="*/ 179113 h 1479935"/>
              <a:gd name="connsiteX42" fmla="*/ 535956 w 1485658"/>
              <a:gd name="connsiteY42" fmla="*/ 148676 h 1479935"/>
              <a:gd name="connsiteX43" fmla="*/ 505404 w 1485658"/>
              <a:gd name="connsiteY43" fmla="*/ 118239 h 1479935"/>
              <a:gd name="connsiteX44" fmla="*/ 474851 w 1485658"/>
              <a:gd name="connsiteY44" fmla="*/ 148676 h 1479935"/>
              <a:gd name="connsiteX45" fmla="*/ 712324 w 1485658"/>
              <a:gd name="connsiteY45" fmla="*/ 148676 h 1479935"/>
              <a:gd name="connsiteX46" fmla="*/ 742877 w 1485658"/>
              <a:gd name="connsiteY46" fmla="*/ 179113 h 1479935"/>
              <a:gd name="connsiteX47" fmla="*/ 773429 w 1485658"/>
              <a:gd name="connsiteY47" fmla="*/ 148676 h 1479935"/>
              <a:gd name="connsiteX48" fmla="*/ 742877 w 1485658"/>
              <a:gd name="connsiteY48" fmla="*/ 118239 h 1479935"/>
              <a:gd name="connsiteX49" fmla="*/ 712324 w 1485658"/>
              <a:gd name="connsiteY49" fmla="*/ 148676 h 1479935"/>
              <a:gd name="connsiteX50" fmla="*/ 949702 w 1485658"/>
              <a:gd name="connsiteY50" fmla="*/ 148676 h 1479935"/>
              <a:gd name="connsiteX51" fmla="*/ 980255 w 1485658"/>
              <a:gd name="connsiteY51" fmla="*/ 179113 h 1479935"/>
              <a:gd name="connsiteX52" fmla="*/ 1010807 w 1485658"/>
              <a:gd name="connsiteY52" fmla="*/ 148676 h 1479935"/>
              <a:gd name="connsiteX53" fmla="*/ 980255 w 1485658"/>
              <a:gd name="connsiteY53" fmla="*/ 118239 h 1479935"/>
              <a:gd name="connsiteX54" fmla="*/ 949702 w 1485658"/>
              <a:gd name="connsiteY54" fmla="*/ 148676 h 1479935"/>
              <a:gd name="connsiteX55" fmla="*/ 474851 w 1485658"/>
              <a:gd name="connsiteY55" fmla="*/ 207843 h 1479935"/>
              <a:gd name="connsiteX56" fmla="*/ 505404 w 1485658"/>
              <a:gd name="connsiteY56" fmla="*/ 238280 h 1479935"/>
              <a:gd name="connsiteX57" fmla="*/ 535956 w 1485658"/>
              <a:gd name="connsiteY57" fmla="*/ 207843 h 1479935"/>
              <a:gd name="connsiteX58" fmla="*/ 505404 w 1485658"/>
              <a:gd name="connsiteY58" fmla="*/ 177406 h 1479935"/>
              <a:gd name="connsiteX59" fmla="*/ 474851 w 1485658"/>
              <a:gd name="connsiteY59" fmla="*/ 207843 h 1479935"/>
              <a:gd name="connsiteX60" fmla="*/ 534243 w 1485658"/>
              <a:gd name="connsiteY60" fmla="*/ 207843 h 1479935"/>
              <a:gd name="connsiteX61" fmla="*/ 564796 w 1485658"/>
              <a:gd name="connsiteY61" fmla="*/ 238280 h 1479935"/>
              <a:gd name="connsiteX62" fmla="*/ 595348 w 1485658"/>
              <a:gd name="connsiteY62" fmla="*/ 207843 h 1479935"/>
              <a:gd name="connsiteX63" fmla="*/ 564796 w 1485658"/>
              <a:gd name="connsiteY63" fmla="*/ 177406 h 1479935"/>
              <a:gd name="connsiteX64" fmla="*/ 534243 w 1485658"/>
              <a:gd name="connsiteY64" fmla="*/ 207843 h 1479935"/>
              <a:gd name="connsiteX65" fmla="*/ 593635 w 1485658"/>
              <a:gd name="connsiteY65" fmla="*/ 207843 h 1479935"/>
              <a:gd name="connsiteX66" fmla="*/ 624188 w 1485658"/>
              <a:gd name="connsiteY66" fmla="*/ 238280 h 1479935"/>
              <a:gd name="connsiteX67" fmla="*/ 654740 w 1485658"/>
              <a:gd name="connsiteY67" fmla="*/ 207843 h 1479935"/>
              <a:gd name="connsiteX68" fmla="*/ 624188 w 1485658"/>
              <a:gd name="connsiteY68" fmla="*/ 177406 h 1479935"/>
              <a:gd name="connsiteX69" fmla="*/ 593635 w 1485658"/>
              <a:gd name="connsiteY69" fmla="*/ 207843 h 1479935"/>
              <a:gd name="connsiteX70" fmla="*/ 652932 w 1485658"/>
              <a:gd name="connsiteY70" fmla="*/ 207843 h 1479935"/>
              <a:gd name="connsiteX71" fmla="*/ 683485 w 1485658"/>
              <a:gd name="connsiteY71" fmla="*/ 238280 h 1479935"/>
              <a:gd name="connsiteX72" fmla="*/ 714037 w 1485658"/>
              <a:gd name="connsiteY72" fmla="*/ 207843 h 1479935"/>
              <a:gd name="connsiteX73" fmla="*/ 683485 w 1485658"/>
              <a:gd name="connsiteY73" fmla="*/ 177406 h 1479935"/>
              <a:gd name="connsiteX74" fmla="*/ 652932 w 1485658"/>
              <a:gd name="connsiteY74" fmla="*/ 207843 h 1479935"/>
              <a:gd name="connsiteX75" fmla="*/ 771621 w 1485658"/>
              <a:gd name="connsiteY75" fmla="*/ 207843 h 1479935"/>
              <a:gd name="connsiteX76" fmla="*/ 802174 w 1485658"/>
              <a:gd name="connsiteY76" fmla="*/ 238280 h 1479935"/>
              <a:gd name="connsiteX77" fmla="*/ 832726 w 1485658"/>
              <a:gd name="connsiteY77" fmla="*/ 207843 h 1479935"/>
              <a:gd name="connsiteX78" fmla="*/ 802174 w 1485658"/>
              <a:gd name="connsiteY78" fmla="*/ 177406 h 1479935"/>
              <a:gd name="connsiteX79" fmla="*/ 771621 w 1485658"/>
              <a:gd name="connsiteY79" fmla="*/ 207843 h 1479935"/>
              <a:gd name="connsiteX80" fmla="*/ 831013 w 1485658"/>
              <a:gd name="connsiteY80" fmla="*/ 207843 h 1479935"/>
              <a:gd name="connsiteX81" fmla="*/ 861566 w 1485658"/>
              <a:gd name="connsiteY81" fmla="*/ 238280 h 1479935"/>
              <a:gd name="connsiteX82" fmla="*/ 892118 w 1485658"/>
              <a:gd name="connsiteY82" fmla="*/ 207843 h 1479935"/>
              <a:gd name="connsiteX83" fmla="*/ 861566 w 1485658"/>
              <a:gd name="connsiteY83" fmla="*/ 177406 h 1479935"/>
              <a:gd name="connsiteX84" fmla="*/ 831013 w 1485658"/>
              <a:gd name="connsiteY84" fmla="*/ 207843 h 1479935"/>
              <a:gd name="connsiteX85" fmla="*/ 474851 w 1485658"/>
              <a:gd name="connsiteY85" fmla="*/ 266915 h 1479935"/>
              <a:gd name="connsiteX86" fmla="*/ 505404 w 1485658"/>
              <a:gd name="connsiteY86" fmla="*/ 297352 h 1479935"/>
              <a:gd name="connsiteX87" fmla="*/ 535956 w 1485658"/>
              <a:gd name="connsiteY87" fmla="*/ 266915 h 1479935"/>
              <a:gd name="connsiteX88" fmla="*/ 505404 w 1485658"/>
              <a:gd name="connsiteY88" fmla="*/ 236479 h 1479935"/>
              <a:gd name="connsiteX89" fmla="*/ 474851 w 1485658"/>
              <a:gd name="connsiteY89" fmla="*/ 266915 h 1479935"/>
              <a:gd name="connsiteX90" fmla="*/ 652932 w 1485658"/>
              <a:gd name="connsiteY90" fmla="*/ 266915 h 1479935"/>
              <a:gd name="connsiteX91" fmla="*/ 683485 w 1485658"/>
              <a:gd name="connsiteY91" fmla="*/ 297352 h 1479935"/>
              <a:gd name="connsiteX92" fmla="*/ 714037 w 1485658"/>
              <a:gd name="connsiteY92" fmla="*/ 266915 h 1479935"/>
              <a:gd name="connsiteX93" fmla="*/ 683485 w 1485658"/>
              <a:gd name="connsiteY93" fmla="*/ 236479 h 1479935"/>
              <a:gd name="connsiteX94" fmla="*/ 652932 w 1485658"/>
              <a:gd name="connsiteY94" fmla="*/ 266915 h 1479935"/>
              <a:gd name="connsiteX95" fmla="*/ 712324 w 1485658"/>
              <a:gd name="connsiteY95" fmla="*/ 266915 h 1479935"/>
              <a:gd name="connsiteX96" fmla="*/ 742877 w 1485658"/>
              <a:gd name="connsiteY96" fmla="*/ 297352 h 1479935"/>
              <a:gd name="connsiteX97" fmla="*/ 773429 w 1485658"/>
              <a:gd name="connsiteY97" fmla="*/ 266915 h 1479935"/>
              <a:gd name="connsiteX98" fmla="*/ 742877 w 1485658"/>
              <a:gd name="connsiteY98" fmla="*/ 236479 h 1479935"/>
              <a:gd name="connsiteX99" fmla="*/ 712324 w 1485658"/>
              <a:gd name="connsiteY99" fmla="*/ 266915 h 1479935"/>
              <a:gd name="connsiteX100" fmla="*/ 831013 w 1485658"/>
              <a:gd name="connsiteY100" fmla="*/ 266915 h 1479935"/>
              <a:gd name="connsiteX101" fmla="*/ 861566 w 1485658"/>
              <a:gd name="connsiteY101" fmla="*/ 297352 h 1479935"/>
              <a:gd name="connsiteX102" fmla="*/ 892118 w 1485658"/>
              <a:gd name="connsiteY102" fmla="*/ 266915 h 1479935"/>
              <a:gd name="connsiteX103" fmla="*/ 861566 w 1485658"/>
              <a:gd name="connsiteY103" fmla="*/ 236479 h 1479935"/>
              <a:gd name="connsiteX104" fmla="*/ 831013 w 1485658"/>
              <a:gd name="connsiteY104" fmla="*/ 266915 h 1479935"/>
              <a:gd name="connsiteX105" fmla="*/ 474851 w 1485658"/>
              <a:gd name="connsiteY105" fmla="*/ 326083 h 1479935"/>
              <a:gd name="connsiteX106" fmla="*/ 505404 w 1485658"/>
              <a:gd name="connsiteY106" fmla="*/ 356519 h 1479935"/>
              <a:gd name="connsiteX107" fmla="*/ 535956 w 1485658"/>
              <a:gd name="connsiteY107" fmla="*/ 326083 h 1479935"/>
              <a:gd name="connsiteX108" fmla="*/ 505404 w 1485658"/>
              <a:gd name="connsiteY108" fmla="*/ 295646 h 1479935"/>
              <a:gd name="connsiteX109" fmla="*/ 474851 w 1485658"/>
              <a:gd name="connsiteY109" fmla="*/ 326083 h 1479935"/>
              <a:gd name="connsiteX110" fmla="*/ 593635 w 1485658"/>
              <a:gd name="connsiteY110" fmla="*/ 326083 h 1479935"/>
              <a:gd name="connsiteX111" fmla="*/ 624188 w 1485658"/>
              <a:gd name="connsiteY111" fmla="*/ 356519 h 1479935"/>
              <a:gd name="connsiteX112" fmla="*/ 654740 w 1485658"/>
              <a:gd name="connsiteY112" fmla="*/ 326083 h 1479935"/>
              <a:gd name="connsiteX113" fmla="*/ 624188 w 1485658"/>
              <a:gd name="connsiteY113" fmla="*/ 295646 h 1479935"/>
              <a:gd name="connsiteX114" fmla="*/ 593635 w 1485658"/>
              <a:gd name="connsiteY114" fmla="*/ 326083 h 1479935"/>
              <a:gd name="connsiteX115" fmla="*/ 831013 w 1485658"/>
              <a:gd name="connsiteY115" fmla="*/ 326083 h 1479935"/>
              <a:gd name="connsiteX116" fmla="*/ 861566 w 1485658"/>
              <a:gd name="connsiteY116" fmla="*/ 356519 h 1479935"/>
              <a:gd name="connsiteX117" fmla="*/ 892118 w 1485658"/>
              <a:gd name="connsiteY117" fmla="*/ 326083 h 1479935"/>
              <a:gd name="connsiteX118" fmla="*/ 861566 w 1485658"/>
              <a:gd name="connsiteY118" fmla="*/ 295646 h 1479935"/>
              <a:gd name="connsiteX119" fmla="*/ 831013 w 1485658"/>
              <a:gd name="connsiteY119" fmla="*/ 326083 h 1479935"/>
              <a:gd name="connsiteX120" fmla="*/ 890310 w 1485658"/>
              <a:gd name="connsiteY120" fmla="*/ 326083 h 1479935"/>
              <a:gd name="connsiteX121" fmla="*/ 920863 w 1485658"/>
              <a:gd name="connsiteY121" fmla="*/ 356519 h 1479935"/>
              <a:gd name="connsiteX122" fmla="*/ 951415 w 1485658"/>
              <a:gd name="connsiteY122" fmla="*/ 326083 h 1479935"/>
              <a:gd name="connsiteX123" fmla="*/ 920863 w 1485658"/>
              <a:gd name="connsiteY123" fmla="*/ 295646 h 1479935"/>
              <a:gd name="connsiteX124" fmla="*/ 890310 w 1485658"/>
              <a:gd name="connsiteY124" fmla="*/ 326083 h 1479935"/>
              <a:gd name="connsiteX125" fmla="*/ 949702 w 1485658"/>
              <a:gd name="connsiteY125" fmla="*/ 326083 h 1479935"/>
              <a:gd name="connsiteX126" fmla="*/ 980255 w 1485658"/>
              <a:gd name="connsiteY126" fmla="*/ 356519 h 1479935"/>
              <a:gd name="connsiteX127" fmla="*/ 1010807 w 1485658"/>
              <a:gd name="connsiteY127" fmla="*/ 326083 h 1479935"/>
              <a:gd name="connsiteX128" fmla="*/ 980255 w 1485658"/>
              <a:gd name="connsiteY128" fmla="*/ 295646 h 1479935"/>
              <a:gd name="connsiteX129" fmla="*/ 949702 w 1485658"/>
              <a:gd name="connsiteY129" fmla="*/ 326083 h 1479935"/>
              <a:gd name="connsiteX130" fmla="*/ 474851 w 1485658"/>
              <a:gd name="connsiteY130" fmla="*/ 385155 h 1479935"/>
              <a:gd name="connsiteX131" fmla="*/ 505404 w 1485658"/>
              <a:gd name="connsiteY131" fmla="*/ 415592 h 1479935"/>
              <a:gd name="connsiteX132" fmla="*/ 535956 w 1485658"/>
              <a:gd name="connsiteY132" fmla="*/ 385155 h 1479935"/>
              <a:gd name="connsiteX133" fmla="*/ 505404 w 1485658"/>
              <a:gd name="connsiteY133" fmla="*/ 354718 h 1479935"/>
              <a:gd name="connsiteX134" fmla="*/ 474851 w 1485658"/>
              <a:gd name="connsiteY134" fmla="*/ 385155 h 1479935"/>
              <a:gd name="connsiteX135" fmla="*/ 593635 w 1485658"/>
              <a:gd name="connsiteY135" fmla="*/ 385155 h 1479935"/>
              <a:gd name="connsiteX136" fmla="*/ 624188 w 1485658"/>
              <a:gd name="connsiteY136" fmla="*/ 415592 h 1479935"/>
              <a:gd name="connsiteX137" fmla="*/ 654740 w 1485658"/>
              <a:gd name="connsiteY137" fmla="*/ 385155 h 1479935"/>
              <a:gd name="connsiteX138" fmla="*/ 624188 w 1485658"/>
              <a:gd name="connsiteY138" fmla="*/ 354718 h 1479935"/>
              <a:gd name="connsiteX139" fmla="*/ 593635 w 1485658"/>
              <a:gd name="connsiteY139" fmla="*/ 385155 h 1479935"/>
              <a:gd name="connsiteX140" fmla="*/ 712324 w 1485658"/>
              <a:gd name="connsiteY140" fmla="*/ 385155 h 1479935"/>
              <a:gd name="connsiteX141" fmla="*/ 742877 w 1485658"/>
              <a:gd name="connsiteY141" fmla="*/ 415592 h 1479935"/>
              <a:gd name="connsiteX142" fmla="*/ 773429 w 1485658"/>
              <a:gd name="connsiteY142" fmla="*/ 385155 h 1479935"/>
              <a:gd name="connsiteX143" fmla="*/ 742877 w 1485658"/>
              <a:gd name="connsiteY143" fmla="*/ 354718 h 1479935"/>
              <a:gd name="connsiteX144" fmla="*/ 712324 w 1485658"/>
              <a:gd name="connsiteY144" fmla="*/ 385155 h 1479935"/>
              <a:gd name="connsiteX145" fmla="*/ 831013 w 1485658"/>
              <a:gd name="connsiteY145" fmla="*/ 385155 h 1479935"/>
              <a:gd name="connsiteX146" fmla="*/ 861566 w 1485658"/>
              <a:gd name="connsiteY146" fmla="*/ 415592 h 1479935"/>
              <a:gd name="connsiteX147" fmla="*/ 892118 w 1485658"/>
              <a:gd name="connsiteY147" fmla="*/ 385155 h 1479935"/>
              <a:gd name="connsiteX148" fmla="*/ 861566 w 1485658"/>
              <a:gd name="connsiteY148" fmla="*/ 354718 h 1479935"/>
              <a:gd name="connsiteX149" fmla="*/ 831013 w 1485658"/>
              <a:gd name="connsiteY149" fmla="*/ 385155 h 1479935"/>
              <a:gd name="connsiteX150" fmla="*/ 949702 w 1485658"/>
              <a:gd name="connsiteY150" fmla="*/ 385155 h 1479935"/>
              <a:gd name="connsiteX151" fmla="*/ 980255 w 1485658"/>
              <a:gd name="connsiteY151" fmla="*/ 415592 h 1479935"/>
              <a:gd name="connsiteX152" fmla="*/ 1010807 w 1485658"/>
              <a:gd name="connsiteY152" fmla="*/ 385155 h 1479935"/>
              <a:gd name="connsiteX153" fmla="*/ 980255 w 1485658"/>
              <a:gd name="connsiteY153" fmla="*/ 354718 h 1479935"/>
              <a:gd name="connsiteX154" fmla="*/ 949702 w 1485658"/>
              <a:gd name="connsiteY154" fmla="*/ 385155 h 1479935"/>
              <a:gd name="connsiteX155" fmla="*/ 474851 w 1485658"/>
              <a:gd name="connsiteY155" fmla="*/ 444322 h 1479935"/>
              <a:gd name="connsiteX156" fmla="*/ 505404 w 1485658"/>
              <a:gd name="connsiteY156" fmla="*/ 474759 h 1479935"/>
              <a:gd name="connsiteX157" fmla="*/ 535956 w 1485658"/>
              <a:gd name="connsiteY157" fmla="*/ 444322 h 1479935"/>
              <a:gd name="connsiteX158" fmla="*/ 505404 w 1485658"/>
              <a:gd name="connsiteY158" fmla="*/ 413885 h 1479935"/>
              <a:gd name="connsiteX159" fmla="*/ 474851 w 1485658"/>
              <a:gd name="connsiteY159" fmla="*/ 444322 h 1479935"/>
              <a:gd name="connsiteX160" fmla="*/ 831013 w 1485658"/>
              <a:gd name="connsiteY160" fmla="*/ 444322 h 1479935"/>
              <a:gd name="connsiteX161" fmla="*/ 861566 w 1485658"/>
              <a:gd name="connsiteY161" fmla="*/ 474759 h 1479935"/>
              <a:gd name="connsiteX162" fmla="*/ 892118 w 1485658"/>
              <a:gd name="connsiteY162" fmla="*/ 444322 h 1479935"/>
              <a:gd name="connsiteX163" fmla="*/ 861566 w 1485658"/>
              <a:gd name="connsiteY163" fmla="*/ 413885 h 1479935"/>
              <a:gd name="connsiteX164" fmla="*/ 831013 w 1485658"/>
              <a:gd name="connsiteY164" fmla="*/ 444322 h 1479935"/>
              <a:gd name="connsiteX165" fmla="*/ 890310 w 1485658"/>
              <a:gd name="connsiteY165" fmla="*/ 444322 h 1479935"/>
              <a:gd name="connsiteX166" fmla="*/ 920863 w 1485658"/>
              <a:gd name="connsiteY166" fmla="*/ 474759 h 1479935"/>
              <a:gd name="connsiteX167" fmla="*/ 951415 w 1485658"/>
              <a:gd name="connsiteY167" fmla="*/ 444322 h 1479935"/>
              <a:gd name="connsiteX168" fmla="*/ 920863 w 1485658"/>
              <a:gd name="connsiteY168" fmla="*/ 413885 h 1479935"/>
              <a:gd name="connsiteX169" fmla="*/ 890310 w 1485658"/>
              <a:gd name="connsiteY169" fmla="*/ 444322 h 1479935"/>
              <a:gd name="connsiteX170" fmla="*/ 95 w 1485658"/>
              <a:gd name="connsiteY170" fmla="*/ 503394 h 1479935"/>
              <a:gd name="connsiteX171" fmla="*/ 30648 w 1485658"/>
              <a:gd name="connsiteY171" fmla="*/ 533831 h 1479935"/>
              <a:gd name="connsiteX172" fmla="*/ 61200 w 1485658"/>
              <a:gd name="connsiteY172" fmla="*/ 503394 h 1479935"/>
              <a:gd name="connsiteX173" fmla="*/ 30648 w 1485658"/>
              <a:gd name="connsiteY173" fmla="*/ 472957 h 1479935"/>
              <a:gd name="connsiteX174" fmla="*/ 95 w 1485658"/>
              <a:gd name="connsiteY174" fmla="*/ 503394 h 1479935"/>
              <a:gd name="connsiteX175" fmla="*/ 118784 w 1485658"/>
              <a:gd name="connsiteY175" fmla="*/ 503394 h 1479935"/>
              <a:gd name="connsiteX176" fmla="*/ 149337 w 1485658"/>
              <a:gd name="connsiteY176" fmla="*/ 533831 h 1479935"/>
              <a:gd name="connsiteX177" fmla="*/ 179889 w 1485658"/>
              <a:gd name="connsiteY177" fmla="*/ 503394 h 1479935"/>
              <a:gd name="connsiteX178" fmla="*/ 149337 w 1485658"/>
              <a:gd name="connsiteY178" fmla="*/ 472957 h 1479935"/>
              <a:gd name="connsiteX179" fmla="*/ 118784 w 1485658"/>
              <a:gd name="connsiteY179" fmla="*/ 503394 h 1479935"/>
              <a:gd name="connsiteX180" fmla="*/ 178081 w 1485658"/>
              <a:gd name="connsiteY180" fmla="*/ 503394 h 1479935"/>
              <a:gd name="connsiteX181" fmla="*/ 208634 w 1485658"/>
              <a:gd name="connsiteY181" fmla="*/ 533831 h 1479935"/>
              <a:gd name="connsiteX182" fmla="*/ 239186 w 1485658"/>
              <a:gd name="connsiteY182" fmla="*/ 503394 h 1479935"/>
              <a:gd name="connsiteX183" fmla="*/ 208634 w 1485658"/>
              <a:gd name="connsiteY183" fmla="*/ 472957 h 1479935"/>
              <a:gd name="connsiteX184" fmla="*/ 178081 w 1485658"/>
              <a:gd name="connsiteY184" fmla="*/ 503394 h 1479935"/>
              <a:gd name="connsiteX185" fmla="*/ 237473 w 1485658"/>
              <a:gd name="connsiteY185" fmla="*/ 503394 h 1479935"/>
              <a:gd name="connsiteX186" fmla="*/ 268026 w 1485658"/>
              <a:gd name="connsiteY186" fmla="*/ 533831 h 1479935"/>
              <a:gd name="connsiteX187" fmla="*/ 298578 w 1485658"/>
              <a:gd name="connsiteY187" fmla="*/ 503394 h 1479935"/>
              <a:gd name="connsiteX188" fmla="*/ 268026 w 1485658"/>
              <a:gd name="connsiteY188" fmla="*/ 472957 h 1479935"/>
              <a:gd name="connsiteX189" fmla="*/ 237473 w 1485658"/>
              <a:gd name="connsiteY189" fmla="*/ 503394 h 1479935"/>
              <a:gd name="connsiteX190" fmla="*/ 296865 w 1485658"/>
              <a:gd name="connsiteY190" fmla="*/ 503394 h 1479935"/>
              <a:gd name="connsiteX191" fmla="*/ 327418 w 1485658"/>
              <a:gd name="connsiteY191" fmla="*/ 533831 h 1479935"/>
              <a:gd name="connsiteX192" fmla="*/ 357970 w 1485658"/>
              <a:gd name="connsiteY192" fmla="*/ 503394 h 1479935"/>
              <a:gd name="connsiteX193" fmla="*/ 327418 w 1485658"/>
              <a:gd name="connsiteY193" fmla="*/ 472957 h 1479935"/>
              <a:gd name="connsiteX194" fmla="*/ 296865 w 1485658"/>
              <a:gd name="connsiteY194" fmla="*/ 503394 h 1479935"/>
              <a:gd name="connsiteX195" fmla="*/ 356162 w 1485658"/>
              <a:gd name="connsiteY195" fmla="*/ 503394 h 1479935"/>
              <a:gd name="connsiteX196" fmla="*/ 386715 w 1485658"/>
              <a:gd name="connsiteY196" fmla="*/ 533831 h 1479935"/>
              <a:gd name="connsiteX197" fmla="*/ 417267 w 1485658"/>
              <a:gd name="connsiteY197" fmla="*/ 503394 h 1479935"/>
              <a:gd name="connsiteX198" fmla="*/ 386715 w 1485658"/>
              <a:gd name="connsiteY198" fmla="*/ 472957 h 1479935"/>
              <a:gd name="connsiteX199" fmla="*/ 356162 w 1485658"/>
              <a:gd name="connsiteY199" fmla="*/ 503394 h 1479935"/>
              <a:gd name="connsiteX200" fmla="*/ 534243 w 1485658"/>
              <a:gd name="connsiteY200" fmla="*/ 503394 h 1479935"/>
              <a:gd name="connsiteX201" fmla="*/ 564796 w 1485658"/>
              <a:gd name="connsiteY201" fmla="*/ 533831 h 1479935"/>
              <a:gd name="connsiteX202" fmla="*/ 595348 w 1485658"/>
              <a:gd name="connsiteY202" fmla="*/ 503394 h 1479935"/>
              <a:gd name="connsiteX203" fmla="*/ 564796 w 1485658"/>
              <a:gd name="connsiteY203" fmla="*/ 472957 h 1479935"/>
              <a:gd name="connsiteX204" fmla="*/ 534243 w 1485658"/>
              <a:gd name="connsiteY204" fmla="*/ 503394 h 1479935"/>
              <a:gd name="connsiteX205" fmla="*/ 712324 w 1485658"/>
              <a:gd name="connsiteY205" fmla="*/ 503394 h 1479935"/>
              <a:gd name="connsiteX206" fmla="*/ 742877 w 1485658"/>
              <a:gd name="connsiteY206" fmla="*/ 533831 h 1479935"/>
              <a:gd name="connsiteX207" fmla="*/ 773429 w 1485658"/>
              <a:gd name="connsiteY207" fmla="*/ 503394 h 1479935"/>
              <a:gd name="connsiteX208" fmla="*/ 742877 w 1485658"/>
              <a:gd name="connsiteY208" fmla="*/ 472957 h 1479935"/>
              <a:gd name="connsiteX209" fmla="*/ 712324 w 1485658"/>
              <a:gd name="connsiteY209" fmla="*/ 503394 h 1479935"/>
              <a:gd name="connsiteX210" fmla="*/ 771621 w 1485658"/>
              <a:gd name="connsiteY210" fmla="*/ 503394 h 1479935"/>
              <a:gd name="connsiteX211" fmla="*/ 802174 w 1485658"/>
              <a:gd name="connsiteY211" fmla="*/ 533831 h 1479935"/>
              <a:gd name="connsiteX212" fmla="*/ 832726 w 1485658"/>
              <a:gd name="connsiteY212" fmla="*/ 503394 h 1479935"/>
              <a:gd name="connsiteX213" fmla="*/ 802174 w 1485658"/>
              <a:gd name="connsiteY213" fmla="*/ 472957 h 1479935"/>
              <a:gd name="connsiteX214" fmla="*/ 771621 w 1485658"/>
              <a:gd name="connsiteY214" fmla="*/ 503394 h 1479935"/>
              <a:gd name="connsiteX215" fmla="*/ 949702 w 1485658"/>
              <a:gd name="connsiteY215" fmla="*/ 503394 h 1479935"/>
              <a:gd name="connsiteX216" fmla="*/ 980255 w 1485658"/>
              <a:gd name="connsiteY216" fmla="*/ 533831 h 1479935"/>
              <a:gd name="connsiteX217" fmla="*/ 1010807 w 1485658"/>
              <a:gd name="connsiteY217" fmla="*/ 503394 h 1479935"/>
              <a:gd name="connsiteX218" fmla="*/ 980255 w 1485658"/>
              <a:gd name="connsiteY218" fmla="*/ 472957 h 1479935"/>
              <a:gd name="connsiteX219" fmla="*/ 949702 w 1485658"/>
              <a:gd name="connsiteY219" fmla="*/ 503394 h 1479935"/>
              <a:gd name="connsiteX220" fmla="*/ 1068391 w 1485658"/>
              <a:gd name="connsiteY220" fmla="*/ 503394 h 1479935"/>
              <a:gd name="connsiteX221" fmla="*/ 1098944 w 1485658"/>
              <a:gd name="connsiteY221" fmla="*/ 533831 h 1479935"/>
              <a:gd name="connsiteX222" fmla="*/ 1129496 w 1485658"/>
              <a:gd name="connsiteY222" fmla="*/ 503394 h 1479935"/>
              <a:gd name="connsiteX223" fmla="*/ 1098944 w 1485658"/>
              <a:gd name="connsiteY223" fmla="*/ 472957 h 1479935"/>
              <a:gd name="connsiteX224" fmla="*/ 1068391 w 1485658"/>
              <a:gd name="connsiteY224" fmla="*/ 503394 h 1479935"/>
              <a:gd name="connsiteX225" fmla="*/ 1127783 w 1485658"/>
              <a:gd name="connsiteY225" fmla="*/ 503394 h 1479935"/>
              <a:gd name="connsiteX226" fmla="*/ 1158336 w 1485658"/>
              <a:gd name="connsiteY226" fmla="*/ 533831 h 1479935"/>
              <a:gd name="connsiteX227" fmla="*/ 1188888 w 1485658"/>
              <a:gd name="connsiteY227" fmla="*/ 503394 h 1479935"/>
              <a:gd name="connsiteX228" fmla="*/ 1158336 w 1485658"/>
              <a:gd name="connsiteY228" fmla="*/ 472957 h 1479935"/>
              <a:gd name="connsiteX229" fmla="*/ 1127783 w 1485658"/>
              <a:gd name="connsiteY229" fmla="*/ 503394 h 1479935"/>
              <a:gd name="connsiteX230" fmla="*/ 1187080 w 1485658"/>
              <a:gd name="connsiteY230" fmla="*/ 503394 h 1479935"/>
              <a:gd name="connsiteX231" fmla="*/ 1217633 w 1485658"/>
              <a:gd name="connsiteY231" fmla="*/ 533831 h 1479935"/>
              <a:gd name="connsiteX232" fmla="*/ 1248185 w 1485658"/>
              <a:gd name="connsiteY232" fmla="*/ 503394 h 1479935"/>
              <a:gd name="connsiteX233" fmla="*/ 1217633 w 1485658"/>
              <a:gd name="connsiteY233" fmla="*/ 472957 h 1479935"/>
              <a:gd name="connsiteX234" fmla="*/ 1187080 w 1485658"/>
              <a:gd name="connsiteY234" fmla="*/ 503394 h 1479935"/>
              <a:gd name="connsiteX235" fmla="*/ 1246472 w 1485658"/>
              <a:gd name="connsiteY235" fmla="*/ 503394 h 1479935"/>
              <a:gd name="connsiteX236" fmla="*/ 1277025 w 1485658"/>
              <a:gd name="connsiteY236" fmla="*/ 533831 h 1479935"/>
              <a:gd name="connsiteX237" fmla="*/ 1307577 w 1485658"/>
              <a:gd name="connsiteY237" fmla="*/ 503394 h 1479935"/>
              <a:gd name="connsiteX238" fmla="*/ 1277025 w 1485658"/>
              <a:gd name="connsiteY238" fmla="*/ 472957 h 1479935"/>
              <a:gd name="connsiteX239" fmla="*/ 1246472 w 1485658"/>
              <a:gd name="connsiteY239" fmla="*/ 503394 h 1479935"/>
              <a:gd name="connsiteX240" fmla="*/ 1305769 w 1485658"/>
              <a:gd name="connsiteY240" fmla="*/ 503394 h 1479935"/>
              <a:gd name="connsiteX241" fmla="*/ 1336322 w 1485658"/>
              <a:gd name="connsiteY241" fmla="*/ 533831 h 1479935"/>
              <a:gd name="connsiteX242" fmla="*/ 1366874 w 1485658"/>
              <a:gd name="connsiteY242" fmla="*/ 503394 h 1479935"/>
              <a:gd name="connsiteX243" fmla="*/ 1336322 w 1485658"/>
              <a:gd name="connsiteY243" fmla="*/ 472957 h 1479935"/>
              <a:gd name="connsiteX244" fmla="*/ 1305769 w 1485658"/>
              <a:gd name="connsiteY244" fmla="*/ 503394 h 1479935"/>
              <a:gd name="connsiteX245" fmla="*/ 95 w 1485658"/>
              <a:gd name="connsiteY245" fmla="*/ 562561 h 1479935"/>
              <a:gd name="connsiteX246" fmla="*/ 30648 w 1485658"/>
              <a:gd name="connsiteY246" fmla="*/ 592998 h 1479935"/>
              <a:gd name="connsiteX247" fmla="*/ 61200 w 1485658"/>
              <a:gd name="connsiteY247" fmla="*/ 562561 h 1479935"/>
              <a:gd name="connsiteX248" fmla="*/ 30648 w 1485658"/>
              <a:gd name="connsiteY248" fmla="*/ 532124 h 1479935"/>
              <a:gd name="connsiteX249" fmla="*/ 95 w 1485658"/>
              <a:gd name="connsiteY249" fmla="*/ 562561 h 1479935"/>
              <a:gd name="connsiteX250" fmla="*/ 118784 w 1485658"/>
              <a:gd name="connsiteY250" fmla="*/ 562561 h 1479935"/>
              <a:gd name="connsiteX251" fmla="*/ 149337 w 1485658"/>
              <a:gd name="connsiteY251" fmla="*/ 592998 h 1479935"/>
              <a:gd name="connsiteX252" fmla="*/ 179889 w 1485658"/>
              <a:gd name="connsiteY252" fmla="*/ 562561 h 1479935"/>
              <a:gd name="connsiteX253" fmla="*/ 149337 w 1485658"/>
              <a:gd name="connsiteY253" fmla="*/ 532124 h 1479935"/>
              <a:gd name="connsiteX254" fmla="*/ 118784 w 1485658"/>
              <a:gd name="connsiteY254" fmla="*/ 562561 h 1479935"/>
              <a:gd name="connsiteX255" fmla="*/ 237473 w 1485658"/>
              <a:gd name="connsiteY255" fmla="*/ 562561 h 1479935"/>
              <a:gd name="connsiteX256" fmla="*/ 268026 w 1485658"/>
              <a:gd name="connsiteY256" fmla="*/ 592998 h 1479935"/>
              <a:gd name="connsiteX257" fmla="*/ 298578 w 1485658"/>
              <a:gd name="connsiteY257" fmla="*/ 562561 h 1479935"/>
              <a:gd name="connsiteX258" fmla="*/ 268026 w 1485658"/>
              <a:gd name="connsiteY258" fmla="*/ 532124 h 1479935"/>
              <a:gd name="connsiteX259" fmla="*/ 237473 w 1485658"/>
              <a:gd name="connsiteY259" fmla="*/ 562561 h 1479935"/>
              <a:gd name="connsiteX260" fmla="*/ 534243 w 1485658"/>
              <a:gd name="connsiteY260" fmla="*/ 562561 h 1479935"/>
              <a:gd name="connsiteX261" fmla="*/ 564796 w 1485658"/>
              <a:gd name="connsiteY261" fmla="*/ 592998 h 1479935"/>
              <a:gd name="connsiteX262" fmla="*/ 595348 w 1485658"/>
              <a:gd name="connsiteY262" fmla="*/ 562561 h 1479935"/>
              <a:gd name="connsiteX263" fmla="*/ 564796 w 1485658"/>
              <a:gd name="connsiteY263" fmla="*/ 532124 h 1479935"/>
              <a:gd name="connsiteX264" fmla="*/ 534243 w 1485658"/>
              <a:gd name="connsiteY264" fmla="*/ 562561 h 1479935"/>
              <a:gd name="connsiteX265" fmla="*/ 712324 w 1485658"/>
              <a:gd name="connsiteY265" fmla="*/ 562561 h 1479935"/>
              <a:gd name="connsiteX266" fmla="*/ 742877 w 1485658"/>
              <a:gd name="connsiteY266" fmla="*/ 592998 h 1479935"/>
              <a:gd name="connsiteX267" fmla="*/ 773429 w 1485658"/>
              <a:gd name="connsiteY267" fmla="*/ 562561 h 1479935"/>
              <a:gd name="connsiteX268" fmla="*/ 742877 w 1485658"/>
              <a:gd name="connsiteY268" fmla="*/ 532124 h 1479935"/>
              <a:gd name="connsiteX269" fmla="*/ 712324 w 1485658"/>
              <a:gd name="connsiteY269" fmla="*/ 562561 h 1479935"/>
              <a:gd name="connsiteX270" fmla="*/ 771621 w 1485658"/>
              <a:gd name="connsiteY270" fmla="*/ 562561 h 1479935"/>
              <a:gd name="connsiteX271" fmla="*/ 802174 w 1485658"/>
              <a:gd name="connsiteY271" fmla="*/ 592998 h 1479935"/>
              <a:gd name="connsiteX272" fmla="*/ 832726 w 1485658"/>
              <a:gd name="connsiteY272" fmla="*/ 562561 h 1479935"/>
              <a:gd name="connsiteX273" fmla="*/ 802174 w 1485658"/>
              <a:gd name="connsiteY273" fmla="*/ 532124 h 1479935"/>
              <a:gd name="connsiteX274" fmla="*/ 771621 w 1485658"/>
              <a:gd name="connsiteY274" fmla="*/ 562561 h 1479935"/>
              <a:gd name="connsiteX275" fmla="*/ 949702 w 1485658"/>
              <a:gd name="connsiteY275" fmla="*/ 562561 h 1479935"/>
              <a:gd name="connsiteX276" fmla="*/ 980255 w 1485658"/>
              <a:gd name="connsiteY276" fmla="*/ 592998 h 1479935"/>
              <a:gd name="connsiteX277" fmla="*/ 1010807 w 1485658"/>
              <a:gd name="connsiteY277" fmla="*/ 562561 h 1479935"/>
              <a:gd name="connsiteX278" fmla="*/ 980255 w 1485658"/>
              <a:gd name="connsiteY278" fmla="*/ 532124 h 1479935"/>
              <a:gd name="connsiteX279" fmla="*/ 949702 w 1485658"/>
              <a:gd name="connsiteY279" fmla="*/ 562561 h 1479935"/>
              <a:gd name="connsiteX280" fmla="*/ 1009094 w 1485658"/>
              <a:gd name="connsiteY280" fmla="*/ 562561 h 1479935"/>
              <a:gd name="connsiteX281" fmla="*/ 1039647 w 1485658"/>
              <a:gd name="connsiteY281" fmla="*/ 592998 h 1479935"/>
              <a:gd name="connsiteX282" fmla="*/ 1070199 w 1485658"/>
              <a:gd name="connsiteY282" fmla="*/ 562561 h 1479935"/>
              <a:gd name="connsiteX283" fmla="*/ 1039647 w 1485658"/>
              <a:gd name="connsiteY283" fmla="*/ 532124 h 1479935"/>
              <a:gd name="connsiteX284" fmla="*/ 1009094 w 1485658"/>
              <a:gd name="connsiteY284" fmla="*/ 562561 h 1479935"/>
              <a:gd name="connsiteX285" fmla="*/ 1127783 w 1485658"/>
              <a:gd name="connsiteY285" fmla="*/ 562561 h 1479935"/>
              <a:gd name="connsiteX286" fmla="*/ 1158336 w 1485658"/>
              <a:gd name="connsiteY286" fmla="*/ 592998 h 1479935"/>
              <a:gd name="connsiteX287" fmla="*/ 1188888 w 1485658"/>
              <a:gd name="connsiteY287" fmla="*/ 562561 h 1479935"/>
              <a:gd name="connsiteX288" fmla="*/ 1158336 w 1485658"/>
              <a:gd name="connsiteY288" fmla="*/ 532124 h 1479935"/>
              <a:gd name="connsiteX289" fmla="*/ 1127783 w 1485658"/>
              <a:gd name="connsiteY289" fmla="*/ 562561 h 1479935"/>
              <a:gd name="connsiteX290" fmla="*/ 1365161 w 1485658"/>
              <a:gd name="connsiteY290" fmla="*/ 562561 h 1479935"/>
              <a:gd name="connsiteX291" fmla="*/ 1395714 w 1485658"/>
              <a:gd name="connsiteY291" fmla="*/ 592998 h 1479935"/>
              <a:gd name="connsiteX292" fmla="*/ 1426266 w 1485658"/>
              <a:gd name="connsiteY292" fmla="*/ 562561 h 1479935"/>
              <a:gd name="connsiteX293" fmla="*/ 1395714 w 1485658"/>
              <a:gd name="connsiteY293" fmla="*/ 532124 h 1479935"/>
              <a:gd name="connsiteX294" fmla="*/ 1365161 w 1485658"/>
              <a:gd name="connsiteY294" fmla="*/ 562561 h 1479935"/>
              <a:gd name="connsiteX295" fmla="*/ 95 w 1485658"/>
              <a:gd name="connsiteY295" fmla="*/ 621728 h 1479935"/>
              <a:gd name="connsiteX296" fmla="*/ 30648 w 1485658"/>
              <a:gd name="connsiteY296" fmla="*/ 652165 h 1479935"/>
              <a:gd name="connsiteX297" fmla="*/ 61200 w 1485658"/>
              <a:gd name="connsiteY297" fmla="*/ 621728 h 1479935"/>
              <a:gd name="connsiteX298" fmla="*/ 30648 w 1485658"/>
              <a:gd name="connsiteY298" fmla="*/ 591291 h 1479935"/>
              <a:gd name="connsiteX299" fmla="*/ 95 w 1485658"/>
              <a:gd name="connsiteY299" fmla="*/ 621728 h 1479935"/>
              <a:gd name="connsiteX300" fmla="*/ 118784 w 1485658"/>
              <a:gd name="connsiteY300" fmla="*/ 621728 h 1479935"/>
              <a:gd name="connsiteX301" fmla="*/ 149337 w 1485658"/>
              <a:gd name="connsiteY301" fmla="*/ 652165 h 1479935"/>
              <a:gd name="connsiteX302" fmla="*/ 179889 w 1485658"/>
              <a:gd name="connsiteY302" fmla="*/ 621728 h 1479935"/>
              <a:gd name="connsiteX303" fmla="*/ 149337 w 1485658"/>
              <a:gd name="connsiteY303" fmla="*/ 591291 h 1479935"/>
              <a:gd name="connsiteX304" fmla="*/ 118784 w 1485658"/>
              <a:gd name="connsiteY304" fmla="*/ 621728 h 1479935"/>
              <a:gd name="connsiteX305" fmla="*/ 237473 w 1485658"/>
              <a:gd name="connsiteY305" fmla="*/ 621728 h 1479935"/>
              <a:gd name="connsiteX306" fmla="*/ 268026 w 1485658"/>
              <a:gd name="connsiteY306" fmla="*/ 652165 h 1479935"/>
              <a:gd name="connsiteX307" fmla="*/ 298578 w 1485658"/>
              <a:gd name="connsiteY307" fmla="*/ 621728 h 1479935"/>
              <a:gd name="connsiteX308" fmla="*/ 268026 w 1485658"/>
              <a:gd name="connsiteY308" fmla="*/ 591291 h 1479935"/>
              <a:gd name="connsiteX309" fmla="*/ 237473 w 1485658"/>
              <a:gd name="connsiteY309" fmla="*/ 621728 h 1479935"/>
              <a:gd name="connsiteX310" fmla="*/ 296865 w 1485658"/>
              <a:gd name="connsiteY310" fmla="*/ 621728 h 1479935"/>
              <a:gd name="connsiteX311" fmla="*/ 327418 w 1485658"/>
              <a:gd name="connsiteY311" fmla="*/ 652165 h 1479935"/>
              <a:gd name="connsiteX312" fmla="*/ 357970 w 1485658"/>
              <a:gd name="connsiteY312" fmla="*/ 621728 h 1479935"/>
              <a:gd name="connsiteX313" fmla="*/ 327418 w 1485658"/>
              <a:gd name="connsiteY313" fmla="*/ 591291 h 1479935"/>
              <a:gd name="connsiteX314" fmla="*/ 296865 w 1485658"/>
              <a:gd name="connsiteY314" fmla="*/ 621728 h 1479935"/>
              <a:gd name="connsiteX315" fmla="*/ 356162 w 1485658"/>
              <a:gd name="connsiteY315" fmla="*/ 621728 h 1479935"/>
              <a:gd name="connsiteX316" fmla="*/ 386715 w 1485658"/>
              <a:gd name="connsiteY316" fmla="*/ 652165 h 1479935"/>
              <a:gd name="connsiteX317" fmla="*/ 417267 w 1485658"/>
              <a:gd name="connsiteY317" fmla="*/ 621728 h 1479935"/>
              <a:gd name="connsiteX318" fmla="*/ 386715 w 1485658"/>
              <a:gd name="connsiteY318" fmla="*/ 591291 h 1479935"/>
              <a:gd name="connsiteX319" fmla="*/ 356162 w 1485658"/>
              <a:gd name="connsiteY319" fmla="*/ 621728 h 1479935"/>
              <a:gd name="connsiteX320" fmla="*/ 474851 w 1485658"/>
              <a:gd name="connsiteY320" fmla="*/ 621728 h 1479935"/>
              <a:gd name="connsiteX321" fmla="*/ 505404 w 1485658"/>
              <a:gd name="connsiteY321" fmla="*/ 652165 h 1479935"/>
              <a:gd name="connsiteX322" fmla="*/ 535956 w 1485658"/>
              <a:gd name="connsiteY322" fmla="*/ 621728 h 1479935"/>
              <a:gd name="connsiteX323" fmla="*/ 505404 w 1485658"/>
              <a:gd name="connsiteY323" fmla="*/ 591291 h 1479935"/>
              <a:gd name="connsiteX324" fmla="*/ 474851 w 1485658"/>
              <a:gd name="connsiteY324" fmla="*/ 621728 h 1479935"/>
              <a:gd name="connsiteX325" fmla="*/ 593635 w 1485658"/>
              <a:gd name="connsiteY325" fmla="*/ 621728 h 1479935"/>
              <a:gd name="connsiteX326" fmla="*/ 624188 w 1485658"/>
              <a:gd name="connsiteY326" fmla="*/ 652165 h 1479935"/>
              <a:gd name="connsiteX327" fmla="*/ 654740 w 1485658"/>
              <a:gd name="connsiteY327" fmla="*/ 621728 h 1479935"/>
              <a:gd name="connsiteX328" fmla="*/ 624188 w 1485658"/>
              <a:gd name="connsiteY328" fmla="*/ 591291 h 1479935"/>
              <a:gd name="connsiteX329" fmla="*/ 593635 w 1485658"/>
              <a:gd name="connsiteY329" fmla="*/ 621728 h 1479935"/>
              <a:gd name="connsiteX330" fmla="*/ 652932 w 1485658"/>
              <a:gd name="connsiteY330" fmla="*/ 621728 h 1479935"/>
              <a:gd name="connsiteX331" fmla="*/ 683485 w 1485658"/>
              <a:gd name="connsiteY331" fmla="*/ 652165 h 1479935"/>
              <a:gd name="connsiteX332" fmla="*/ 714037 w 1485658"/>
              <a:gd name="connsiteY332" fmla="*/ 621728 h 1479935"/>
              <a:gd name="connsiteX333" fmla="*/ 683485 w 1485658"/>
              <a:gd name="connsiteY333" fmla="*/ 591291 h 1479935"/>
              <a:gd name="connsiteX334" fmla="*/ 652932 w 1485658"/>
              <a:gd name="connsiteY334" fmla="*/ 621728 h 1479935"/>
              <a:gd name="connsiteX335" fmla="*/ 712324 w 1485658"/>
              <a:gd name="connsiteY335" fmla="*/ 621728 h 1479935"/>
              <a:gd name="connsiteX336" fmla="*/ 742877 w 1485658"/>
              <a:gd name="connsiteY336" fmla="*/ 652165 h 1479935"/>
              <a:gd name="connsiteX337" fmla="*/ 773429 w 1485658"/>
              <a:gd name="connsiteY337" fmla="*/ 621728 h 1479935"/>
              <a:gd name="connsiteX338" fmla="*/ 742877 w 1485658"/>
              <a:gd name="connsiteY338" fmla="*/ 591291 h 1479935"/>
              <a:gd name="connsiteX339" fmla="*/ 712324 w 1485658"/>
              <a:gd name="connsiteY339" fmla="*/ 621728 h 1479935"/>
              <a:gd name="connsiteX340" fmla="*/ 771621 w 1485658"/>
              <a:gd name="connsiteY340" fmla="*/ 621728 h 1479935"/>
              <a:gd name="connsiteX341" fmla="*/ 802174 w 1485658"/>
              <a:gd name="connsiteY341" fmla="*/ 652165 h 1479935"/>
              <a:gd name="connsiteX342" fmla="*/ 832726 w 1485658"/>
              <a:gd name="connsiteY342" fmla="*/ 621728 h 1479935"/>
              <a:gd name="connsiteX343" fmla="*/ 802174 w 1485658"/>
              <a:gd name="connsiteY343" fmla="*/ 591291 h 1479935"/>
              <a:gd name="connsiteX344" fmla="*/ 771621 w 1485658"/>
              <a:gd name="connsiteY344" fmla="*/ 621728 h 1479935"/>
              <a:gd name="connsiteX345" fmla="*/ 831013 w 1485658"/>
              <a:gd name="connsiteY345" fmla="*/ 621728 h 1479935"/>
              <a:gd name="connsiteX346" fmla="*/ 861566 w 1485658"/>
              <a:gd name="connsiteY346" fmla="*/ 652165 h 1479935"/>
              <a:gd name="connsiteX347" fmla="*/ 892118 w 1485658"/>
              <a:gd name="connsiteY347" fmla="*/ 621728 h 1479935"/>
              <a:gd name="connsiteX348" fmla="*/ 861566 w 1485658"/>
              <a:gd name="connsiteY348" fmla="*/ 591291 h 1479935"/>
              <a:gd name="connsiteX349" fmla="*/ 831013 w 1485658"/>
              <a:gd name="connsiteY349" fmla="*/ 621728 h 1479935"/>
              <a:gd name="connsiteX350" fmla="*/ 890310 w 1485658"/>
              <a:gd name="connsiteY350" fmla="*/ 621728 h 1479935"/>
              <a:gd name="connsiteX351" fmla="*/ 920863 w 1485658"/>
              <a:gd name="connsiteY351" fmla="*/ 652165 h 1479935"/>
              <a:gd name="connsiteX352" fmla="*/ 951415 w 1485658"/>
              <a:gd name="connsiteY352" fmla="*/ 621728 h 1479935"/>
              <a:gd name="connsiteX353" fmla="*/ 920863 w 1485658"/>
              <a:gd name="connsiteY353" fmla="*/ 591291 h 1479935"/>
              <a:gd name="connsiteX354" fmla="*/ 890310 w 1485658"/>
              <a:gd name="connsiteY354" fmla="*/ 621728 h 1479935"/>
              <a:gd name="connsiteX355" fmla="*/ 949702 w 1485658"/>
              <a:gd name="connsiteY355" fmla="*/ 621728 h 1479935"/>
              <a:gd name="connsiteX356" fmla="*/ 980255 w 1485658"/>
              <a:gd name="connsiteY356" fmla="*/ 652165 h 1479935"/>
              <a:gd name="connsiteX357" fmla="*/ 1010807 w 1485658"/>
              <a:gd name="connsiteY357" fmla="*/ 621728 h 1479935"/>
              <a:gd name="connsiteX358" fmla="*/ 980255 w 1485658"/>
              <a:gd name="connsiteY358" fmla="*/ 591291 h 1479935"/>
              <a:gd name="connsiteX359" fmla="*/ 949702 w 1485658"/>
              <a:gd name="connsiteY359" fmla="*/ 621728 h 1479935"/>
              <a:gd name="connsiteX360" fmla="*/ 1009094 w 1485658"/>
              <a:gd name="connsiteY360" fmla="*/ 621728 h 1479935"/>
              <a:gd name="connsiteX361" fmla="*/ 1039647 w 1485658"/>
              <a:gd name="connsiteY361" fmla="*/ 652165 h 1479935"/>
              <a:gd name="connsiteX362" fmla="*/ 1070199 w 1485658"/>
              <a:gd name="connsiteY362" fmla="*/ 621728 h 1479935"/>
              <a:gd name="connsiteX363" fmla="*/ 1039647 w 1485658"/>
              <a:gd name="connsiteY363" fmla="*/ 591291 h 1479935"/>
              <a:gd name="connsiteX364" fmla="*/ 1009094 w 1485658"/>
              <a:gd name="connsiteY364" fmla="*/ 621728 h 1479935"/>
              <a:gd name="connsiteX365" fmla="*/ 1068391 w 1485658"/>
              <a:gd name="connsiteY365" fmla="*/ 621728 h 1479935"/>
              <a:gd name="connsiteX366" fmla="*/ 1098944 w 1485658"/>
              <a:gd name="connsiteY366" fmla="*/ 652165 h 1479935"/>
              <a:gd name="connsiteX367" fmla="*/ 1129496 w 1485658"/>
              <a:gd name="connsiteY367" fmla="*/ 621728 h 1479935"/>
              <a:gd name="connsiteX368" fmla="*/ 1098944 w 1485658"/>
              <a:gd name="connsiteY368" fmla="*/ 591291 h 1479935"/>
              <a:gd name="connsiteX369" fmla="*/ 1068391 w 1485658"/>
              <a:gd name="connsiteY369" fmla="*/ 621728 h 1479935"/>
              <a:gd name="connsiteX370" fmla="*/ 1127783 w 1485658"/>
              <a:gd name="connsiteY370" fmla="*/ 621728 h 1479935"/>
              <a:gd name="connsiteX371" fmla="*/ 1158336 w 1485658"/>
              <a:gd name="connsiteY371" fmla="*/ 652165 h 1479935"/>
              <a:gd name="connsiteX372" fmla="*/ 1188888 w 1485658"/>
              <a:gd name="connsiteY372" fmla="*/ 621728 h 1479935"/>
              <a:gd name="connsiteX373" fmla="*/ 1158336 w 1485658"/>
              <a:gd name="connsiteY373" fmla="*/ 591291 h 1479935"/>
              <a:gd name="connsiteX374" fmla="*/ 1127783 w 1485658"/>
              <a:gd name="connsiteY374" fmla="*/ 621728 h 1479935"/>
              <a:gd name="connsiteX375" fmla="*/ 1187080 w 1485658"/>
              <a:gd name="connsiteY375" fmla="*/ 621728 h 1479935"/>
              <a:gd name="connsiteX376" fmla="*/ 1217633 w 1485658"/>
              <a:gd name="connsiteY376" fmla="*/ 652165 h 1479935"/>
              <a:gd name="connsiteX377" fmla="*/ 1248185 w 1485658"/>
              <a:gd name="connsiteY377" fmla="*/ 621728 h 1479935"/>
              <a:gd name="connsiteX378" fmla="*/ 1217633 w 1485658"/>
              <a:gd name="connsiteY378" fmla="*/ 591291 h 1479935"/>
              <a:gd name="connsiteX379" fmla="*/ 1187080 w 1485658"/>
              <a:gd name="connsiteY379" fmla="*/ 621728 h 1479935"/>
              <a:gd name="connsiteX380" fmla="*/ 1246472 w 1485658"/>
              <a:gd name="connsiteY380" fmla="*/ 621728 h 1479935"/>
              <a:gd name="connsiteX381" fmla="*/ 1277025 w 1485658"/>
              <a:gd name="connsiteY381" fmla="*/ 652165 h 1479935"/>
              <a:gd name="connsiteX382" fmla="*/ 1307577 w 1485658"/>
              <a:gd name="connsiteY382" fmla="*/ 621728 h 1479935"/>
              <a:gd name="connsiteX383" fmla="*/ 1277025 w 1485658"/>
              <a:gd name="connsiteY383" fmla="*/ 591291 h 1479935"/>
              <a:gd name="connsiteX384" fmla="*/ 1246472 w 1485658"/>
              <a:gd name="connsiteY384" fmla="*/ 621728 h 1479935"/>
              <a:gd name="connsiteX385" fmla="*/ 1365161 w 1485658"/>
              <a:gd name="connsiteY385" fmla="*/ 621728 h 1479935"/>
              <a:gd name="connsiteX386" fmla="*/ 1395714 w 1485658"/>
              <a:gd name="connsiteY386" fmla="*/ 652165 h 1479935"/>
              <a:gd name="connsiteX387" fmla="*/ 1426266 w 1485658"/>
              <a:gd name="connsiteY387" fmla="*/ 621728 h 1479935"/>
              <a:gd name="connsiteX388" fmla="*/ 1395714 w 1485658"/>
              <a:gd name="connsiteY388" fmla="*/ 591291 h 1479935"/>
              <a:gd name="connsiteX389" fmla="*/ 1365161 w 1485658"/>
              <a:gd name="connsiteY389" fmla="*/ 621728 h 1479935"/>
              <a:gd name="connsiteX390" fmla="*/ 1424553 w 1485658"/>
              <a:gd name="connsiteY390" fmla="*/ 621728 h 1479935"/>
              <a:gd name="connsiteX391" fmla="*/ 1455106 w 1485658"/>
              <a:gd name="connsiteY391" fmla="*/ 652165 h 1479935"/>
              <a:gd name="connsiteX392" fmla="*/ 1485658 w 1485658"/>
              <a:gd name="connsiteY392" fmla="*/ 621728 h 1479935"/>
              <a:gd name="connsiteX393" fmla="*/ 1455106 w 1485658"/>
              <a:gd name="connsiteY393" fmla="*/ 591291 h 1479935"/>
              <a:gd name="connsiteX394" fmla="*/ 1424553 w 1485658"/>
              <a:gd name="connsiteY394" fmla="*/ 621728 h 1479935"/>
              <a:gd name="connsiteX395" fmla="*/ 118784 w 1485658"/>
              <a:gd name="connsiteY395" fmla="*/ 680800 h 1479935"/>
              <a:gd name="connsiteX396" fmla="*/ 149337 w 1485658"/>
              <a:gd name="connsiteY396" fmla="*/ 711237 h 1479935"/>
              <a:gd name="connsiteX397" fmla="*/ 179889 w 1485658"/>
              <a:gd name="connsiteY397" fmla="*/ 680800 h 1479935"/>
              <a:gd name="connsiteX398" fmla="*/ 149337 w 1485658"/>
              <a:gd name="connsiteY398" fmla="*/ 650364 h 1479935"/>
              <a:gd name="connsiteX399" fmla="*/ 118784 w 1485658"/>
              <a:gd name="connsiteY399" fmla="*/ 680800 h 1479935"/>
              <a:gd name="connsiteX400" fmla="*/ 178081 w 1485658"/>
              <a:gd name="connsiteY400" fmla="*/ 680800 h 1479935"/>
              <a:gd name="connsiteX401" fmla="*/ 208634 w 1485658"/>
              <a:gd name="connsiteY401" fmla="*/ 711237 h 1479935"/>
              <a:gd name="connsiteX402" fmla="*/ 239186 w 1485658"/>
              <a:gd name="connsiteY402" fmla="*/ 680800 h 1479935"/>
              <a:gd name="connsiteX403" fmla="*/ 208634 w 1485658"/>
              <a:gd name="connsiteY403" fmla="*/ 650364 h 1479935"/>
              <a:gd name="connsiteX404" fmla="*/ 178081 w 1485658"/>
              <a:gd name="connsiteY404" fmla="*/ 680800 h 1479935"/>
              <a:gd name="connsiteX405" fmla="*/ 237473 w 1485658"/>
              <a:gd name="connsiteY405" fmla="*/ 680800 h 1479935"/>
              <a:gd name="connsiteX406" fmla="*/ 268026 w 1485658"/>
              <a:gd name="connsiteY406" fmla="*/ 711237 h 1479935"/>
              <a:gd name="connsiteX407" fmla="*/ 298578 w 1485658"/>
              <a:gd name="connsiteY407" fmla="*/ 680800 h 1479935"/>
              <a:gd name="connsiteX408" fmla="*/ 268026 w 1485658"/>
              <a:gd name="connsiteY408" fmla="*/ 650364 h 1479935"/>
              <a:gd name="connsiteX409" fmla="*/ 237473 w 1485658"/>
              <a:gd name="connsiteY409" fmla="*/ 680800 h 1479935"/>
              <a:gd name="connsiteX410" fmla="*/ 296865 w 1485658"/>
              <a:gd name="connsiteY410" fmla="*/ 680800 h 1479935"/>
              <a:gd name="connsiteX411" fmla="*/ 327418 w 1485658"/>
              <a:gd name="connsiteY411" fmla="*/ 711237 h 1479935"/>
              <a:gd name="connsiteX412" fmla="*/ 357970 w 1485658"/>
              <a:gd name="connsiteY412" fmla="*/ 680800 h 1479935"/>
              <a:gd name="connsiteX413" fmla="*/ 327418 w 1485658"/>
              <a:gd name="connsiteY413" fmla="*/ 650364 h 1479935"/>
              <a:gd name="connsiteX414" fmla="*/ 296865 w 1485658"/>
              <a:gd name="connsiteY414" fmla="*/ 680800 h 1479935"/>
              <a:gd name="connsiteX415" fmla="*/ 474851 w 1485658"/>
              <a:gd name="connsiteY415" fmla="*/ 680800 h 1479935"/>
              <a:gd name="connsiteX416" fmla="*/ 505404 w 1485658"/>
              <a:gd name="connsiteY416" fmla="*/ 711237 h 1479935"/>
              <a:gd name="connsiteX417" fmla="*/ 535956 w 1485658"/>
              <a:gd name="connsiteY417" fmla="*/ 680800 h 1479935"/>
              <a:gd name="connsiteX418" fmla="*/ 505404 w 1485658"/>
              <a:gd name="connsiteY418" fmla="*/ 650364 h 1479935"/>
              <a:gd name="connsiteX419" fmla="*/ 474851 w 1485658"/>
              <a:gd name="connsiteY419" fmla="*/ 680800 h 1479935"/>
              <a:gd name="connsiteX420" fmla="*/ 593635 w 1485658"/>
              <a:gd name="connsiteY420" fmla="*/ 680800 h 1479935"/>
              <a:gd name="connsiteX421" fmla="*/ 624188 w 1485658"/>
              <a:gd name="connsiteY421" fmla="*/ 711237 h 1479935"/>
              <a:gd name="connsiteX422" fmla="*/ 654740 w 1485658"/>
              <a:gd name="connsiteY422" fmla="*/ 680800 h 1479935"/>
              <a:gd name="connsiteX423" fmla="*/ 624188 w 1485658"/>
              <a:gd name="connsiteY423" fmla="*/ 650364 h 1479935"/>
              <a:gd name="connsiteX424" fmla="*/ 593635 w 1485658"/>
              <a:gd name="connsiteY424" fmla="*/ 680800 h 1479935"/>
              <a:gd name="connsiteX425" fmla="*/ 652932 w 1485658"/>
              <a:gd name="connsiteY425" fmla="*/ 680800 h 1479935"/>
              <a:gd name="connsiteX426" fmla="*/ 683485 w 1485658"/>
              <a:gd name="connsiteY426" fmla="*/ 711237 h 1479935"/>
              <a:gd name="connsiteX427" fmla="*/ 714037 w 1485658"/>
              <a:gd name="connsiteY427" fmla="*/ 680800 h 1479935"/>
              <a:gd name="connsiteX428" fmla="*/ 683485 w 1485658"/>
              <a:gd name="connsiteY428" fmla="*/ 650364 h 1479935"/>
              <a:gd name="connsiteX429" fmla="*/ 652932 w 1485658"/>
              <a:gd name="connsiteY429" fmla="*/ 680800 h 1479935"/>
              <a:gd name="connsiteX430" fmla="*/ 712324 w 1485658"/>
              <a:gd name="connsiteY430" fmla="*/ 680800 h 1479935"/>
              <a:gd name="connsiteX431" fmla="*/ 742877 w 1485658"/>
              <a:gd name="connsiteY431" fmla="*/ 711237 h 1479935"/>
              <a:gd name="connsiteX432" fmla="*/ 773429 w 1485658"/>
              <a:gd name="connsiteY432" fmla="*/ 680800 h 1479935"/>
              <a:gd name="connsiteX433" fmla="*/ 742877 w 1485658"/>
              <a:gd name="connsiteY433" fmla="*/ 650364 h 1479935"/>
              <a:gd name="connsiteX434" fmla="*/ 712324 w 1485658"/>
              <a:gd name="connsiteY434" fmla="*/ 680800 h 1479935"/>
              <a:gd name="connsiteX435" fmla="*/ 831013 w 1485658"/>
              <a:gd name="connsiteY435" fmla="*/ 680800 h 1479935"/>
              <a:gd name="connsiteX436" fmla="*/ 861566 w 1485658"/>
              <a:gd name="connsiteY436" fmla="*/ 711237 h 1479935"/>
              <a:gd name="connsiteX437" fmla="*/ 892118 w 1485658"/>
              <a:gd name="connsiteY437" fmla="*/ 680800 h 1479935"/>
              <a:gd name="connsiteX438" fmla="*/ 861566 w 1485658"/>
              <a:gd name="connsiteY438" fmla="*/ 650364 h 1479935"/>
              <a:gd name="connsiteX439" fmla="*/ 831013 w 1485658"/>
              <a:gd name="connsiteY439" fmla="*/ 680800 h 1479935"/>
              <a:gd name="connsiteX440" fmla="*/ 949702 w 1485658"/>
              <a:gd name="connsiteY440" fmla="*/ 680800 h 1479935"/>
              <a:gd name="connsiteX441" fmla="*/ 980255 w 1485658"/>
              <a:gd name="connsiteY441" fmla="*/ 711237 h 1479935"/>
              <a:gd name="connsiteX442" fmla="*/ 1010807 w 1485658"/>
              <a:gd name="connsiteY442" fmla="*/ 680800 h 1479935"/>
              <a:gd name="connsiteX443" fmla="*/ 980255 w 1485658"/>
              <a:gd name="connsiteY443" fmla="*/ 650364 h 1479935"/>
              <a:gd name="connsiteX444" fmla="*/ 949702 w 1485658"/>
              <a:gd name="connsiteY444" fmla="*/ 680800 h 1479935"/>
              <a:gd name="connsiteX445" fmla="*/ 1068391 w 1485658"/>
              <a:gd name="connsiteY445" fmla="*/ 680800 h 1479935"/>
              <a:gd name="connsiteX446" fmla="*/ 1098944 w 1485658"/>
              <a:gd name="connsiteY446" fmla="*/ 711237 h 1479935"/>
              <a:gd name="connsiteX447" fmla="*/ 1129496 w 1485658"/>
              <a:gd name="connsiteY447" fmla="*/ 680800 h 1479935"/>
              <a:gd name="connsiteX448" fmla="*/ 1098944 w 1485658"/>
              <a:gd name="connsiteY448" fmla="*/ 650364 h 1479935"/>
              <a:gd name="connsiteX449" fmla="*/ 1068391 w 1485658"/>
              <a:gd name="connsiteY449" fmla="*/ 680800 h 1479935"/>
              <a:gd name="connsiteX450" fmla="*/ 1424553 w 1485658"/>
              <a:gd name="connsiteY450" fmla="*/ 680800 h 1479935"/>
              <a:gd name="connsiteX451" fmla="*/ 1455106 w 1485658"/>
              <a:gd name="connsiteY451" fmla="*/ 711237 h 1479935"/>
              <a:gd name="connsiteX452" fmla="*/ 1485658 w 1485658"/>
              <a:gd name="connsiteY452" fmla="*/ 680800 h 1479935"/>
              <a:gd name="connsiteX453" fmla="*/ 1455106 w 1485658"/>
              <a:gd name="connsiteY453" fmla="*/ 650364 h 1479935"/>
              <a:gd name="connsiteX454" fmla="*/ 1424553 w 1485658"/>
              <a:gd name="connsiteY454" fmla="*/ 680800 h 1479935"/>
              <a:gd name="connsiteX455" fmla="*/ 59392 w 1485658"/>
              <a:gd name="connsiteY455" fmla="*/ 739968 h 1479935"/>
              <a:gd name="connsiteX456" fmla="*/ 89945 w 1485658"/>
              <a:gd name="connsiteY456" fmla="*/ 770404 h 1479935"/>
              <a:gd name="connsiteX457" fmla="*/ 120497 w 1485658"/>
              <a:gd name="connsiteY457" fmla="*/ 739968 h 1479935"/>
              <a:gd name="connsiteX458" fmla="*/ 89945 w 1485658"/>
              <a:gd name="connsiteY458" fmla="*/ 709531 h 1479935"/>
              <a:gd name="connsiteX459" fmla="*/ 59392 w 1485658"/>
              <a:gd name="connsiteY459" fmla="*/ 739968 h 1479935"/>
              <a:gd name="connsiteX460" fmla="*/ 118784 w 1485658"/>
              <a:gd name="connsiteY460" fmla="*/ 739968 h 1479935"/>
              <a:gd name="connsiteX461" fmla="*/ 149337 w 1485658"/>
              <a:gd name="connsiteY461" fmla="*/ 770404 h 1479935"/>
              <a:gd name="connsiteX462" fmla="*/ 179889 w 1485658"/>
              <a:gd name="connsiteY462" fmla="*/ 739968 h 1479935"/>
              <a:gd name="connsiteX463" fmla="*/ 149337 w 1485658"/>
              <a:gd name="connsiteY463" fmla="*/ 709531 h 1479935"/>
              <a:gd name="connsiteX464" fmla="*/ 118784 w 1485658"/>
              <a:gd name="connsiteY464" fmla="*/ 739968 h 1479935"/>
              <a:gd name="connsiteX465" fmla="*/ 237473 w 1485658"/>
              <a:gd name="connsiteY465" fmla="*/ 739968 h 1479935"/>
              <a:gd name="connsiteX466" fmla="*/ 268026 w 1485658"/>
              <a:gd name="connsiteY466" fmla="*/ 770404 h 1479935"/>
              <a:gd name="connsiteX467" fmla="*/ 298578 w 1485658"/>
              <a:gd name="connsiteY467" fmla="*/ 739968 h 1479935"/>
              <a:gd name="connsiteX468" fmla="*/ 268026 w 1485658"/>
              <a:gd name="connsiteY468" fmla="*/ 709531 h 1479935"/>
              <a:gd name="connsiteX469" fmla="*/ 237473 w 1485658"/>
              <a:gd name="connsiteY469" fmla="*/ 739968 h 1479935"/>
              <a:gd name="connsiteX470" fmla="*/ 296865 w 1485658"/>
              <a:gd name="connsiteY470" fmla="*/ 739968 h 1479935"/>
              <a:gd name="connsiteX471" fmla="*/ 327418 w 1485658"/>
              <a:gd name="connsiteY471" fmla="*/ 770404 h 1479935"/>
              <a:gd name="connsiteX472" fmla="*/ 357970 w 1485658"/>
              <a:gd name="connsiteY472" fmla="*/ 739968 h 1479935"/>
              <a:gd name="connsiteX473" fmla="*/ 327418 w 1485658"/>
              <a:gd name="connsiteY473" fmla="*/ 709531 h 1479935"/>
              <a:gd name="connsiteX474" fmla="*/ 296865 w 1485658"/>
              <a:gd name="connsiteY474" fmla="*/ 739968 h 1479935"/>
              <a:gd name="connsiteX475" fmla="*/ 356162 w 1485658"/>
              <a:gd name="connsiteY475" fmla="*/ 739968 h 1479935"/>
              <a:gd name="connsiteX476" fmla="*/ 386715 w 1485658"/>
              <a:gd name="connsiteY476" fmla="*/ 770404 h 1479935"/>
              <a:gd name="connsiteX477" fmla="*/ 417267 w 1485658"/>
              <a:gd name="connsiteY477" fmla="*/ 739968 h 1479935"/>
              <a:gd name="connsiteX478" fmla="*/ 386715 w 1485658"/>
              <a:gd name="connsiteY478" fmla="*/ 709531 h 1479935"/>
              <a:gd name="connsiteX479" fmla="*/ 356162 w 1485658"/>
              <a:gd name="connsiteY479" fmla="*/ 739968 h 1479935"/>
              <a:gd name="connsiteX480" fmla="*/ 415554 w 1485658"/>
              <a:gd name="connsiteY480" fmla="*/ 739968 h 1479935"/>
              <a:gd name="connsiteX481" fmla="*/ 446107 w 1485658"/>
              <a:gd name="connsiteY481" fmla="*/ 770404 h 1479935"/>
              <a:gd name="connsiteX482" fmla="*/ 476659 w 1485658"/>
              <a:gd name="connsiteY482" fmla="*/ 739968 h 1479935"/>
              <a:gd name="connsiteX483" fmla="*/ 446107 w 1485658"/>
              <a:gd name="connsiteY483" fmla="*/ 709531 h 1479935"/>
              <a:gd name="connsiteX484" fmla="*/ 415554 w 1485658"/>
              <a:gd name="connsiteY484" fmla="*/ 739968 h 1479935"/>
              <a:gd name="connsiteX485" fmla="*/ 474851 w 1485658"/>
              <a:gd name="connsiteY485" fmla="*/ 739968 h 1479935"/>
              <a:gd name="connsiteX486" fmla="*/ 505404 w 1485658"/>
              <a:gd name="connsiteY486" fmla="*/ 770404 h 1479935"/>
              <a:gd name="connsiteX487" fmla="*/ 535956 w 1485658"/>
              <a:gd name="connsiteY487" fmla="*/ 739968 h 1479935"/>
              <a:gd name="connsiteX488" fmla="*/ 505404 w 1485658"/>
              <a:gd name="connsiteY488" fmla="*/ 709531 h 1479935"/>
              <a:gd name="connsiteX489" fmla="*/ 474851 w 1485658"/>
              <a:gd name="connsiteY489" fmla="*/ 739968 h 1479935"/>
              <a:gd name="connsiteX490" fmla="*/ 534243 w 1485658"/>
              <a:gd name="connsiteY490" fmla="*/ 739968 h 1479935"/>
              <a:gd name="connsiteX491" fmla="*/ 564796 w 1485658"/>
              <a:gd name="connsiteY491" fmla="*/ 770404 h 1479935"/>
              <a:gd name="connsiteX492" fmla="*/ 595348 w 1485658"/>
              <a:gd name="connsiteY492" fmla="*/ 739968 h 1479935"/>
              <a:gd name="connsiteX493" fmla="*/ 564796 w 1485658"/>
              <a:gd name="connsiteY493" fmla="*/ 709531 h 1479935"/>
              <a:gd name="connsiteX494" fmla="*/ 534243 w 1485658"/>
              <a:gd name="connsiteY494" fmla="*/ 739968 h 1479935"/>
              <a:gd name="connsiteX495" fmla="*/ 652932 w 1485658"/>
              <a:gd name="connsiteY495" fmla="*/ 739968 h 1479935"/>
              <a:gd name="connsiteX496" fmla="*/ 683485 w 1485658"/>
              <a:gd name="connsiteY496" fmla="*/ 770404 h 1479935"/>
              <a:gd name="connsiteX497" fmla="*/ 714037 w 1485658"/>
              <a:gd name="connsiteY497" fmla="*/ 739968 h 1479935"/>
              <a:gd name="connsiteX498" fmla="*/ 683485 w 1485658"/>
              <a:gd name="connsiteY498" fmla="*/ 709531 h 1479935"/>
              <a:gd name="connsiteX499" fmla="*/ 652932 w 1485658"/>
              <a:gd name="connsiteY499" fmla="*/ 739968 h 1479935"/>
              <a:gd name="connsiteX500" fmla="*/ 890310 w 1485658"/>
              <a:gd name="connsiteY500" fmla="*/ 739968 h 1479935"/>
              <a:gd name="connsiteX501" fmla="*/ 920863 w 1485658"/>
              <a:gd name="connsiteY501" fmla="*/ 770404 h 1479935"/>
              <a:gd name="connsiteX502" fmla="*/ 951415 w 1485658"/>
              <a:gd name="connsiteY502" fmla="*/ 739968 h 1479935"/>
              <a:gd name="connsiteX503" fmla="*/ 920863 w 1485658"/>
              <a:gd name="connsiteY503" fmla="*/ 709531 h 1479935"/>
              <a:gd name="connsiteX504" fmla="*/ 890310 w 1485658"/>
              <a:gd name="connsiteY504" fmla="*/ 739968 h 1479935"/>
              <a:gd name="connsiteX505" fmla="*/ 1009094 w 1485658"/>
              <a:gd name="connsiteY505" fmla="*/ 739968 h 1479935"/>
              <a:gd name="connsiteX506" fmla="*/ 1039647 w 1485658"/>
              <a:gd name="connsiteY506" fmla="*/ 770404 h 1479935"/>
              <a:gd name="connsiteX507" fmla="*/ 1070199 w 1485658"/>
              <a:gd name="connsiteY507" fmla="*/ 739968 h 1479935"/>
              <a:gd name="connsiteX508" fmla="*/ 1039647 w 1485658"/>
              <a:gd name="connsiteY508" fmla="*/ 709531 h 1479935"/>
              <a:gd name="connsiteX509" fmla="*/ 1009094 w 1485658"/>
              <a:gd name="connsiteY509" fmla="*/ 739968 h 1479935"/>
              <a:gd name="connsiteX510" fmla="*/ 1068391 w 1485658"/>
              <a:gd name="connsiteY510" fmla="*/ 739968 h 1479935"/>
              <a:gd name="connsiteX511" fmla="*/ 1098944 w 1485658"/>
              <a:gd name="connsiteY511" fmla="*/ 770404 h 1479935"/>
              <a:gd name="connsiteX512" fmla="*/ 1129496 w 1485658"/>
              <a:gd name="connsiteY512" fmla="*/ 739968 h 1479935"/>
              <a:gd name="connsiteX513" fmla="*/ 1098944 w 1485658"/>
              <a:gd name="connsiteY513" fmla="*/ 709531 h 1479935"/>
              <a:gd name="connsiteX514" fmla="*/ 1068391 w 1485658"/>
              <a:gd name="connsiteY514" fmla="*/ 739968 h 1479935"/>
              <a:gd name="connsiteX515" fmla="*/ 1127783 w 1485658"/>
              <a:gd name="connsiteY515" fmla="*/ 739968 h 1479935"/>
              <a:gd name="connsiteX516" fmla="*/ 1158336 w 1485658"/>
              <a:gd name="connsiteY516" fmla="*/ 770404 h 1479935"/>
              <a:gd name="connsiteX517" fmla="*/ 1188888 w 1485658"/>
              <a:gd name="connsiteY517" fmla="*/ 739968 h 1479935"/>
              <a:gd name="connsiteX518" fmla="*/ 1158336 w 1485658"/>
              <a:gd name="connsiteY518" fmla="*/ 709531 h 1479935"/>
              <a:gd name="connsiteX519" fmla="*/ 1127783 w 1485658"/>
              <a:gd name="connsiteY519" fmla="*/ 739968 h 1479935"/>
              <a:gd name="connsiteX520" fmla="*/ 1187080 w 1485658"/>
              <a:gd name="connsiteY520" fmla="*/ 739968 h 1479935"/>
              <a:gd name="connsiteX521" fmla="*/ 1217633 w 1485658"/>
              <a:gd name="connsiteY521" fmla="*/ 770404 h 1479935"/>
              <a:gd name="connsiteX522" fmla="*/ 1248185 w 1485658"/>
              <a:gd name="connsiteY522" fmla="*/ 739968 h 1479935"/>
              <a:gd name="connsiteX523" fmla="*/ 1217633 w 1485658"/>
              <a:gd name="connsiteY523" fmla="*/ 709531 h 1479935"/>
              <a:gd name="connsiteX524" fmla="*/ 1187080 w 1485658"/>
              <a:gd name="connsiteY524" fmla="*/ 739968 h 1479935"/>
              <a:gd name="connsiteX525" fmla="*/ 1305769 w 1485658"/>
              <a:gd name="connsiteY525" fmla="*/ 739968 h 1479935"/>
              <a:gd name="connsiteX526" fmla="*/ 1336322 w 1485658"/>
              <a:gd name="connsiteY526" fmla="*/ 770404 h 1479935"/>
              <a:gd name="connsiteX527" fmla="*/ 1366874 w 1485658"/>
              <a:gd name="connsiteY527" fmla="*/ 739968 h 1479935"/>
              <a:gd name="connsiteX528" fmla="*/ 1336322 w 1485658"/>
              <a:gd name="connsiteY528" fmla="*/ 709531 h 1479935"/>
              <a:gd name="connsiteX529" fmla="*/ 1305769 w 1485658"/>
              <a:gd name="connsiteY529" fmla="*/ 739968 h 1479935"/>
              <a:gd name="connsiteX530" fmla="*/ 1365161 w 1485658"/>
              <a:gd name="connsiteY530" fmla="*/ 739968 h 1479935"/>
              <a:gd name="connsiteX531" fmla="*/ 1395714 w 1485658"/>
              <a:gd name="connsiteY531" fmla="*/ 770404 h 1479935"/>
              <a:gd name="connsiteX532" fmla="*/ 1426266 w 1485658"/>
              <a:gd name="connsiteY532" fmla="*/ 739968 h 1479935"/>
              <a:gd name="connsiteX533" fmla="*/ 1395714 w 1485658"/>
              <a:gd name="connsiteY533" fmla="*/ 709531 h 1479935"/>
              <a:gd name="connsiteX534" fmla="*/ 1365161 w 1485658"/>
              <a:gd name="connsiteY534" fmla="*/ 739968 h 1479935"/>
              <a:gd name="connsiteX535" fmla="*/ 1424553 w 1485658"/>
              <a:gd name="connsiteY535" fmla="*/ 739968 h 1479935"/>
              <a:gd name="connsiteX536" fmla="*/ 1455106 w 1485658"/>
              <a:gd name="connsiteY536" fmla="*/ 770404 h 1479935"/>
              <a:gd name="connsiteX537" fmla="*/ 1485658 w 1485658"/>
              <a:gd name="connsiteY537" fmla="*/ 739968 h 1479935"/>
              <a:gd name="connsiteX538" fmla="*/ 1455106 w 1485658"/>
              <a:gd name="connsiteY538" fmla="*/ 709531 h 1479935"/>
              <a:gd name="connsiteX539" fmla="*/ 1424553 w 1485658"/>
              <a:gd name="connsiteY539" fmla="*/ 739968 h 1479935"/>
              <a:gd name="connsiteX540" fmla="*/ 95 w 1485658"/>
              <a:gd name="connsiteY540" fmla="*/ 799040 h 1479935"/>
              <a:gd name="connsiteX541" fmla="*/ 30648 w 1485658"/>
              <a:gd name="connsiteY541" fmla="*/ 829477 h 1479935"/>
              <a:gd name="connsiteX542" fmla="*/ 61200 w 1485658"/>
              <a:gd name="connsiteY542" fmla="*/ 799040 h 1479935"/>
              <a:gd name="connsiteX543" fmla="*/ 30648 w 1485658"/>
              <a:gd name="connsiteY543" fmla="*/ 768603 h 1479935"/>
              <a:gd name="connsiteX544" fmla="*/ 95 w 1485658"/>
              <a:gd name="connsiteY544" fmla="*/ 799040 h 1479935"/>
              <a:gd name="connsiteX545" fmla="*/ 118784 w 1485658"/>
              <a:gd name="connsiteY545" fmla="*/ 799040 h 1479935"/>
              <a:gd name="connsiteX546" fmla="*/ 149337 w 1485658"/>
              <a:gd name="connsiteY546" fmla="*/ 829477 h 1479935"/>
              <a:gd name="connsiteX547" fmla="*/ 179889 w 1485658"/>
              <a:gd name="connsiteY547" fmla="*/ 799040 h 1479935"/>
              <a:gd name="connsiteX548" fmla="*/ 149337 w 1485658"/>
              <a:gd name="connsiteY548" fmla="*/ 768603 h 1479935"/>
              <a:gd name="connsiteX549" fmla="*/ 118784 w 1485658"/>
              <a:gd name="connsiteY549" fmla="*/ 799040 h 1479935"/>
              <a:gd name="connsiteX550" fmla="*/ 178081 w 1485658"/>
              <a:gd name="connsiteY550" fmla="*/ 799040 h 1479935"/>
              <a:gd name="connsiteX551" fmla="*/ 208634 w 1485658"/>
              <a:gd name="connsiteY551" fmla="*/ 829477 h 1479935"/>
              <a:gd name="connsiteX552" fmla="*/ 239186 w 1485658"/>
              <a:gd name="connsiteY552" fmla="*/ 799040 h 1479935"/>
              <a:gd name="connsiteX553" fmla="*/ 208634 w 1485658"/>
              <a:gd name="connsiteY553" fmla="*/ 768603 h 1479935"/>
              <a:gd name="connsiteX554" fmla="*/ 178081 w 1485658"/>
              <a:gd name="connsiteY554" fmla="*/ 799040 h 1479935"/>
              <a:gd name="connsiteX555" fmla="*/ 237473 w 1485658"/>
              <a:gd name="connsiteY555" fmla="*/ 799040 h 1479935"/>
              <a:gd name="connsiteX556" fmla="*/ 268026 w 1485658"/>
              <a:gd name="connsiteY556" fmla="*/ 829477 h 1479935"/>
              <a:gd name="connsiteX557" fmla="*/ 298578 w 1485658"/>
              <a:gd name="connsiteY557" fmla="*/ 799040 h 1479935"/>
              <a:gd name="connsiteX558" fmla="*/ 268026 w 1485658"/>
              <a:gd name="connsiteY558" fmla="*/ 768603 h 1479935"/>
              <a:gd name="connsiteX559" fmla="*/ 237473 w 1485658"/>
              <a:gd name="connsiteY559" fmla="*/ 799040 h 1479935"/>
              <a:gd name="connsiteX560" fmla="*/ 415554 w 1485658"/>
              <a:gd name="connsiteY560" fmla="*/ 799040 h 1479935"/>
              <a:gd name="connsiteX561" fmla="*/ 446107 w 1485658"/>
              <a:gd name="connsiteY561" fmla="*/ 829477 h 1479935"/>
              <a:gd name="connsiteX562" fmla="*/ 476659 w 1485658"/>
              <a:gd name="connsiteY562" fmla="*/ 799040 h 1479935"/>
              <a:gd name="connsiteX563" fmla="*/ 446107 w 1485658"/>
              <a:gd name="connsiteY563" fmla="*/ 768603 h 1479935"/>
              <a:gd name="connsiteX564" fmla="*/ 415554 w 1485658"/>
              <a:gd name="connsiteY564" fmla="*/ 799040 h 1479935"/>
              <a:gd name="connsiteX565" fmla="*/ 474851 w 1485658"/>
              <a:gd name="connsiteY565" fmla="*/ 799040 h 1479935"/>
              <a:gd name="connsiteX566" fmla="*/ 505404 w 1485658"/>
              <a:gd name="connsiteY566" fmla="*/ 829477 h 1479935"/>
              <a:gd name="connsiteX567" fmla="*/ 535956 w 1485658"/>
              <a:gd name="connsiteY567" fmla="*/ 799040 h 1479935"/>
              <a:gd name="connsiteX568" fmla="*/ 505404 w 1485658"/>
              <a:gd name="connsiteY568" fmla="*/ 768603 h 1479935"/>
              <a:gd name="connsiteX569" fmla="*/ 474851 w 1485658"/>
              <a:gd name="connsiteY569" fmla="*/ 799040 h 1479935"/>
              <a:gd name="connsiteX570" fmla="*/ 534243 w 1485658"/>
              <a:gd name="connsiteY570" fmla="*/ 799040 h 1479935"/>
              <a:gd name="connsiteX571" fmla="*/ 564796 w 1485658"/>
              <a:gd name="connsiteY571" fmla="*/ 829477 h 1479935"/>
              <a:gd name="connsiteX572" fmla="*/ 595348 w 1485658"/>
              <a:gd name="connsiteY572" fmla="*/ 799040 h 1479935"/>
              <a:gd name="connsiteX573" fmla="*/ 564796 w 1485658"/>
              <a:gd name="connsiteY573" fmla="*/ 768603 h 1479935"/>
              <a:gd name="connsiteX574" fmla="*/ 534243 w 1485658"/>
              <a:gd name="connsiteY574" fmla="*/ 799040 h 1479935"/>
              <a:gd name="connsiteX575" fmla="*/ 593635 w 1485658"/>
              <a:gd name="connsiteY575" fmla="*/ 799040 h 1479935"/>
              <a:gd name="connsiteX576" fmla="*/ 624188 w 1485658"/>
              <a:gd name="connsiteY576" fmla="*/ 829477 h 1479935"/>
              <a:gd name="connsiteX577" fmla="*/ 654740 w 1485658"/>
              <a:gd name="connsiteY577" fmla="*/ 799040 h 1479935"/>
              <a:gd name="connsiteX578" fmla="*/ 624188 w 1485658"/>
              <a:gd name="connsiteY578" fmla="*/ 768603 h 1479935"/>
              <a:gd name="connsiteX579" fmla="*/ 593635 w 1485658"/>
              <a:gd name="connsiteY579" fmla="*/ 799040 h 1479935"/>
              <a:gd name="connsiteX580" fmla="*/ 712324 w 1485658"/>
              <a:gd name="connsiteY580" fmla="*/ 799040 h 1479935"/>
              <a:gd name="connsiteX581" fmla="*/ 742877 w 1485658"/>
              <a:gd name="connsiteY581" fmla="*/ 829477 h 1479935"/>
              <a:gd name="connsiteX582" fmla="*/ 773429 w 1485658"/>
              <a:gd name="connsiteY582" fmla="*/ 799040 h 1479935"/>
              <a:gd name="connsiteX583" fmla="*/ 742877 w 1485658"/>
              <a:gd name="connsiteY583" fmla="*/ 768603 h 1479935"/>
              <a:gd name="connsiteX584" fmla="*/ 712324 w 1485658"/>
              <a:gd name="connsiteY584" fmla="*/ 799040 h 1479935"/>
              <a:gd name="connsiteX585" fmla="*/ 771621 w 1485658"/>
              <a:gd name="connsiteY585" fmla="*/ 799040 h 1479935"/>
              <a:gd name="connsiteX586" fmla="*/ 802174 w 1485658"/>
              <a:gd name="connsiteY586" fmla="*/ 829477 h 1479935"/>
              <a:gd name="connsiteX587" fmla="*/ 832726 w 1485658"/>
              <a:gd name="connsiteY587" fmla="*/ 799040 h 1479935"/>
              <a:gd name="connsiteX588" fmla="*/ 802174 w 1485658"/>
              <a:gd name="connsiteY588" fmla="*/ 768603 h 1479935"/>
              <a:gd name="connsiteX589" fmla="*/ 771621 w 1485658"/>
              <a:gd name="connsiteY589" fmla="*/ 799040 h 1479935"/>
              <a:gd name="connsiteX590" fmla="*/ 949702 w 1485658"/>
              <a:gd name="connsiteY590" fmla="*/ 799040 h 1479935"/>
              <a:gd name="connsiteX591" fmla="*/ 980255 w 1485658"/>
              <a:gd name="connsiteY591" fmla="*/ 829477 h 1479935"/>
              <a:gd name="connsiteX592" fmla="*/ 1010807 w 1485658"/>
              <a:gd name="connsiteY592" fmla="*/ 799040 h 1479935"/>
              <a:gd name="connsiteX593" fmla="*/ 980255 w 1485658"/>
              <a:gd name="connsiteY593" fmla="*/ 768603 h 1479935"/>
              <a:gd name="connsiteX594" fmla="*/ 949702 w 1485658"/>
              <a:gd name="connsiteY594" fmla="*/ 799040 h 1479935"/>
              <a:gd name="connsiteX595" fmla="*/ 1009094 w 1485658"/>
              <a:gd name="connsiteY595" fmla="*/ 799040 h 1479935"/>
              <a:gd name="connsiteX596" fmla="*/ 1039647 w 1485658"/>
              <a:gd name="connsiteY596" fmla="*/ 829477 h 1479935"/>
              <a:gd name="connsiteX597" fmla="*/ 1070199 w 1485658"/>
              <a:gd name="connsiteY597" fmla="*/ 799040 h 1479935"/>
              <a:gd name="connsiteX598" fmla="*/ 1039647 w 1485658"/>
              <a:gd name="connsiteY598" fmla="*/ 768603 h 1479935"/>
              <a:gd name="connsiteX599" fmla="*/ 1009094 w 1485658"/>
              <a:gd name="connsiteY599" fmla="*/ 799040 h 1479935"/>
              <a:gd name="connsiteX600" fmla="*/ 1127783 w 1485658"/>
              <a:gd name="connsiteY600" fmla="*/ 799040 h 1479935"/>
              <a:gd name="connsiteX601" fmla="*/ 1158336 w 1485658"/>
              <a:gd name="connsiteY601" fmla="*/ 829477 h 1479935"/>
              <a:gd name="connsiteX602" fmla="*/ 1188888 w 1485658"/>
              <a:gd name="connsiteY602" fmla="*/ 799040 h 1479935"/>
              <a:gd name="connsiteX603" fmla="*/ 1158336 w 1485658"/>
              <a:gd name="connsiteY603" fmla="*/ 768603 h 1479935"/>
              <a:gd name="connsiteX604" fmla="*/ 1127783 w 1485658"/>
              <a:gd name="connsiteY604" fmla="*/ 799040 h 1479935"/>
              <a:gd name="connsiteX605" fmla="*/ 1246472 w 1485658"/>
              <a:gd name="connsiteY605" fmla="*/ 799040 h 1479935"/>
              <a:gd name="connsiteX606" fmla="*/ 1277025 w 1485658"/>
              <a:gd name="connsiteY606" fmla="*/ 829477 h 1479935"/>
              <a:gd name="connsiteX607" fmla="*/ 1307577 w 1485658"/>
              <a:gd name="connsiteY607" fmla="*/ 799040 h 1479935"/>
              <a:gd name="connsiteX608" fmla="*/ 1277025 w 1485658"/>
              <a:gd name="connsiteY608" fmla="*/ 768603 h 1479935"/>
              <a:gd name="connsiteX609" fmla="*/ 1246472 w 1485658"/>
              <a:gd name="connsiteY609" fmla="*/ 799040 h 1479935"/>
              <a:gd name="connsiteX610" fmla="*/ 1365161 w 1485658"/>
              <a:gd name="connsiteY610" fmla="*/ 799040 h 1479935"/>
              <a:gd name="connsiteX611" fmla="*/ 1395714 w 1485658"/>
              <a:gd name="connsiteY611" fmla="*/ 829477 h 1479935"/>
              <a:gd name="connsiteX612" fmla="*/ 1426266 w 1485658"/>
              <a:gd name="connsiteY612" fmla="*/ 799040 h 1479935"/>
              <a:gd name="connsiteX613" fmla="*/ 1395714 w 1485658"/>
              <a:gd name="connsiteY613" fmla="*/ 768603 h 1479935"/>
              <a:gd name="connsiteX614" fmla="*/ 1365161 w 1485658"/>
              <a:gd name="connsiteY614" fmla="*/ 799040 h 1479935"/>
              <a:gd name="connsiteX615" fmla="*/ 95 w 1485658"/>
              <a:gd name="connsiteY615" fmla="*/ 858207 h 1479935"/>
              <a:gd name="connsiteX616" fmla="*/ 30648 w 1485658"/>
              <a:gd name="connsiteY616" fmla="*/ 888644 h 1479935"/>
              <a:gd name="connsiteX617" fmla="*/ 61200 w 1485658"/>
              <a:gd name="connsiteY617" fmla="*/ 858207 h 1479935"/>
              <a:gd name="connsiteX618" fmla="*/ 30648 w 1485658"/>
              <a:gd name="connsiteY618" fmla="*/ 827770 h 1479935"/>
              <a:gd name="connsiteX619" fmla="*/ 95 w 1485658"/>
              <a:gd name="connsiteY619" fmla="*/ 858207 h 1479935"/>
              <a:gd name="connsiteX620" fmla="*/ 118784 w 1485658"/>
              <a:gd name="connsiteY620" fmla="*/ 858207 h 1479935"/>
              <a:gd name="connsiteX621" fmla="*/ 149337 w 1485658"/>
              <a:gd name="connsiteY621" fmla="*/ 888644 h 1479935"/>
              <a:gd name="connsiteX622" fmla="*/ 179889 w 1485658"/>
              <a:gd name="connsiteY622" fmla="*/ 858207 h 1479935"/>
              <a:gd name="connsiteX623" fmla="*/ 149337 w 1485658"/>
              <a:gd name="connsiteY623" fmla="*/ 827770 h 1479935"/>
              <a:gd name="connsiteX624" fmla="*/ 118784 w 1485658"/>
              <a:gd name="connsiteY624" fmla="*/ 858207 h 1479935"/>
              <a:gd name="connsiteX625" fmla="*/ 178081 w 1485658"/>
              <a:gd name="connsiteY625" fmla="*/ 858207 h 1479935"/>
              <a:gd name="connsiteX626" fmla="*/ 208634 w 1485658"/>
              <a:gd name="connsiteY626" fmla="*/ 888644 h 1479935"/>
              <a:gd name="connsiteX627" fmla="*/ 239186 w 1485658"/>
              <a:gd name="connsiteY627" fmla="*/ 858207 h 1479935"/>
              <a:gd name="connsiteX628" fmla="*/ 208634 w 1485658"/>
              <a:gd name="connsiteY628" fmla="*/ 827770 h 1479935"/>
              <a:gd name="connsiteX629" fmla="*/ 178081 w 1485658"/>
              <a:gd name="connsiteY629" fmla="*/ 858207 h 1479935"/>
              <a:gd name="connsiteX630" fmla="*/ 356162 w 1485658"/>
              <a:gd name="connsiteY630" fmla="*/ 858207 h 1479935"/>
              <a:gd name="connsiteX631" fmla="*/ 386715 w 1485658"/>
              <a:gd name="connsiteY631" fmla="*/ 888644 h 1479935"/>
              <a:gd name="connsiteX632" fmla="*/ 417267 w 1485658"/>
              <a:gd name="connsiteY632" fmla="*/ 858207 h 1479935"/>
              <a:gd name="connsiteX633" fmla="*/ 386715 w 1485658"/>
              <a:gd name="connsiteY633" fmla="*/ 827770 h 1479935"/>
              <a:gd name="connsiteX634" fmla="*/ 356162 w 1485658"/>
              <a:gd name="connsiteY634" fmla="*/ 858207 h 1479935"/>
              <a:gd name="connsiteX635" fmla="*/ 474851 w 1485658"/>
              <a:gd name="connsiteY635" fmla="*/ 858207 h 1479935"/>
              <a:gd name="connsiteX636" fmla="*/ 505404 w 1485658"/>
              <a:gd name="connsiteY636" fmla="*/ 888644 h 1479935"/>
              <a:gd name="connsiteX637" fmla="*/ 535956 w 1485658"/>
              <a:gd name="connsiteY637" fmla="*/ 858207 h 1479935"/>
              <a:gd name="connsiteX638" fmla="*/ 505404 w 1485658"/>
              <a:gd name="connsiteY638" fmla="*/ 827770 h 1479935"/>
              <a:gd name="connsiteX639" fmla="*/ 474851 w 1485658"/>
              <a:gd name="connsiteY639" fmla="*/ 858207 h 1479935"/>
              <a:gd name="connsiteX640" fmla="*/ 771621 w 1485658"/>
              <a:gd name="connsiteY640" fmla="*/ 858207 h 1479935"/>
              <a:gd name="connsiteX641" fmla="*/ 802174 w 1485658"/>
              <a:gd name="connsiteY641" fmla="*/ 888644 h 1479935"/>
              <a:gd name="connsiteX642" fmla="*/ 832726 w 1485658"/>
              <a:gd name="connsiteY642" fmla="*/ 858207 h 1479935"/>
              <a:gd name="connsiteX643" fmla="*/ 802174 w 1485658"/>
              <a:gd name="connsiteY643" fmla="*/ 827770 h 1479935"/>
              <a:gd name="connsiteX644" fmla="*/ 771621 w 1485658"/>
              <a:gd name="connsiteY644" fmla="*/ 858207 h 1479935"/>
              <a:gd name="connsiteX645" fmla="*/ 831013 w 1485658"/>
              <a:gd name="connsiteY645" fmla="*/ 858207 h 1479935"/>
              <a:gd name="connsiteX646" fmla="*/ 861566 w 1485658"/>
              <a:gd name="connsiteY646" fmla="*/ 888644 h 1479935"/>
              <a:gd name="connsiteX647" fmla="*/ 892118 w 1485658"/>
              <a:gd name="connsiteY647" fmla="*/ 858207 h 1479935"/>
              <a:gd name="connsiteX648" fmla="*/ 861566 w 1485658"/>
              <a:gd name="connsiteY648" fmla="*/ 827770 h 1479935"/>
              <a:gd name="connsiteX649" fmla="*/ 831013 w 1485658"/>
              <a:gd name="connsiteY649" fmla="*/ 858207 h 1479935"/>
              <a:gd name="connsiteX650" fmla="*/ 890310 w 1485658"/>
              <a:gd name="connsiteY650" fmla="*/ 858207 h 1479935"/>
              <a:gd name="connsiteX651" fmla="*/ 920863 w 1485658"/>
              <a:gd name="connsiteY651" fmla="*/ 888644 h 1479935"/>
              <a:gd name="connsiteX652" fmla="*/ 951415 w 1485658"/>
              <a:gd name="connsiteY652" fmla="*/ 858207 h 1479935"/>
              <a:gd name="connsiteX653" fmla="*/ 920863 w 1485658"/>
              <a:gd name="connsiteY653" fmla="*/ 827770 h 1479935"/>
              <a:gd name="connsiteX654" fmla="*/ 890310 w 1485658"/>
              <a:gd name="connsiteY654" fmla="*/ 858207 h 1479935"/>
              <a:gd name="connsiteX655" fmla="*/ 949702 w 1485658"/>
              <a:gd name="connsiteY655" fmla="*/ 858207 h 1479935"/>
              <a:gd name="connsiteX656" fmla="*/ 980255 w 1485658"/>
              <a:gd name="connsiteY656" fmla="*/ 888644 h 1479935"/>
              <a:gd name="connsiteX657" fmla="*/ 1010807 w 1485658"/>
              <a:gd name="connsiteY657" fmla="*/ 858207 h 1479935"/>
              <a:gd name="connsiteX658" fmla="*/ 980255 w 1485658"/>
              <a:gd name="connsiteY658" fmla="*/ 827770 h 1479935"/>
              <a:gd name="connsiteX659" fmla="*/ 949702 w 1485658"/>
              <a:gd name="connsiteY659" fmla="*/ 858207 h 1479935"/>
              <a:gd name="connsiteX660" fmla="*/ 1068391 w 1485658"/>
              <a:gd name="connsiteY660" fmla="*/ 858207 h 1479935"/>
              <a:gd name="connsiteX661" fmla="*/ 1098944 w 1485658"/>
              <a:gd name="connsiteY661" fmla="*/ 888644 h 1479935"/>
              <a:gd name="connsiteX662" fmla="*/ 1129496 w 1485658"/>
              <a:gd name="connsiteY662" fmla="*/ 858207 h 1479935"/>
              <a:gd name="connsiteX663" fmla="*/ 1098944 w 1485658"/>
              <a:gd name="connsiteY663" fmla="*/ 827770 h 1479935"/>
              <a:gd name="connsiteX664" fmla="*/ 1068391 w 1485658"/>
              <a:gd name="connsiteY664" fmla="*/ 858207 h 1479935"/>
              <a:gd name="connsiteX665" fmla="*/ 1127783 w 1485658"/>
              <a:gd name="connsiteY665" fmla="*/ 858207 h 1479935"/>
              <a:gd name="connsiteX666" fmla="*/ 1158336 w 1485658"/>
              <a:gd name="connsiteY666" fmla="*/ 888644 h 1479935"/>
              <a:gd name="connsiteX667" fmla="*/ 1188888 w 1485658"/>
              <a:gd name="connsiteY667" fmla="*/ 858207 h 1479935"/>
              <a:gd name="connsiteX668" fmla="*/ 1158336 w 1485658"/>
              <a:gd name="connsiteY668" fmla="*/ 827770 h 1479935"/>
              <a:gd name="connsiteX669" fmla="*/ 1127783 w 1485658"/>
              <a:gd name="connsiteY669" fmla="*/ 858207 h 1479935"/>
              <a:gd name="connsiteX670" fmla="*/ 1187080 w 1485658"/>
              <a:gd name="connsiteY670" fmla="*/ 858207 h 1479935"/>
              <a:gd name="connsiteX671" fmla="*/ 1217633 w 1485658"/>
              <a:gd name="connsiteY671" fmla="*/ 888644 h 1479935"/>
              <a:gd name="connsiteX672" fmla="*/ 1248185 w 1485658"/>
              <a:gd name="connsiteY672" fmla="*/ 858207 h 1479935"/>
              <a:gd name="connsiteX673" fmla="*/ 1217633 w 1485658"/>
              <a:gd name="connsiteY673" fmla="*/ 827770 h 1479935"/>
              <a:gd name="connsiteX674" fmla="*/ 1187080 w 1485658"/>
              <a:gd name="connsiteY674" fmla="*/ 858207 h 1479935"/>
              <a:gd name="connsiteX675" fmla="*/ 1246472 w 1485658"/>
              <a:gd name="connsiteY675" fmla="*/ 858207 h 1479935"/>
              <a:gd name="connsiteX676" fmla="*/ 1277025 w 1485658"/>
              <a:gd name="connsiteY676" fmla="*/ 888644 h 1479935"/>
              <a:gd name="connsiteX677" fmla="*/ 1307577 w 1485658"/>
              <a:gd name="connsiteY677" fmla="*/ 858207 h 1479935"/>
              <a:gd name="connsiteX678" fmla="*/ 1277025 w 1485658"/>
              <a:gd name="connsiteY678" fmla="*/ 827770 h 1479935"/>
              <a:gd name="connsiteX679" fmla="*/ 1246472 w 1485658"/>
              <a:gd name="connsiteY679" fmla="*/ 858207 h 1479935"/>
              <a:gd name="connsiteX680" fmla="*/ 1365161 w 1485658"/>
              <a:gd name="connsiteY680" fmla="*/ 858207 h 1479935"/>
              <a:gd name="connsiteX681" fmla="*/ 1395714 w 1485658"/>
              <a:gd name="connsiteY681" fmla="*/ 888644 h 1479935"/>
              <a:gd name="connsiteX682" fmla="*/ 1426266 w 1485658"/>
              <a:gd name="connsiteY682" fmla="*/ 858207 h 1479935"/>
              <a:gd name="connsiteX683" fmla="*/ 1395714 w 1485658"/>
              <a:gd name="connsiteY683" fmla="*/ 827770 h 1479935"/>
              <a:gd name="connsiteX684" fmla="*/ 1365161 w 1485658"/>
              <a:gd name="connsiteY684" fmla="*/ 858207 h 1479935"/>
              <a:gd name="connsiteX685" fmla="*/ 1424553 w 1485658"/>
              <a:gd name="connsiteY685" fmla="*/ 858207 h 1479935"/>
              <a:gd name="connsiteX686" fmla="*/ 1455106 w 1485658"/>
              <a:gd name="connsiteY686" fmla="*/ 888644 h 1479935"/>
              <a:gd name="connsiteX687" fmla="*/ 1485658 w 1485658"/>
              <a:gd name="connsiteY687" fmla="*/ 858207 h 1479935"/>
              <a:gd name="connsiteX688" fmla="*/ 1455106 w 1485658"/>
              <a:gd name="connsiteY688" fmla="*/ 827770 h 1479935"/>
              <a:gd name="connsiteX689" fmla="*/ 1424553 w 1485658"/>
              <a:gd name="connsiteY689" fmla="*/ 858207 h 1479935"/>
              <a:gd name="connsiteX690" fmla="*/ 95 w 1485658"/>
              <a:gd name="connsiteY690" fmla="*/ 917374 h 1479935"/>
              <a:gd name="connsiteX691" fmla="*/ 30648 w 1485658"/>
              <a:gd name="connsiteY691" fmla="*/ 947811 h 1479935"/>
              <a:gd name="connsiteX692" fmla="*/ 61200 w 1485658"/>
              <a:gd name="connsiteY692" fmla="*/ 917374 h 1479935"/>
              <a:gd name="connsiteX693" fmla="*/ 30648 w 1485658"/>
              <a:gd name="connsiteY693" fmla="*/ 886937 h 1479935"/>
              <a:gd name="connsiteX694" fmla="*/ 95 w 1485658"/>
              <a:gd name="connsiteY694" fmla="*/ 917374 h 1479935"/>
              <a:gd name="connsiteX695" fmla="*/ 593635 w 1485658"/>
              <a:gd name="connsiteY695" fmla="*/ 917374 h 1479935"/>
              <a:gd name="connsiteX696" fmla="*/ 624188 w 1485658"/>
              <a:gd name="connsiteY696" fmla="*/ 947811 h 1479935"/>
              <a:gd name="connsiteX697" fmla="*/ 654740 w 1485658"/>
              <a:gd name="connsiteY697" fmla="*/ 917374 h 1479935"/>
              <a:gd name="connsiteX698" fmla="*/ 624188 w 1485658"/>
              <a:gd name="connsiteY698" fmla="*/ 886937 h 1479935"/>
              <a:gd name="connsiteX699" fmla="*/ 593635 w 1485658"/>
              <a:gd name="connsiteY699" fmla="*/ 917374 h 1479935"/>
              <a:gd name="connsiteX700" fmla="*/ 712324 w 1485658"/>
              <a:gd name="connsiteY700" fmla="*/ 917374 h 1479935"/>
              <a:gd name="connsiteX701" fmla="*/ 742877 w 1485658"/>
              <a:gd name="connsiteY701" fmla="*/ 947811 h 1479935"/>
              <a:gd name="connsiteX702" fmla="*/ 773429 w 1485658"/>
              <a:gd name="connsiteY702" fmla="*/ 917374 h 1479935"/>
              <a:gd name="connsiteX703" fmla="*/ 742877 w 1485658"/>
              <a:gd name="connsiteY703" fmla="*/ 886937 h 1479935"/>
              <a:gd name="connsiteX704" fmla="*/ 712324 w 1485658"/>
              <a:gd name="connsiteY704" fmla="*/ 917374 h 1479935"/>
              <a:gd name="connsiteX705" fmla="*/ 771621 w 1485658"/>
              <a:gd name="connsiteY705" fmla="*/ 917374 h 1479935"/>
              <a:gd name="connsiteX706" fmla="*/ 802174 w 1485658"/>
              <a:gd name="connsiteY706" fmla="*/ 947811 h 1479935"/>
              <a:gd name="connsiteX707" fmla="*/ 832726 w 1485658"/>
              <a:gd name="connsiteY707" fmla="*/ 917374 h 1479935"/>
              <a:gd name="connsiteX708" fmla="*/ 802174 w 1485658"/>
              <a:gd name="connsiteY708" fmla="*/ 886937 h 1479935"/>
              <a:gd name="connsiteX709" fmla="*/ 771621 w 1485658"/>
              <a:gd name="connsiteY709" fmla="*/ 917374 h 1479935"/>
              <a:gd name="connsiteX710" fmla="*/ 890310 w 1485658"/>
              <a:gd name="connsiteY710" fmla="*/ 917374 h 1479935"/>
              <a:gd name="connsiteX711" fmla="*/ 920863 w 1485658"/>
              <a:gd name="connsiteY711" fmla="*/ 947811 h 1479935"/>
              <a:gd name="connsiteX712" fmla="*/ 951415 w 1485658"/>
              <a:gd name="connsiteY712" fmla="*/ 917374 h 1479935"/>
              <a:gd name="connsiteX713" fmla="*/ 920863 w 1485658"/>
              <a:gd name="connsiteY713" fmla="*/ 886937 h 1479935"/>
              <a:gd name="connsiteX714" fmla="*/ 890310 w 1485658"/>
              <a:gd name="connsiteY714" fmla="*/ 917374 h 1479935"/>
              <a:gd name="connsiteX715" fmla="*/ 949702 w 1485658"/>
              <a:gd name="connsiteY715" fmla="*/ 917374 h 1479935"/>
              <a:gd name="connsiteX716" fmla="*/ 980255 w 1485658"/>
              <a:gd name="connsiteY716" fmla="*/ 947811 h 1479935"/>
              <a:gd name="connsiteX717" fmla="*/ 1010807 w 1485658"/>
              <a:gd name="connsiteY717" fmla="*/ 917374 h 1479935"/>
              <a:gd name="connsiteX718" fmla="*/ 980255 w 1485658"/>
              <a:gd name="connsiteY718" fmla="*/ 886937 h 1479935"/>
              <a:gd name="connsiteX719" fmla="*/ 949702 w 1485658"/>
              <a:gd name="connsiteY719" fmla="*/ 917374 h 1479935"/>
              <a:gd name="connsiteX720" fmla="*/ 1127783 w 1485658"/>
              <a:gd name="connsiteY720" fmla="*/ 917374 h 1479935"/>
              <a:gd name="connsiteX721" fmla="*/ 1158336 w 1485658"/>
              <a:gd name="connsiteY721" fmla="*/ 947811 h 1479935"/>
              <a:gd name="connsiteX722" fmla="*/ 1188888 w 1485658"/>
              <a:gd name="connsiteY722" fmla="*/ 917374 h 1479935"/>
              <a:gd name="connsiteX723" fmla="*/ 1158336 w 1485658"/>
              <a:gd name="connsiteY723" fmla="*/ 886937 h 1479935"/>
              <a:gd name="connsiteX724" fmla="*/ 1127783 w 1485658"/>
              <a:gd name="connsiteY724" fmla="*/ 917374 h 1479935"/>
              <a:gd name="connsiteX725" fmla="*/ 1187080 w 1485658"/>
              <a:gd name="connsiteY725" fmla="*/ 917374 h 1479935"/>
              <a:gd name="connsiteX726" fmla="*/ 1217633 w 1485658"/>
              <a:gd name="connsiteY726" fmla="*/ 947811 h 1479935"/>
              <a:gd name="connsiteX727" fmla="*/ 1248185 w 1485658"/>
              <a:gd name="connsiteY727" fmla="*/ 917374 h 1479935"/>
              <a:gd name="connsiteX728" fmla="*/ 1217633 w 1485658"/>
              <a:gd name="connsiteY728" fmla="*/ 886937 h 1479935"/>
              <a:gd name="connsiteX729" fmla="*/ 1187080 w 1485658"/>
              <a:gd name="connsiteY729" fmla="*/ 917374 h 1479935"/>
              <a:gd name="connsiteX730" fmla="*/ 1424553 w 1485658"/>
              <a:gd name="connsiteY730" fmla="*/ 917374 h 1479935"/>
              <a:gd name="connsiteX731" fmla="*/ 1455106 w 1485658"/>
              <a:gd name="connsiteY731" fmla="*/ 947811 h 1479935"/>
              <a:gd name="connsiteX732" fmla="*/ 1485658 w 1485658"/>
              <a:gd name="connsiteY732" fmla="*/ 917374 h 1479935"/>
              <a:gd name="connsiteX733" fmla="*/ 1455106 w 1485658"/>
              <a:gd name="connsiteY733" fmla="*/ 886937 h 1479935"/>
              <a:gd name="connsiteX734" fmla="*/ 1424553 w 1485658"/>
              <a:gd name="connsiteY734" fmla="*/ 917374 h 1479935"/>
              <a:gd name="connsiteX735" fmla="*/ 95 w 1485658"/>
              <a:gd name="connsiteY735" fmla="*/ 976446 h 1479935"/>
              <a:gd name="connsiteX736" fmla="*/ 30648 w 1485658"/>
              <a:gd name="connsiteY736" fmla="*/ 1006883 h 1479935"/>
              <a:gd name="connsiteX737" fmla="*/ 61200 w 1485658"/>
              <a:gd name="connsiteY737" fmla="*/ 976446 h 1479935"/>
              <a:gd name="connsiteX738" fmla="*/ 30648 w 1485658"/>
              <a:gd name="connsiteY738" fmla="*/ 946009 h 1479935"/>
              <a:gd name="connsiteX739" fmla="*/ 95 w 1485658"/>
              <a:gd name="connsiteY739" fmla="*/ 976446 h 1479935"/>
              <a:gd name="connsiteX740" fmla="*/ 178081 w 1485658"/>
              <a:gd name="connsiteY740" fmla="*/ 976446 h 1479935"/>
              <a:gd name="connsiteX741" fmla="*/ 208634 w 1485658"/>
              <a:gd name="connsiteY741" fmla="*/ 1006883 h 1479935"/>
              <a:gd name="connsiteX742" fmla="*/ 239186 w 1485658"/>
              <a:gd name="connsiteY742" fmla="*/ 976446 h 1479935"/>
              <a:gd name="connsiteX743" fmla="*/ 208634 w 1485658"/>
              <a:gd name="connsiteY743" fmla="*/ 946009 h 1479935"/>
              <a:gd name="connsiteX744" fmla="*/ 178081 w 1485658"/>
              <a:gd name="connsiteY744" fmla="*/ 976446 h 1479935"/>
              <a:gd name="connsiteX745" fmla="*/ 356162 w 1485658"/>
              <a:gd name="connsiteY745" fmla="*/ 976446 h 1479935"/>
              <a:gd name="connsiteX746" fmla="*/ 386715 w 1485658"/>
              <a:gd name="connsiteY746" fmla="*/ 1006883 h 1479935"/>
              <a:gd name="connsiteX747" fmla="*/ 417267 w 1485658"/>
              <a:gd name="connsiteY747" fmla="*/ 976446 h 1479935"/>
              <a:gd name="connsiteX748" fmla="*/ 386715 w 1485658"/>
              <a:gd name="connsiteY748" fmla="*/ 946009 h 1479935"/>
              <a:gd name="connsiteX749" fmla="*/ 356162 w 1485658"/>
              <a:gd name="connsiteY749" fmla="*/ 976446 h 1479935"/>
              <a:gd name="connsiteX750" fmla="*/ 415554 w 1485658"/>
              <a:gd name="connsiteY750" fmla="*/ 976446 h 1479935"/>
              <a:gd name="connsiteX751" fmla="*/ 446107 w 1485658"/>
              <a:gd name="connsiteY751" fmla="*/ 1006883 h 1479935"/>
              <a:gd name="connsiteX752" fmla="*/ 476659 w 1485658"/>
              <a:gd name="connsiteY752" fmla="*/ 976446 h 1479935"/>
              <a:gd name="connsiteX753" fmla="*/ 446107 w 1485658"/>
              <a:gd name="connsiteY753" fmla="*/ 946009 h 1479935"/>
              <a:gd name="connsiteX754" fmla="*/ 415554 w 1485658"/>
              <a:gd name="connsiteY754" fmla="*/ 976446 h 1479935"/>
              <a:gd name="connsiteX755" fmla="*/ 534243 w 1485658"/>
              <a:gd name="connsiteY755" fmla="*/ 976446 h 1479935"/>
              <a:gd name="connsiteX756" fmla="*/ 564796 w 1485658"/>
              <a:gd name="connsiteY756" fmla="*/ 1006883 h 1479935"/>
              <a:gd name="connsiteX757" fmla="*/ 595348 w 1485658"/>
              <a:gd name="connsiteY757" fmla="*/ 976446 h 1479935"/>
              <a:gd name="connsiteX758" fmla="*/ 564796 w 1485658"/>
              <a:gd name="connsiteY758" fmla="*/ 946009 h 1479935"/>
              <a:gd name="connsiteX759" fmla="*/ 534243 w 1485658"/>
              <a:gd name="connsiteY759" fmla="*/ 976446 h 1479935"/>
              <a:gd name="connsiteX760" fmla="*/ 593635 w 1485658"/>
              <a:gd name="connsiteY760" fmla="*/ 976446 h 1479935"/>
              <a:gd name="connsiteX761" fmla="*/ 624188 w 1485658"/>
              <a:gd name="connsiteY761" fmla="*/ 1006883 h 1479935"/>
              <a:gd name="connsiteX762" fmla="*/ 654740 w 1485658"/>
              <a:gd name="connsiteY762" fmla="*/ 976446 h 1479935"/>
              <a:gd name="connsiteX763" fmla="*/ 624188 w 1485658"/>
              <a:gd name="connsiteY763" fmla="*/ 946009 h 1479935"/>
              <a:gd name="connsiteX764" fmla="*/ 593635 w 1485658"/>
              <a:gd name="connsiteY764" fmla="*/ 976446 h 1479935"/>
              <a:gd name="connsiteX765" fmla="*/ 712324 w 1485658"/>
              <a:gd name="connsiteY765" fmla="*/ 976446 h 1479935"/>
              <a:gd name="connsiteX766" fmla="*/ 742877 w 1485658"/>
              <a:gd name="connsiteY766" fmla="*/ 1006883 h 1479935"/>
              <a:gd name="connsiteX767" fmla="*/ 773429 w 1485658"/>
              <a:gd name="connsiteY767" fmla="*/ 976446 h 1479935"/>
              <a:gd name="connsiteX768" fmla="*/ 742877 w 1485658"/>
              <a:gd name="connsiteY768" fmla="*/ 946009 h 1479935"/>
              <a:gd name="connsiteX769" fmla="*/ 712324 w 1485658"/>
              <a:gd name="connsiteY769" fmla="*/ 976446 h 1479935"/>
              <a:gd name="connsiteX770" fmla="*/ 831013 w 1485658"/>
              <a:gd name="connsiteY770" fmla="*/ 976446 h 1479935"/>
              <a:gd name="connsiteX771" fmla="*/ 861566 w 1485658"/>
              <a:gd name="connsiteY771" fmla="*/ 1006883 h 1479935"/>
              <a:gd name="connsiteX772" fmla="*/ 892118 w 1485658"/>
              <a:gd name="connsiteY772" fmla="*/ 976446 h 1479935"/>
              <a:gd name="connsiteX773" fmla="*/ 861566 w 1485658"/>
              <a:gd name="connsiteY773" fmla="*/ 946009 h 1479935"/>
              <a:gd name="connsiteX774" fmla="*/ 831013 w 1485658"/>
              <a:gd name="connsiteY774" fmla="*/ 976446 h 1479935"/>
              <a:gd name="connsiteX775" fmla="*/ 890310 w 1485658"/>
              <a:gd name="connsiteY775" fmla="*/ 976446 h 1479935"/>
              <a:gd name="connsiteX776" fmla="*/ 920863 w 1485658"/>
              <a:gd name="connsiteY776" fmla="*/ 1006883 h 1479935"/>
              <a:gd name="connsiteX777" fmla="*/ 951415 w 1485658"/>
              <a:gd name="connsiteY777" fmla="*/ 976446 h 1479935"/>
              <a:gd name="connsiteX778" fmla="*/ 920863 w 1485658"/>
              <a:gd name="connsiteY778" fmla="*/ 946009 h 1479935"/>
              <a:gd name="connsiteX779" fmla="*/ 890310 w 1485658"/>
              <a:gd name="connsiteY779" fmla="*/ 976446 h 1479935"/>
              <a:gd name="connsiteX780" fmla="*/ 949702 w 1485658"/>
              <a:gd name="connsiteY780" fmla="*/ 976446 h 1479935"/>
              <a:gd name="connsiteX781" fmla="*/ 980255 w 1485658"/>
              <a:gd name="connsiteY781" fmla="*/ 1006883 h 1479935"/>
              <a:gd name="connsiteX782" fmla="*/ 1010807 w 1485658"/>
              <a:gd name="connsiteY782" fmla="*/ 976446 h 1479935"/>
              <a:gd name="connsiteX783" fmla="*/ 980255 w 1485658"/>
              <a:gd name="connsiteY783" fmla="*/ 946009 h 1479935"/>
              <a:gd name="connsiteX784" fmla="*/ 949702 w 1485658"/>
              <a:gd name="connsiteY784" fmla="*/ 976446 h 1479935"/>
              <a:gd name="connsiteX785" fmla="*/ 1009094 w 1485658"/>
              <a:gd name="connsiteY785" fmla="*/ 976446 h 1479935"/>
              <a:gd name="connsiteX786" fmla="*/ 1039647 w 1485658"/>
              <a:gd name="connsiteY786" fmla="*/ 1006883 h 1479935"/>
              <a:gd name="connsiteX787" fmla="*/ 1070199 w 1485658"/>
              <a:gd name="connsiteY787" fmla="*/ 976446 h 1479935"/>
              <a:gd name="connsiteX788" fmla="*/ 1039647 w 1485658"/>
              <a:gd name="connsiteY788" fmla="*/ 946009 h 1479935"/>
              <a:gd name="connsiteX789" fmla="*/ 1009094 w 1485658"/>
              <a:gd name="connsiteY789" fmla="*/ 976446 h 1479935"/>
              <a:gd name="connsiteX790" fmla="*/ 1068391 w 1485658"/>
              <a:gd name="connsiteY790" fmla="*/ 976446 h 1479935"/>
              <a:gd name="connsiteX791" fmla="*/ 1098944 w 1485658"/>
              <a:gd name="connsiteY791" fmla="*/ 1006883 h 1479935"/>
              <a:gd name="connsiteX792" fmla="*/ 1129496 w 1485658"/>
              <a:gd name="connsiteY792" fmla="*/ 976446 h 1479935"/>
              <a:gd name="connsiteX793" fmla="*/ 1098944 w 1485658"/>
              <a:gd name="connsiteY793" fmla="*/ 946009 h 1479935"/>
              <a:gd name="connsiteX794" fmla="*/ 1068391 w 1485658"/>
              <a:gd name="connsiteY794" fmla="*/ 976446 h 1479935"/>
              <a:gd name="connsiteX795" fmla="*/ 1127783 w 1485658"/>
              <a:gd name="connsiteY795" fmla="*/ 976446 h 1479935"/>
              <a:gd name="connsiteX796" fmla="*/ 1158336 w 1485658"/>
              <a:gd name="connsiteY796" fmla="*/ 1006883 h 1479935"/>
              <a:gd name="connsiteX797" fmla="*/ 1188888 w 1485658"/>
              <a:gd name="connsiteY797" fmla="*/ 976446 h 1479935"/>
              <a:gd name="connsiteX798" fmla="*/ 1158336 w 1485658"/>
              <a:gd name="connsiteY798" fmla="*/ 946009 h 1479935"/>
              <a:gd name="connsiteX799" fmla="*/ 1127783 w 1485658"/>
              <a:gd name="connsiteY799" fmla="*/ 976446 h 1479935"/>
              <a:gd name="connsiteX800" fmla="*/ 1187080 w 1485658"/>
              <a:gd name="connsiteY800" fmla="*/ 976446 h 1479935"/>
              <a:gd name="connsiteX801" fmla="*/ 1217633 w 1485658"/>
              <a:gd name="connsiteY801" fmla="*/ 1006883 h 1479935"/>
              <a:gd name="connsiteX802" fmla="*/ 1248185 w 1485658"/>
              <a:gd name="connsiteY802" fmla="*/ 976446 h 1479935"/>
              <a:gd name="connsiteX803" fmla="*/ 1217633 w 1485658"/>
              <a:gd name="connsiteY803" fmla="*/ 946009 h 1479935"/>
              <a:gd name="connsiteX804" fmla="*/ 1187080 w 1485658"/>
              <a:gd name="connsiteY804" fmla="*/ 976446 h 1479935"/>
              <a:gd name="connsiteX805" fmla="*/ 1305769 w 1485658"/>
              <a:gd name="connsiteY805" fmla="*/ 976446 h 1479935"/>
              <a:gd name="connsiteX806" fmla="*/ 1336322 w 1485658"/>
              <a:gd name="connsiteY806" fmla="*/ 1006883 h 1479935"/>
              <a:gd name="connsiteX807" fmla="*/ 1366874 w 1485658"/>
              <a:gd name="connsiteY807" fmla="*/ 976446 h 1479935"/>
              <a:gd name="connsiteX808" fmla="*/ 1336322 w 1485658"/>
              <a:gd name="connsiteY808" fmla="*/ 946009 h 1479935"/>
              <a:gd name="connsiteX809" fmla="*/ 1305769 w 1485658"/>
              <a:gd name="connsiteY809" fmla="*/ 976446 h 1479935"/>
              <a:gd name="connsiteX810" fmla="*/ 474851 w 1485658"/>
              <a:gd name="connsiteY810" fmla="*/ 1035613 h 1479935"/>
              <a:gd name="connsiteX811" fmla="*/ 505404 w 1485658"/>
              <a:gd name="connsiteY811" fmla="*/ 1066050 h 1479935"/>
              <a:gd name="connsiteX812" fmla="*/ 535956 w 1485658"/>
              <a:gd name="connsiteY812" fmla="*/ 1035613 h 1479935"/>
              <a:gd name="connsiteX813" fmla="*/ 505404 w 1485658"/>
              <a:gd name="connsiteY813" fmla="*/ 1005176 h 1479935"/>
              <a:gd name="connsiteX814" fmla="*/ 474851 w 1485658"/>
              <a:gd name="connsiteY814" fmla="*/ 1035613 h 1479935"/>
              <a:gd name="connsiteX815" fmla="*/ 534243 w 1485658"/>
              <a:gd name="connsiteY815" fmla="*/ 1035613 h 1479935"/>
              <a:gd name="connsiteX816" fmla="*/ 564796 w 1485658"/>
              <a:gd name="connsiteY816" fmla="*/ 1066050 h 1479935"/>
              <a:gd name="connsiteX817" fmla="*/ 595348 w 1485658"/>
              <a:gd name="connsiteY817" fmla="*/ 1035613 h 1479935"/>
              <a:gd name="connsiteX818" fmla="*/ 564796 w 1485658"/>
              <a:gd name="connsiteY818" fmla="*/ 1005176 h 1479935"/>
              <a:gd name="connsiteX819" fmla="*/ 534243 w 1485658"/>
              <a:gd name="connsiteY819" fmla="*/ 1035613 h 1479935"/>
              <a:gd name="connsiteX820" fmla="*/ 593635 w 1485658"/>
              <a:gd name="connsiteY820" fmla="*/ 1035613 h 1479935"/>
              <a:gd name="connsiteX821" fmla="*/ 624188 w 1485658"/>
              <a:gd name="connsiteY821" fmla="*/ 1066050 h 1479935"/>
              <a:gd name="connsiteX822" fmla="*/ 654740 w 1485658"/>
              <a:gd name="connsiteY822" fmla="*/ 1035613 h 1479935"/>
              <a:gd name="connsiteX823" fmla="*/ 624188 w 1485658"/>
              <a:gd name="connsiteY823" fmla="*/ 1005176 h 1479935"/>
              <a:gd name="connsiteX824" fmla="*/ 593635 w 1485658"/>
              <a:gd name="connsiteY824" fmla="*/ 1035613 h 1479935"/>
              <a:gd name="connsiteX825" fmla="*/ 890310 w 1485658"/>
              <a:gd name="connsiteY825" fmla="*/ 1035613 h 1479935"/>
              <a:gd name="connsiteX826" fmla="*/ 920863 w 1485658"/>
              <a:gd name="connsiteY826" fmla="*/ 1066050 h 1479935"/>
              <a:gd name="connsiteX827" fmla="*/ 951415 w 1485658"/>
              <a:gd name="connsiteY827" fmla="*/ 1035613 h 1479935"/>
              <a:gd name="connsiteX828" fmla="*/ 920863 w 1485658"/>
              <a:gd name="connsiteY828" fmla="*/ 1005176 h 1479935"/>
              <a:gd name="connsiteX829" fmla="*/ 890310 w 1485658"/>
              <a:gd name="connsiteY829" fmla="*/ 1035613 h 1479935"/>
              <a:gd name="connsiteX830" fmla="*/ 949702 w 1485658"/>
              <a:gd name="connsiteY830" fmla="*/ 1035613 h 1479935"/>
              <a:gd name="connsiteX831" fmla="*/ 980255 w 1485658"/>
              <a:gd name="connsiteY831" fmla="*/ 1066050 h 1479935"/>
              <a:gd name="connsiteX832" fmla="*/ 1010807 w 1485658"/>
              <a:gd name="connsiteY832" fmla="*/ 1035613 h 1479935"/>
              <a:gd name="connsiteX833" fmla="*/ 980255 w 1485658"/>
              <a:gd name="connsiteY833" fmla="*/ 1005176 h 1479935"/>
              <a:gd name="connsiteX834" fmla="*/ 949702 w 1485658"/>
              <a:gd name="connsiteY834" fmla="*/ 1035613 h 1479935"/>
              <a:gd name="connsiteX835" fmla="*/ 1187080 w 1485658"/>
              <a:gd name="connsiteY835" fmla="*/ 1035613 h 1479935"/>
              <a:gd name="connsiteX836" fmla="*/ 1217633 w 1485658"/>
              <a:gd name="connsiteY836" fmla="*/ 1066050 h 1479935"/>
              <a:gd name="connsiteX837" fmla="*/ 1248185 w 1485658"/>
              <a:gd name="connsiteY837" fmla="*/ 1035613 h 1479935"/>
              <a:gd name="connsiteX838" fmla="*/ 1217633 w 1485658"/>
              <a:gd name="connsiteY838" fmla="*/ 1005176 h 1479935"/>
              <a:gd name="connsiteX839" fmla="*/ 1187080 w 1485658"/>
              <a:gd name="connsiteY839" fmla="*/ 1035613 h 1479935"/>
              <a:gd name="connsiteX840" fmla="*/ 1246472 w 1485658"/>
              <a:gd name="connsiteY840" fmla="*/ 1035613 h 1479935"/>
              <a:gd name="connsiteX841" fmla="*/ 1277025 w 1485658"/>
              <a:gd name="connsiteY841" fmla="*/ 1066050 h 1479935"/>
              <a:gd name="connsiteX842" fmla="*/ 1307577 w 1485658"/>
              <a:gd name="connsiteY842" fmla="*/ 1035613 h 1479935"/>
              <a:gd name="connsiteX843" fmla="*/ 1277025 w 1485658"/>
              <a:gd name="connsiteY843" fmla="*/ 1005176 h 1479935"/>
              <a:gd name="connsiteX844" fmla="*/ 1246472 w 1485658"/>
              <a:gd name="connsiteY844" fmla="*/ 1035613 h 1479935"/>
              <a:gd name="connsiteX845" fmla="*/ 652932 w 1485658"/>
              <a:gd name="connsiteY845" fmla="*/ 1094685 h 1479935"/>
              <a:gd name="connsiteX846" fmla="*/ 683485 w 1485658"/>
              <a:gd name="connsiteY846" fmla="*/ 1125122 h 1479935"/>
              <a:gd name="connsiteX847" fmla="*/ 714037 w 1485658"/>
              <a:gd name="connsiteY847" fmla="*/ 1094685 h 1479935"/>
              <a:gd name="connsiteX848" fmla="*/ 683485 w 1485658"/>
              <a:gd name="connsiteY848" fmla="*/ 1064249 h 1479935"/>
              <a:gd name="connsiteX849" fmla="*/ 652932 w 1485658"/>
              <a:gd name="connsiteY849" fmla="*/ 1094685 h 1479935"/>
              <a:gd name="connsiteX850" fmla="*/ 712324 w 1485658"/>
              <a:gd name="connsiteY850" fmla="*/ 1094685 h 1479935"/>
              <a:gd name="connsiteX851" fmla="*/ 742877 w 1485658"/>
              <a:gd name="connsiteY851" fmla="*/ 1125122 h 1479935"/>
              <a:gd name="connsiteX852" fmla="*/ 773429 w 1485658"/>
              <a:gd name="connsiteY852" fmla="*/ 1094685 h 1479935"/>
              <a:gd name="connsiteX853" fmla="*/ 742877 w 1485658"/>
              <a:gd name="connsiteY853" fmla="*/ 1064249 h 1479935"/>
              <a:gd name="connsiteX854" fmla="*/ 712324 w 1485658"/>
              <a:gd name="connsiteY854" fmla="*/ 1094685 h 1479935"/>
              <a:gd name="connsiteX855" fmla="*/ 949702 w 1485658"/>
              <a:gd name="connsiteY855" fmla="*/ 1094685 h 1479935"/>
              <a:gd name="connsiteX856" fmla="*/ 980255 w 1485658"/>
              <a:gd name="connsiteY856" fmla="*/ 1125122 h 1479935"/>
              <a:gd name="connsiteX857" fmla="*/ 1010807 w 1485658"/>
              <a:gd name="connsiteY857" fmla="*/ 1094685 h 1479935"/>
              <a:gd name="connsiteX858" fmla="*/ 980255 w 1485658"/>
              <a:gd name="connsiteY858" fmla="*/ 1064249 h 1479935"/>
              <a:gd name="connsiteX859" fmla="*/ 949702 w 1485658"/>
              <a:gd name="connsiteY859" fmla="*/ 1094685 h 1479935"/>
              <a:gd name="connsiteX860" fmla="*/ 1068391 w 1485658"/>
              <a:gd name="connsiteY860" fmla="*/ 1094685 h 1479935"/>
              <a:gd name="connsiteX861" fmla="*/ 1098944 w 1485658"/>
              <a:gd name="connsiteY861" fmla="*/ 1125122 h 1479935"/>
              <a:gd name="connsiteX862" fmla="*/ 1129496 w 1485658"/>
              <a:gd name="connsiteY862" fmla="*/ 1094685 h 1479935"/>
              <a:gd name="connsiteX863" fmla="*/ 1098944 w 1485658"/>
              <a:gd name="connsiteY863" fmla="*/ 1064249 h 1479935"/>
              <a:gd name="connsiteX864" fmla="*/ 1068391 w 1485658"/>
              <a:gd name="connsiteY864" fmla="*/ 1094685 h 1479935"/>
              <a:gd name="connsiteX865" fmla="*/ 1187080 w 1485658"/>
              <a:gd name="connsiteY865" fmla="*/ 1094685 h 1479935"/>
              <a:gd name="connsiteX866" fmla="*/ 1217633 w 1485658"/>
              <a:gd name="connsiteY866" fmla="*/ 1125122 h 1479935"/>
              <a:gd name="connsiteX867" fmla="*/ 1248185 w 1485658"/>
              <a:gd name="connsiteY867" fmla="*/ 1094685 h 1479935"/>
              <a:gd name="connsiteX868" fmla="*/ 1217633 w 1485658"/>
              <a:gd name="connsiteY868" fmla="*/ 1064249 h 1479935"/>
              <a:gd name="connsiteX869" fmla="*/ 1187080 w 1485658"/>
              <a:gd name="connsiteY869" fmla="*/ 1094685 h 1479935"/>
              <a:gd name="connsiteX870" fmla="*/ 1305769 w 1485658"/>
              <a:gd name="connsiteY870" fmla="*/ 1094685 h 1479935"/>
              <a:gd name="connsiteX871" fmla="*/ 1336322 w 1485658"/>
              <a:gd name="connsiteY871" fmla="*/ 1125122 h 1479935"/>
              <a:gd name="connsiteX872" fmla="*/ 1366874 w 1485658"/>
              <a:gd name="connsiteY872" fmla="*/ 1094685 h 1479935"/>
              <a:gd name="connsiteX873" fmla="*/ 1336322 w 1485658"/>
              <a:gd name="connsiteY873" fmla="*/ 1064249 h 1479935"/>
              <a:gd name="connsiteX874" fmla="*/ 1305769 w 1485658"/>
              <a:gd name="connsiteY874" fmla="*/ 1094685 h 1479935"/>
              <a:gd name="connsiteX875" fmla="*/ 1365161 w 1485658"/>
              <a:gd name="connsiteY875" fmla="*/ 1094685 h 1479935"/>
              <a:gd name="connsiteX876" fmla="*/ 1395714 w 1485658"/>
              <a:gd name="connsiteY876" fmla="*/ 1125122 h 1479935"/>
              <a:gd name="connsiteX877" fmla="*/ 1426266 w 1485658"/>
              <a:gd name="connsiteY877" fmla="*/ 1094685 h 1479935"/>
              <a:gd name="connsiteX878" fmla="*/ 1395714 w 1485658"/>
              <a:gd name="connsiteY878" fmla="*/ 1064249 h 1479935"/>
              <a:gd name="connsiteX879" fmla="*/ 1365161 w 1485658"/>
              <a:gd name="connsiteY879" fmla="*/ 1094685 h 1479935"/>
              <a:gd name="connsiteX880" fmla="*/ 1424553 w 1485658"/>
              <a:gd name="connsiteY880" fmla="*/ 1094685 h 1479935"/>
              <a:gd name="connsiteX881" fmla="*/ 1455106 w 1485658"/>
              <a:gd name="connsiteY881" fmla="*/ 1125122 h 1479935"/>
              <a:gd name="connsiteX882" fmla="*/ 1485658 w 1485658"/>
              <a:gd name="connsiteY882" fmla="*/ 1094685 h 1479935"/>
              <a:gd name="connsiteX883" fmla="*/ 1455106 w 1485658"/>
              <a:gd name="connsiteY883" fmla="*/ 1064249 h 1479935"/>
              <a:gd name="connsiteX884" fmla="*/ 1424553 w 1485658"/>
              <a:gd name="connsiteY884" fmla="*/ 1094685 h 1479935"/>
              <a:gd name="connsiteX885" fmla="*/ 474851 w 1485658"/>
              <a:gd name="connsiteY885" fmla="*/ 1153853 h 1479935"/>
              <a:gd name="connsiteX886" fmla="*/ 505404 w 1485658"/>
              <a:gd name="connsiteY886" fmla="*/ 1184289 h 1479935"/>
              <a:gd name="connsiteX887" fmla="*/ 535956 w 1485658"/>
              <a:gd name="connsiteY887" fmla="*/ 1153853 h 1479935"/>
              <a:gd name="connsiteX888" fmla="*/ 505404 w 1485658"/>
              <a:gd name="connsiteY888" fmla="*/ 1123416 h 1479935"/>
              <a:gd name="connsiteX889" fmla="*/ 474851 w 1485658"/>
              <a:gd name="connsiteY889" fmla="*/ 1153853 h 1479935"/>
              <a:gd name="connsiteX890" fmla="*/ 593635 w 1485658"/>
              <a:gd name="connsiteY890" fmla="*/ 1153853 h 1479935"/>
              <a:gd name="connsiteX891" fmla="*/ 624188 w 1485658"/>
              <a:gd name="connsiteY891" fmla="*/ 1184289 h 1479935"/>
              <a:gd name="connsiteX892" fmla="*/ 654740 w 1485658"/>
              <a:gd name="connsiteY892" fmla="*/ 1153853 h 1479935"/>
              <a:gd name="connsiteX893" fmla="*/ 624188 w 1485658"/>
              <a:gd name="connsiteY893" fmla="*/ 1123416 h 1479935"/>
              <a:gd name="connsiteX894" fmla="*/ 593635 w 1485658"/>
              <a:gd name="connsiteY894" fmla="*/ 1153853 h 1479935"/>
              <a:gd name="connsiteX895" fmla="*/ 652932 w 1485658"/>
              <a:gd name="connsiteY895" fmla="*/ 1153853 h 1479935"/>
              <a:gd name="connsiteX896" fmla="*/ 683485 w 1485658"/>
              <a:gd name="connsiteY896" fmla="*/ 1184289 h 1479935"/>
              <a:gd name="connsiteX897" fmla="*/ 714037 w 1485658"/>
              <a:gd name="connsiteY897" fmla="*/ 1153853 h 1479935"/>
              <a:gd name="connsiteX898" fmla="*/ 683485 w 1485658"/>
              <a:gd name="connsiteY898" fmla="*/ 1123416 h 1479935"/>
              <a:gd name="connsiteX899" fmla="*/ 652932 w 1485658"/>
              <a:gd name="connsiteY899" fmla="*/ 1153853 h 1479935"/>
              <a:gd name="connsiteX900" fmla="*/ 831013 w 1485658"/>
              <a:gd name="connsiteY900" fmla="*/ 1153853 h 1479935"/>
              <a:gd name="connsiteX901" fmla="*/ 861566 w 1485658"/>
              <a:gd name="connsiteY901" fmla="*/ 1184289 h 1479935"/>
              <a:gd name="connsiteX902" fmla="*/ 892118 w 1485658"/>
              <a:gd name="connsiteY902" fmla="*/ 1153853 h 1479935"/>
              <a:gd name="connsiteX903" fmla="*/ 861566 w 1485658"/>
              <a:gd name="connsiteY903" fmla="*/ 1123416 h 1479935"/>
              <a:gd name="connsiteX904" fmla="*/ 831013 w 1485658"/>
              <a:gd name="connsiteY904" fmla="*/ 1153853 h 1479935"/>
              <a:gd name="connsiteX905" fmla="*/ 949702 w 1485658"/>
              <a:gd name="connsiteY905" fmla="*/ 1153853 h 1479935"/>
              <a:gd name="connsiteX906" fmla="*/ 980255 w 1485658"/>
              <a:gd name="connsiteY906" fmla="*/ 1184289 h 1479935"/>
              <a:gd name="connsiteX907" fmla="*/ 1010807 w 1485658"/>
              <a:gd name="connsiteY907" fmla="*/ 1153853 h 1479935"/>
              <a:gd name="connsiteX908" fmla="*/ 980255 w 1485658"/>
              <a:gd name="connsiteY908" fmla="*/ 1123416 h 1479935"/>
              <a:gd name="connsiteX909" fmla="*/ 949702 w 1485658"/>
              <a:gd name="connsiteY909" fmla="*/ 1153853 h 1479935"/>
              <a:gd name="connsiteX910" fmla="*/ 1187080 w 1485658"/>
              <a:gd name="connsiteY910" fmla="*/ 1153853 h 1479935"/>
              <a:gd name="connsiteX911" fmla="*/ 1217633 w 1485658"/>
              <a:gd name="connsiteY911" fmla="*/ 1184289 h 1479935"/>
              <a:gd name="connsiteX912" fmla="*/ 1248185 w 1485658"/>
              <a:gd name="connsiteY912" fmla="*/ 1153853 h 1479935"/>
              <a:gd name="connsiteX913" fmla="*/ 1217633 w 1485658"/>
              <a:gd name="connsiteY913" fmla="*/ 1123416 h 1479935"/>
              <a:gd name="connsiteX914" fmla="*/ 1187080 w 1485658"/>
              <a:gd name="connsiteY914" fmla="*/ 1153853 h 1479935"/>
              <a:gd name="connsiteX915" fmla="*/ 1246472 w 1485658"/>
              <a:gd name="connsiteY915" fmla="*/ 1153853 h 1479935"/>
              <a:gd name="connsiteX916" fmla="*/ 1277025 w 1485658"/>
              <a:gd name="connsiteY916" fmla="*/ 1184289 h 1479935"/>
              <a:gd name="connsiteX917" fmla="*/ 1307577 w 1485658"/>
              <a:gd name="connsiteY917" fmla="*/ 1153853 h 1479935"/>
              <a:gd name="connsiteX918" fmla="*/ 1277025 w 1485658"/>
              <a:gd name="connsiteY918" fmla="*/ 1123416 h 1479935"/>
              <a:gd name="connsiteX919" fmla="*/ 1246472 w 1485658"/>
              <a:gd name="connsiteY919" fmla="*/ 1153853 h 1479935"/>
              <a:gd name="connsiteX920" fmla="*/ 1424553 w 1485658"/>
              <a:gd name="connsiteY920" fmla="*/ 1153853 h 1479935"/>
              <a:gd name="connsiteX921" fmla="*/ 1455106 w 1485658"/>
              <a:gd name="connsiteY921" fmla="*/ 1184289 h 1479935"/>
              <a:gd name="connsiteX922" fmla="*/ 1485658 w 1485658"/>
              <a:gd name="connsiteY922" fmla="*/ 1153853 h 1479935"/>
              <a:gd name="connsiteX923" fmla="*/ 1455106 w 1485658"/>
              <a:gd name="connsiteY923" fmla="*/ 1123416 h 1479935"/>
              <a:gd name="connsiteX924" fmla="*/ 1424553 w 1485658"/>
              <a:gd name="connsiteY924" fmla="*/ 1153853 h 1479935"/>
              <a:gd name="connsiteX925" fmla="*/ 474851 w 1485658"/>
              <a:gd name="connsiteY925" fmla="*/ 1212925 h 1479935"/>
              <a:gd name="connsiteX926" fmla="*/ 505404 w 1485658"/>
              <a:gd name="connsiteY926" fmla="*/ 1243362 h 1479935"/>
              <a:gd name="connsiteX927" fmla="*/ 535956 w 1485658"/>
              <a:gd name="connsiteY927" fmla="*/ 1212925 h 1479935"/>
              <a:gd name="connsiteX928" fmla="*/ 505404 w 1485658"/>
              <a:gd name="connsiteY928" fmla="*/ 1182488 h 1479935"/>
              <a:gd name="connsiteX929" fmla="*/ 474851 w 1485658"/>
              <a:gd name="connsiteY929" fmla="*/ 1212925 h 1479935"/>
              <a:gd name="connsiteX930" fmla="*/ 534243 w 1485658"/>
              <a:gd name="connsiteY930" fmla="*/ 1212925 h 1479935"/>
              <a:gd name="connsiteX931" fmla="*/ 564796 w 1485658"/>
              <a:gd name="connsiteY931" fmla="*/ 1243362 h 1479935"/>
              <a:gd name="connsiteX932" fmla="*/ 595348 w 1485658"/>
              <a:gd name="connsiteY932" fmla="*/ 1212925 h 1479935"/>
              <a:gd name="connsiteX933" fmla="*/ 564796 w 1485658"/>
              <a:gd name="connsiteY933" fmla="*/ 1182488 h 1479935"/>
              <a:gd name="connsiteX934" fmla="*/ 534243 w 1485658"/>
              <a:gd name="connsiteY934" fmla="*/ 1212925 h 1479935"/>
              <a:gd name="connsiteX935" fmla="*/ 652932 w 1485658"/>
              <a:gd name="connsiteY935" fmla="*/ 1212925 h 1479935"/>
              <a:gd name="connsiteX936" fmla="*/ 683485 w 1485658"/>
              <a:gd name="connsiteY936" fmla="*/ 1243362 h 1479935"/>
              <a:gd name="connsiteX937" fmla="*/ 714037 w 1485658"/>
              <a:gd name="connsiteY937" fmla="*/ 1212925 h 1479935"/>
              <a:gd name="connsiteX938" fmla="*/ 683485 w 1485658"/>
              <a:gd name="connsiteY938" fmla="*/ 1182488 h 1479935"/>
              <a:gd name="connsiteX939" fmla="*/ 652932 w 1485658"/>
              <a:gd name="connsiteY939" fmla="*/ 1212925 h 1479935"/>
              <a:gd name="connsiteX940" fmla="*/ 890310 w 1485658"/>
              <a:gd name="connsiteY940" fmla="*/ 1212925 h 1479935"/>
              <a:gd name="connsiteX941" fmla="*/ 920863 w 1485658"/>
              <a:gd name="connsiteY941" fmla="*/ 1243362 h 1479935"/>
              <a:gd name="connsiteX942" fmla="*/ 951415 w 1485658"/>
              <a:gd name="connsiteY942" fmla="*/ 1212925 h 1479935"/>
              <a:gd name="connsiteX943" fmla="*/ 920863 w 1485658"/>
              <a:gd name="connsiteY943" fmla="*/ 1182488 h 1479935"/>
              <a:gd name="connsiteX944" fmla="*/ 890310 w 1485658"/>
              <a:gd name="connsiteY944" fmla="*/ 1212925 h 1479935"/>
              <a:gd name="connsiteX945" fmla="*/ 949702 w 1485658"/>
              <a:gd name="connsiteY945" fmla="*/ 1212925 h 1479935"/>
              <a:gd name="connsiteX946" fmla="*/ 980255 w 1485658"/>
              <a:gd name="connsiteY946" fmla="*/ 1243362 h 1479935"/>
              <a:gd name="connsiteX947" fmla="*/ 1010807 w 1485658"/>
              <a:gd name="connsiteY947" fmla="*/ 1212925 h 1479935"/>
              <a:gd name="connsiteX948" fmla="*/ 980255 w 1485658"/>
              <a:gd name="connsiteY948" fmla="*/ 1182488 h 1479935"/>
              <a:gd name="connsiteX949" fmla="*/ 949702 w 1485658"/>
              <a:gd name="connsiteY949" fmla="*/ 1212925 h 1479935"/>
              <a:gd name="connsiteX950" fmla="*/ 1009094 w 1485658"/>
              <a:gd name="connsiteY950" fmla="*/ 1212925 h 1479935"/>
              <a:gd name="connsiteX951" fmla="*/ 1039647 w 1485658"/>
              <a:gd name="connsiteY951" fmla="*/ 1243362 h 1479935"/>
              <a:gd name="connsiteX952" fmla="*/ 1070199 w 1485658"/>
              <a:gd name="connsiteY952" fmla="*/ 1212925 h 1479935"/>
              <a:gd name="connsiteX953" fmla="*/ 1039647 w 1485658"/>
              <a:gd name="connsiteY953" fmla="*/ 1182488 h 1479935"/>
              <a:gd name="connsiteX954" fmla="*/ 1009094 w 1485658"/>
              <a:gd name="connsiteY954" fmla="*/ 1212925 h 1479935"/>
              <a:gd name="connsiteX955" fmla="*/ 1068391 w 1485658"/>
              <a:gd name="connsiteY955" fmla="*/ 1212925 h 1479935"/>
              <a:gd name="connsiteX956" fmla="*/ 1098944 w 1485658"/>
              <a:gd name="connsiteY956" fmla="*/ 1243362 h 1479935"/>
              <a:gd name="connsiteX957" fmla="*/ 1129496 w 1485658"/>
              <a:gd name="connsiteY957" fmla="*/ 1212925 h 1479935"/>
              <a:gd name="connsiteX958" fmla="*/ 1098944 w 1485658"/>
              <a:gd name="connsiteY958" fmla="*/ 1182488 h 1479935"/>
              <a:gd name="connsiteX959" fmla="*/ 1068391 w 1485658"/>
              <a:gd name="connsiteY959" fmla="*/ 1212925 h 1479935"/>
              <a:gd name="connsiteX960" fmla="*/ 1127783 w 1485658"/>
              <a:gd name="connsiteY960" fmla="*/ 1212925 h 1479935"/>
              <a:gd name="connsiteX961" fmla="*/ 1158336 w 1485658"/>
              <a:gd name="connsiteY961" fmla="*/ 1243362 h 1479935"/>
              <a:gd name="connsiteX962" fmla="*/ 1188888 w 1485658"/>
              <a:gd name="connsiteY962" fmla="*/ 1212925 h 1479935"/>
              <a:gd name="connsiteX963" fmla="*/ 1158336 w 1485658"/>
              <a:gd name="connsiteY963" fmla="*/ 1182488 h 1479935"/>
              <a:gd name="connsiteX964" fmla="*/ 1127783 w 1485658"/>
              <a:gd name="connsiteY964" fmla="*/ 1212925 h 1479935"/>
              <a:gd name="connsiteX965" fmla="*/ 1187080 w 1485658"/>
              <a:gd name="connsiteY965" fmla="*/ 1212925 h 1479935"/>
              <a:gd name="connsiteX966" fmla="*/ 1217633 w 1485658"/>
              <a:gd name="connsiteY966" fmla="*/ 1243362 h 1479935"/>
              <a:gd name="connsiteX967" fmla="*/ 1248185 w 1485658"/>
              <a:gd name="connsiteY967" fmla="*/ 1212925 h 1479935"/>
              <a:gd name="connsiteX968" fmla="*/ 1217633 w 1485658"/>
              <a:gd name="connsiteY968" fmla="*/ 1182488 h 1479935"/>
              <a:gd name="connsiteX969" fmla="*/ 1187080 w 1485658"/>
              <a:gd name="connsiteY969" fmla="*/ 1212925 h 1479935"/>
              <a:gd name="connsiteX970" fmla="*/ 1305769 w 1485658"/>
              <a:gd name="connsiteY970" fmla="*/ 1212925 h 1479935"/>
              <a:gd name="connsiteX971" fmla="*/ 1336322 w 1485658"/>
              <a:gd name="connsiteY971" fmla="*/ 1243362 h 1479935"/>
              <a:gd name="connsiteX972" fmla="*/ 1366874 w 1485658"/>
              <a:gd name="connsiteY972" fmla="*/ 1212925 h 1479935"/>
              <a:gd name="connsiteX973" fmla="*/ 1336322 w 1485658"/>
              <a:gd name="connsiteY973" fmla="*/ 1182488 h 1479935"/>
              <a:gd name="connsiteX974" fmla="*/ 1305769 w 1485658"/>
              <a:gd name="connsiteY974" fmla="*/ 1212925 h 1479935"/>
              <a:gd name="connsiteX975" fmla="*/ 1365161 w 1485658"/>
              <a:gd name="connsiteY975" fmla="*/ 1212925 h 1479935"/>
              <a:gd name="connsiteX976" fmla="*/ 1395714 w 1485658"/>
              <a:gd name="connsiteY976" fmla="*/ 1243362 h 1479935"/>
              <a:gd name="connsiteX977" fmla="*/ 1426266 w 1485658"/>
              <a:gd name="connsiteY977" fmla="*/ 1212925 h 1479935"/>
              <a:gd name="connsiteX978" fmla="*/ 1395714 w 1485658"/>
              <a:gd name="connsiteY978" fmla="*/ 1182488 h 1479935"/>
              <a:gd name="connsiteX979" fmla="*/ 1365161 w 1485658"/>
              <a:gd name="connsiteY979" fmla="*/ 1212925 h 1479935"/>
              <a:gd name="connsiteX980" fmla="*/ 1424553 w 1485658"/>
              <a:gd name="connsiteY980" fmla="*/ 1212925 h 1479935"/>
              <a:gd name="connsiteX981" fmla="*/ 1455106 w 1485658"/>
              <a:gd name="connsiteY981" fmla="*/ 1243362 h 1479935"/>
              <a:gd name="connsiteX982" fmla="*/ 1485658 w 1485658"/>
              <a:gd name="connsiteY982" fmla="*/ 1212925 h 1479935"/>
              <a:gd name="connsiteX983" fmla="*/ 1455106 w 1485658"/>
              <a:gd name="connsiteY983" fmla="*/ 1182488 h 1479935"/>
              <a:gd name="connsiteX984" fmla="*/ 1424553 w 1485658"/>
              <a:gd name="connsiteY984" fmla="*/ 1212925 h 1479935"/>
              <a:gd name="connsiteX985" fmla="*/ 474851 w 1485658"/>
              <a:gd name="connsiteY985" fmla="*/ 1272092 h 1479935"/>
              <a:gd name="connsiteX986" fmla="*/ 505404 w 1485658"/>
              <a:gd name="connsiteY986" fmla="*/ 1302529 h 1479935"/>
              <a:gd name="connsiteX987" fmla="*/ 535956 w 1485658"/>
              <a:gd name="connsiteY987" fmla="*/ 1272092 h 1479935"/>
              <a:gd name="connsiteX988" fmla="*/ 505404 w 1485658"/>
              <a:gd name="connsiteY988" fmla="*/ 1241655 h 1479935"/>
              <a:gd name="connsiteX989" fmla="*/ 474851 w 1485658"/>
              <a:gd name="connsiteY989" fmla="*/ 1272092 h 1479935"/>
              <a:gd name="connsiteX990" fmla="*/ 534243 w 1485658"/>
              <a:gd name="connsiteY990" fmla="*/ 1272092 h 1479935"/>
              <a:gd name="connsiteX991" fmla="*/ 564796 w 1485658"/>
              <a:gd name="connsiteY991" fmla="*/ 1302529 h 1479935"/>
              <a:gd name="connsiteX992" fmla="*/ 595348 w 1485658"/>
              <a:gd name="connsiteY992" fmla="*/ 1272092 h 1479935"/>
              <a:gd name="connsiteX993" fmla="*/ 564796 w 1485658"/>
              <a:gd name="connsiteY993" fmla="*/ 1241655 h 1479935"/>
              <a:gd name="connsiteX994" fmla="*/ 534243 w 1485658"/>
              <a:gd name="connsiteY994" fmla="*/ 1272092 h 1479935"/>
              <a:gd name="connsiteX995" fmla="*/ 712324 w 1485658"/>
              <a:gd name="connsiteY995" fmla="*/ 1272092 h 1479935"/>
              <a:gd name="connsiteX996" fmla="*/ 742877 w 1485658"/>
              <a:gd name="connsiteY996" fmla="*/ 1302529 h 1479935"/>
              <a:gd name="connsiteX997" fmla="*/ 773429 w 1485658"/>
              <a:gd name="connsiteY997" fmla="*/ 1272092 h 1479935"/>
              <a:gd name="connsiteX998" fmla="*/ 742877 w 1485658"/>
              <a:gd name="connsiteY998" fmla="*/ 1241655 h 1479935"/>
              <a:gd name="connsiteX999" fmla="*/ 712324 w 1485658"/>
              <a:gd name="connsiteY999" fmla="*/ 1272092 h 1479935"/>
              <a:gd name="connsiteX1000" fmla="*/ 771621 w 1485658"/>
              <a:gd name="connsiteY1000" fmla="*/ 1272092 h 1479935"/>
              <a:gd name="connsiteX1001" fmla="*/ 802174 w 1485658"/>
              <a:gd name="connsiteY1001" fmla="*/ 1302529 h 1479935"/>
              <a:gd name="connsiteX1002" fmla="*/ 832726 w 1485658"/>
              <a:gd name="connsiteY1002" fmla="*/ 1272092 h 1479935"/>
              <a:gd name="connsiteX1003" fmla="*/ 802174 w 1485658"/>
              <a:gd name="connsiteY1003" fmla="*/ 1241655 h 1479935"/>
              <a:gd name="connsiteX1004" fmla="*/ 771621 w 1485658"/>
              <a:gd name="connsiteY1004" fmla="*/ 1272092 h 1479935"/>
              <a:gd name="connsiteX1005" fmla="*/ 831013 w 1485658"/>
              <a:gd name="connsiteY1005" fmla="*/ 1272092 h 1479935"/>
              <a:gd name="connsiteX1006" fmla="*/ 861566 w 1485658"/>
              <a:gd name="connsiteY1006" fmla="*/ 1302529 h 1479935"/>
              <a:gd name="connsiteX1007" fmla="*/ 892118 w 1485658"/>
              <a:gd name="connsiteY1007" fmla="*/ 1272092 h 1479935"/>
              <a:gd name="connsiteX1008" fmla="*/ 861566 w 1485658"/>
              <a:gd name="connsiteY1008" fmla="*/ 1241655 h 1479935"/>
              <a:gd name="connsiteX1009" fmla="*/ 831013 w 1485658"/>
              <a:gd name="connsiteY1009" fmla="*/ 1272092 h 1479935"/>
              <a:gd name="connsiteX1010" fmla="*/ 890310 w 1485658"/>
              <a:gd name="connsiteY1010" fmla="*/ 1272092 h 1479935"/>
              <a:gd name="connsiteX1011" fmla="*/ 920863 w 1485658"/>
              <a:gd name="connsiteY1011" fmla="*/ 1302529 h 1479935"/>
              <a:gd name="connsiteX1012" fmla="*/ 951415 w 1485658"/>
              <a:gd name="connsiteY1012" fmla="*/ 1272092 h 1479935"/>
              <a:gd name="connsiteX1013" fmla="*/ 920863 w 1485658"/>
              <a:gd name="connsiteY1013" fmla="*/ 1241655 h 1479935"/>
              <a:gd name="connsiteX1014" fmla="*/ 890310 w 1485658"/>
              <a:gd name="connsiteY1014" fmla="*/ 1272092 h 1479935"/>
              <a:gd name="connsiteX1015" fmla="*/ 1009094 w 1485658"/>
              <a:gd name="connsiteY1015" fmla="*/ 1272092 h 1479935"/>
              <a:gd name="connsiteX1016" fmla="*/ 1039647 w 1485658"/>
              <a:gd name="connsiteY1016" fmla="*/ 1302529 h 1479935"/>
              <a:gd name="connsiteX1017" fmla="*/ 1070199 w 1485658"/>
              <a:gd name="connsiteY1017" fmla="*/ 1272092 h 1479935"/>
              <a:gd name="connsiteX1018" fmla="*/ 1039647 w 1485658"/>
              <a:gd name="connsiteY1018" fmla="*/ 1241655 h 1479935"/>
              <a:gd name="connsiteX1019" fmla="*/ 1009094 w 1485658"/>
              <a:gd name="connsiteY1019" fmla="*/ 1272092 h 1479935"/>
              <a:gd name="connsiteX1020" fmla="*/ 1068391 w 1485658"/>
              <a:gd name="connsiteY1020" fmla="*/ 1272092 h 1479935"/>
              <a:gd name="connsiteX1021" fmla="*/ 1098944 w 1485658"/>
              <a:gd name="connsiteY1021" fmla="*/ 1302529 h 1479935"/>
              <a:gd name="connsiteX1022" fmla="*/ 1129496 w 1485658"/>
              <a:gd name="connsiteY1022" fmla="*/ 1272092 h 1479935"/>
              <a:gd name="connsiteX1023" fmla="*/ 1098944 w 1485658"/>
              <a:gd name="connsiteY1023" fmla="*/ 1241655 h 1479935"/>
              <a:gd name="connsiteX1024" fmla="*/ 1068391 w 1485658"/>
              <a:gd name="connsiteY1024" fmla="*/ 1272092 h 1479935"/>
              <a:gd name="connsiteX1025" fmla="*/ 1187080 w 1485658"/>
              <a:gd name="connsiteY1025" fmla="*/ 1272092 h 1479935"/>
              <a:gd name="connsiteX1026" fmla="*/ 1217633 w 1485658"/>
              <a:gd name="connsiteY1026" fmla="*/ 1302529 h 1479935"/>
              <a:gd name="connsiteX1027" fmla="*/ 1248185 w 1485658"/>
              <a:gd name="connsiteY1027" fmla="*/ 1272092 h 1479935"/>
              <a:gd name="connsiteX1028" fmla="*/ 1217633 w 1485658"/>
              <a:gd name="connsiteY1028" fmla="*/ 1241655 h 1479935"/>
              <a:gd name="connsiteX1029" fmla="*/ 1187080 w 1485658"/>
              <a:gd name="connsiteY1029" fmla="*/ 1272092 h 1479935"/>
              <a:gd name="connsiteX1030" fmla="*/ 1246472 w 1485658"/>
              <a:gd name="connsiteY1030" fmla="*/ 1272092 h 1479935"/>
              <a:gd name="connsiteX1031" fmla="*/ 1277025 w 1485658"/>
              <a:gd name="connsiteY1031" fmla="*/ 1302529 h 1479935"/>
              <a:gd name="connsiteX1032" fmla="*/ 1307577 w 1485658"/>
              <a:gd name="connsiteY1032" fmla="*/ 1272092 h 1479935"/>
              <a:gd name="connsiteX1033" fmla="*/ 1277025 w 1485658"/>
              <a:gd name="connsiteY1033" fmla="*/ 1241655 h 1479935"/>
              <a:gd name="connsiteX1034" fmla="*/ 1246472 w 1485658"/>
              <a:gd name="connsiteY1034" fmla="*/ 1272092 h 1479935"/>
              <a:gd name="connsiteX1035" fmla="*/ 1305769 w 1485658"/>
              <a:gd name="connsiteY1035" fmla="*/ 1272092 h 1479935"/>
              <a:gd name="connsiteX1036" fmla="*/ 1336322 w 1485658"/>
              <a:gd name="connsiteY1036" fmla="*/ 1302529 h 1479935"/>
              <a:gd name="connsiteX1037" fmla="*/ 1366874 w 1485658"/>
              <a:gd name="connsiteY1037" fmla="*/ 1272092 h 1479935"/>
              <a:gd name="connsiteX1038" fmla="*/ 1336322 w 1485658"/>
              <a:gd name="connsiteY1038" fmla="*/ 1241655 h 1479935"/>
              <a:gd name="connsiteX1039" fmla="*/ 1305769 w 1485658"/>
              <a:gd name="connsiteY1039" fmla="*/ 1272092 h 1479935"/>
              <a:gd name="connsiteX1040" fmla="*/ 1365161 w 1485658"/>
              <a:gd name="connsiteY1040" fmla="*/ 1272092 h 1479935"/>
              <a:gd name="connsiteX1041" fmla="*/ 1395714 w 1485658"/>
              <a:gd name="connsiteY1041" fmla="*/ 1302529 h 1479935"/>
              <a:gd name="connsiteX1042" fmla="*/ 1426266 w 1485658"/>
              <a:gd name="connsiteY1042" fmla="*/ 1272092 h 1479935"/>
              <a:gd name="connsiteX1043" fmla="*/ 1395714 w 1485658"/>
              <a:gd name="connsiteY1043" fmla="*/ 1241655 h 1479935"/>
              <a:gd name="connsiteX1044" fmla="*/ 1365161 w 1485658"/>
              <a:gd name="connsiteY1044" fmla="*/ 1272092 h 1479935"/>
              <a:gd name="connsiteX1045" fmla="*/ 1424553 w 1485658"/>
              <a:gd name="connsiteY1045" fmla="*/ 1272092 h 1479935"/>
              <a:gd name="connsiteX1046" fmla="*/ 1455106 w 1485658"/>
              <a:gd name="connsiteY1046" fmla="*/ 1302529 h 1479935"/>
              <a:gd name="connsiteX1047" fmla="*/ 1485658 w 1485658"/>
              <a:gd name="connsiteY1047" fmla="*/ 1272092 h 1479935"/>
              <a:gd name="connsiteX1048" fmla="*/ 1455106 w 1485658"/>
              <a:gd name="connsiteY1048" fmla="*/ 1241655 h 1479935"/>
              <a:gd name="connsiteX1049" fmla="*/ 1424553 w 1485658"/>
              <a:gd name="connsiteY1049" fmla="*/ 1272092 h 1479935"/>
              <a:gd name="connsiteX1050" fmla="*/ 474851 w 1485658"/>
              <a:gd name="connsiteY1050" fmla="*/ 1331259 h 1479935"/>
              <a:gd name="connsiteX1051" fmla="*/ 505404 w 1485658"/>
              <a:gd name="connsiteY1051" fmla="*/ 1361696 h 1479935"/>
              <a:gd name="connsiteX1052" fmla="*/ 535956 w 1485658"/>
              <a:gd name="connsiteY1052" fmla="*/ 1331259 h 1479935"/>
              <a:gd name="connsiteX1053" fmla="*/ 505404 w 1485658"/>
              <a:gd name="connsiteY1053" fmla="*/ 1300822 h 1479935"/>
              <a:gd name="connsiteX1054" fmla="*/ 474851 w 1485658"/>
              <a:gd name="connsiteY1054" fmla="*/ 1331259 h 1479935"/>
              <a:gd name="connsiteX1055" fmla="*/ 593635 w 1485658"/>
              <a:gd name="connsiteY1055" fmla="*/ 1331259 h 1479935"/>
              <a:gd name="connsiteX1056" fmla="*/ 624188 w 1485658"/>
              <a:gd name="connsiteY1056" fmla="*/ 1361696 h 1479935"/>
              <a:gd name="connsiteX1057" fmla="*/ 654740 w 1485658"/>
              <a:gd name="connsiteY1057" fmla="*/ 1331259 h 1479935"/>
              <a:gd name="connsiteX1058" fmla="*/ 624188 w 1485658"/>
              <a:gd name="connsiteY1058" fmla="*/ 1300822 h 1479935"/>
              <a:gd name="connsiteX1059" fmla="*/ 593635 w 1485658"/>
              <a:gd name="connsiteY1059" fmla="*/ 1331259 h 1479935"/>
              <a:gd name="connsiteX1060" fmla="*/ 771621 w 1485658"/>
              <a:gd name="connsiteY1060" fmla="*/ 1331259 h 1479935"/>
              <a:gd name="connsiteX1061" fmla="*/ 802174 w 1485658"/>
              <a:gd name="connsiteY1061" fmla="*/ 1361696 h 1479935"/>
              <a:gd name="connsiteX1062" fmla="*/ 832726 w 1485658"/>
              <a:gd name="connsiteY1062" fmla="*/ 1331259 h 1479935"/>
              <a:gd name="connsiteX1063" fmla="*/ 802174 w 1485658"/>
              <a:gd name="connsiteY1063" fmla="*/ 1300822 h 1479935"/>
              <a:gd name="connsiteX1064" fmla="*/ 771621 w 1485658"/>
              <a:gd name="connsiteY1064" fmla="*/ 1331259 h 1479935"/>
              <a:gd name="connsiteX1065" fmla="*/ 831013 w 1485658"/>
              <a:gd name="connsiteY1065" fmla="*/ 1331259 h 1479935"/>
              <a:gd name="connsiteX1066" fmla="*/ 861566 w 1485658"/>
              <a:gd name="connsiteY1066" fmla="*/ 1361696 h 1479935"/>
              <a:gd name="connsiteX1067" fmla="*/ 892118 w 1485658"/>
              <a:gd name="connsiteY1067" fmla="*/ 1331259 h 1479935"/>
              <a:gd name="connsiteX1068" fmla="*/ 861566 w 1485658"/>
              <a:gd name="connsiteY1068" fmla="*/ 1300822 h 1479935"/>
              <a:gd name="connsiteX1069" fmla="*/ 831013 w 1485658"/>
              <a:gd name="connsiteY1069" fmla="*/ 1331259 h 1479935"/>
              <a:gd name="connsiteX1070" fmla="*/ 1246472 w 1485658"/>
              <a:gd name="connsiteY1070" fmla="*/ 1331259 h 1479935"/>
              <a:gd name="connsiteX1071" fmla="*/ 1277025 w 1485658"/>
              <a:gd name="connsiteY1071" fmla="*/ 1361696 h 1479935"/>
              <a:gd name="connsiteX1072" fmla="*/ 1307577 w 1485658"/>
              <a:gd name="connsiteY1072" fmla="*/ 1331259 h 1479935"/>
              <a:gd name="connsiteX1073" fmla="*/ 1277025 w 1485658"/>
              <a:gd name="connsiteY1073" fmla="*/ 1300822 h 1479935"/>
              <a:gd name="connsiteX1074" fmla="*/ 1246472 w 1485658"/>
              <a:gd name="connsiteY1074" fmla="*/ 1331259 h 1479935"/>
              <a:gd name="connsiteX1075" fmla="*/ 1305769 w 1485658"/>
              <a:gd name="connsiteY1075" fmla="*/ 1331259 h 1479935"/>
              <a:gd name="connsiteX1076" fmla="*/ 1336322 w 1485658"/>
              <a:gd name="connsiteY1076" fmla="*/ 1361696 h 1479935"/>
              <a:gd name="connsiteX1077" fmla="*/ 1366874 w 1485658"/>
              <a:gd name="connsiteY1077" fmla="*/ 1331259 h 1479935"/>
              <a:gd name="connsiteX1078" fmla="*/ 1336322 w 1485658"/>
              <a:gd name="connsiteY1078" fmla="*/ 1300822 h 1479935"/>
              <a:gd name="connsiteX1079" fmla="*/ 1305769 w 1485658"/>
              <a:gd name="connsiteY1079" fmla="*/ 1331259 h 1479935"/>
              <a:gd name="connsiteX1080" fmla="*/ 1424553 w 1485658"/>
              <a:gd name="connsiteY1080" fmla="*/ 1331259 h 1479935"/>
              <a:gd name="connsiteX1081" fmla="*/ 1455106 w 1485658"/>
              <a:gd name="connsiteY1081" fmla="*/ 1361696 h 1479935"/>
              <a:gd name="connsiteX1082" fmla="*/ 1485658 w 1485658"/>
              <a:gd name="connsiteY1082" fmla="*/ 1331259 h 1479935"/>
              <a:gd name="connsiteX1083" fmla="*/ 1455106 w 1485658"/>
              <a:gd name="connsiteY1083" fmla="*/ 1300822 h 1479935"/>
              <a:gd name="connsiteX1084" fmla="*/ 1424553 w 1485658"/>
              <a:gd name="connsiteY1084" fmla="*/ 1331259 h 1479935"/>
              <a:gd name="connsiteX1085" fmla="*/ 712324 w 1485658"/>
              <a:gd name="connsiteY1085" fmla="*/ 1390331 h 1479935"/>
              <a:gd name="connsiteX1086" fmla="*/ 742877 w 1485658"/>
              <a:gd name="connsiteY1086" fmla="*/ 1420768 h 1479935"/>
              <a:gd name="connsiteX1087" fmla="*/ 773429 w 1485658"/>
              <a:gd name="connsiteY1087" fmla="*/ 1390331 h 1479935"/>
              <a:gd name="connsiteX1088" fmla="*/ 742877 w 1485658"/>
              <a:gd name="connsiteY1088" fmla="*/ 1359894 h 1479935"/>
              <a:gd name="connsiteX1089" fmla="*/ 712324 w 1485658"/>
              <a:gd name="connsiteY1089" fmla="*/ 1390331 h 1479935"/>
              <a:gd name="connsiteX1090" fmla="*/ 771621 w 1485658"/>
              <a:gd name="connsiteY1090" fmla="*/ 1390331 h 1479935"/>
              <a:gd name="connsiteX1091" fmla="*/ 802174 w 1485658"/>
              <a:gd name="connsiteY1091" fmla="*/ 1420768 h 1479935"/>
              <a:gd name="connsiteX1092" fmla="*/ 832726 w 1485658"/>
              <a:gd name="connsiteY1092" fmla="*/ 1390331 h 1479935"/>
              <a:gd name="connsiteX1093" fmla="*/ 802174 w 1485658"/>
              <a:gd name="connsiteY1093" fmla="*/ 1359894 h 1479935"/>
              <a:gd name="connsiteX1094" fmla="*/ 771621 w 1485658"/>
              <a:gd name="connsiteY1094" fmla="*/ 1390331 h 1479935"/>
              <a:gd name="connsiteX1095" fmla="*/ 949702 w 1485658"/>
              <a:gd name="connsiteY1095" fmla="*/ 1390331 h 1479935"/>
              <a:gd name="connsiteX1096" fmla="*/ 980255 w 1485658"/>
              <a:gd name="connsiteY1096" fmla="*/ 1420768 h 1479935"/>
              <a:gd name="connsiteX1097" fmla="*/ 1010807 w 1485658"/>
              <a:gd name="connsiteY1097" fmla="*/ 1390331 h 1479935"/>
              <a:gd name="connsiteX1098" fmla="*/ 980255 w 1485658"/>
              <a:gd name="connsiteY1098" fmla="*/ 1359894 h 1479935"/>
              <a:gd name="connsiteX1099" fmla="*/ 949702 w 1485658"/>
              <a:gd name="connsiteY1099" fmla="*/ 1390331 h 1479935"/>
              <a:gd name="connsiteX1100" fmla="*/ 1068391 w 1485658"/>
              <a:gd name="connsiteY1100" fmla="*/ 1390331 h 1479935"/>
              <a:gd name="connsiteX1101" fmla="*/ 1098944 w 1485658"/>
              <a:gd name="connsiteY1101" fmla="*/ 1420768 h 1479935"/>
              <a:gd name="connsiteX1102" fmla="*/ 1129496 w 1485658"/>
              <a:gd name="connsiteY1102" fmla="*/ 1390331 h 1479935"/>
              <a:gd name="connsiteX1103" fmla="*/ 1098944 w 1485658"/>
              <a:gd name="connsiteY1103" fmla="*/ 1359894 h 1479935"/>
              <a:gd name="connsiteX1104" fmla="*/ 1068391 w 1485658"/>
              <a:gd name="connsiteY1104" fmla="*/ 1390331 h 1479935"/>
              <a:gd name="connsiteX1105" fmla="*/ 1127783 w 1485658"/>
              <a:gd name="connsiteY1105" fmla="*/ 1390331 h 1479935"/>
              <a:gd name="connsiteX1106" fmla="*/ 1158336 w 1485658"/>
              <a:gd name="connsiteY1106" fmla="*/ 1420768 h 1479935"/>
              <a:gd name="connsiteX1107" fmla="*/ 1188888 w 1485658"/>
              <a:gd name="connsiteY1107" fmla="*/ 1390331 h 1479935"/>
              <a:gd name="connsiteX1108" fmla="*/ 1158336 w 1485658"/>
              <a:gd name="connsiteY1108" fmla="*/ 1359894 h 1479935"/>
              <a:gd name="connsiteX1109" fmla="*/ 1127783 w 1485658"/>
              <a:gd name="connsiteY1109" fmla="*/ 1390331 h 1479935"/>
              <a:gd name="connsiteX1110" fmla="*/ 1187080 w 1485658"/>
              <a:gd name="connsiteY1110" fmla="*/ 1390331 h 1479935"/>
              <a:gd name="connsiteX1111" fmla="*/ 1217633 w 1485658"/>
              <a:gd name="connsiteY1111" fmla="*/ 1420768 h 1479935"/>
              <a:gd name="connsiteX1112" fmla="*/ 1248185 w 1485658"/>
              <a:gd name="connsiteY1112" fmla="*/ 1390331 h 1479935"/>
              <a:gd name="connsiteX1113" fmla="*/ 1217633 w 1485658"/>
              <a:gd name="connsiteY1113" fmla="*/ 1359894 h 1479935"/>
              <a:gd name="connsiteX1114" fmla="*/ 1187080 w 1485658"/>
              <a:gd name="connsiteY1114" fmla="*/ 1390331 h 1479935"/>
              <a:gd name="connsiteX1115" fmla="*/ 1246472 w 1485658"/>
              <a:gd name="connsiteY1115" fmla="*/ 1390331 h 1479935"/>
              <a:gd name="connsiteX1116" fmla="*/ 1277025 w 1485658"/>
              <a:gd name="connsiteY1116" fmla="*/ 1420768 h 1479935"/>
              <a:gd name="connsiteX1117" fmla="*/ 1307577 w 1485658"/>
              <a:gd name="connsiteY1117" fmla="*/ 1390331 h 1479935"/>
              <a:gd name="connsiteX1118" fmla="*/ 1277025 w 1485658"/>
              <a:gd name="connsiteY1118" fmla="*/ 1359894 h 1479935"/>
              <a:gd name="connsiteX1119" fmla="*/ 1246472 w 1485658"/>
              <a:gd name="connsiteY1119" fmla="*/ 1390331 h 1479935"/>
              <a:gd name="connsiteX1120" fmla="*/ 1424553 w 1485658"/>
              <a:gd name="connsiteY1120" fmla="*/ 1390331 h 1479935"/>
              <a:gd name="connsiteX1121" fmla="*/ 1455106 w 1485658"/>
              <a:gd name="connsiteY1121" fmla="*/ 1420768 h 1479935"/>
              <a:gd name="connsiteX1122" fmla="*/ 1485658 w 1485658"/>
              <a:gd name="connsiteY1122" fmla="*/ 1390331 h 1479935"/>
              <a:gd name="connsiteX1123" fmla="*/ 1455106 w 1485658"/>
              <a:gd name="connsiteY1123" fmla="*/ 1359894 h 1479935"/>
              <a:gd name="connsiteX1124" fmla="*/ 1424553 w 1485658"/>
              <a:gd name="connsiteY1124" fmla="*/ 1390331 h 1479935"/>
              <a:gd name="connsiteX1125" fmla="*/ 474851 w 1485658"/>
              <a:gd name="connsiteY1125" fmla="*/ 1449498 h 1479935"/>
              <a:gd name="connsiteX1126" fmla="*/ 505404 w 1485658"/>
              <a:gd name="connsiteY1126" fmla="*/ 1479935 h 1479935"/>
              <a:gd name="connsiteX1127" fmla="*/ 535956 w 1485658"/>
              <a:gd name="connsiteY1127" fmla="*/ 1449498 h 1479935"/>
              <a:gd name="connsiteX1128" fmla="*/ 505404 w 1485658"/>
              <a:gd name="connsiteY1128" fmla="*/ 1419061 h 1479935"/>
              <a:gd name="connsiteX1129" fmla="*/ 474851 w 1485658"/>
              <a:gd name="connsiteY1129" fmla="*/ 1449498 h 1479935"/>
              <a:gd name="connsiteX1130" fmla="*/ 593635 w 1485658"/>
              <a:gd name="connsiteY1130" fmla="*/ 1449498 h 1479935"/>
              <a:gd name="connsiteX1131" fmla="*/ 624188 w 1485658"/>
              <a:gd name="connsiteY1131" fmla="*/ 1479935 h 1479935"/>
              <a:gd name="connsiteX1132" fmla="*/ 654740 w 1485658"/>
              <a:gd name="connsiteY1132" fmla="*/ 1449498 h 1479935"/>
              <a:gd name="connsiteX1133" fmla="*/ 624188 w 1485658"/>
              <a:gd name="connsiteY1133" fmla="*/ 1419061 h 1479935"/>
              <a:gd name="connsiteX1134" fmla="*/ 593635 w 1485658"/>
              <a:gd name="connsiteY1134" fmla="*/ 1449498 h 1479935"/>
              <a:gd name="connsiteX1135" fmla="*/ 712324 w 1485658"/>
              <a:gd name="connsiteY1135" fmla="*/ 1449498 h 1479935"/>
              <a:gd name="connsiteX1136" fmla="*/ 742877 w 1485658"/>
              <a:gd name="connsiteY1136" fmla="*/ 1479935 h 1479935"/>
              <a:gd name="connsiteX1137" fmla="*/ 773429 w 1485658"/>
              <a:gd name="connsiteY1137" fmla="*/ 1449498 h 1479935"/>
              <a:gd name="connsiteX1138" fmla="*/ 742877 w 1485658"/>
              <a:gd name="connsiteY1138" fmla="*/ 1419061 h 1479935"/>
              <a:gd name="connsiteX1139" fmla="*/ 712324 w 1485658"/>
              <a:gd name="connsiteY1139" fmla="*/ 1449498 h 1479935"/>
              <a:gd name="connsiteX1140" fmla="*/ 831013 w 1485658"/>
              <a:gd name="connsiteY1140" fmla="*/ 1449498 h 1479935"/>
              <a:gd name="connsiteX1141" fmla="*/ 861566 w 1485658"/>
              <a:gd name="connsiteY1141" fmla="*/ 1479935 h 1479935"/>
              <a:gd name="connsiteX1142" fmla="*/ 892118 w 1485658"/>
              <a:gd name="connsiteY1142" fmla="*/ 1449498 h 1479935"/>
              <a:gd name="connsiteX1143" fmla="*/ 861566 w 1485658"/>
              <a:gd name="connsiteY1143" fmla="*/ 1419061 h 1479935"/>
              <a:gd name="connsiteX1144" fmla="*/ 831013 w 1485658"/>
              <a:gd name="connsiteY1144" fmla="*/ 1449498 h 1479935"/>
              <a:gd name="connsiteX1145" fmla="*/ 1009094 w 1485658"/>
              <a:gd name="connsiteY1145" fmla="*/ 1449498 h 1479935"/>
              <a:gd name="connsiteX1146" fmla="*/ 1039647 w 1485658"/>
              <a:gd name="connsiteY1146" fmla="*/ 1479935 h 1479935"/>
              <a:gd name="connsiteX1147" fmla="*/ 1070199 w 1485658"/>
              <a:gd name="connsiteY1147" fmla="*/ 1449498 h 1479935"/>
              <a:gd name="connsiteX1148" fmla="*/ 1039647 w 1485658"/>
              <a:gd name="connsiteY1148" fmla="*/ 1419061 h 1479935"/>
              <a:gd name="connsiteX1149" fmla="*/ 1009094 w 1485658"/>
              <a:gd name="connsiteY1149" fmla="*/ 1449498 h 1479935"/>
              <a:gd name="connsiteX1150" fmla="*/ 1068391 w 1485658"/>
              <a:gd name="connsiteY1150" fmla="*/ 1449498 h 1479935"/>
              <a:gd name="connsiteX1151" fmla="*/ 1098944 w 1485658"/>
              <a:gd name="connsiteY1151" fmla="*/ 1479935 h 1479935"/>
              <a:gd name="connsiteX1152" fmla="*/ 1129496 w 1485658"/>
              <a:gd name="connsiteY1152" fmla="*/ 1449498 h 1479935"/>
              <a:gd name="connsiteX1153" fmla="*/ 1098944 w 1485658"/>
              <a:gd name="connsiteY1153" fmla="*/ 1419061 h 1479935"/>
              <a:gd name="connsiteX1154" fmla="*/ 1068391 w 1485658"/>
              <a:gd name="connsiteY1154" fmla="*/ 1449498 h 1479935"/>
              <a:gd name="connsiteX1155" fmla="*/ 1127783 w 1485658"/>
              <a:gd name="connsiteY1155" fmla="*/ 1449498 h 1479935"/>
              <a:gd name="connsiteX1156" fmla="*/ 1158336 w 1485658"/>
              <a:gd name="connsiteY1156" fmla="*/ 1479935 h 1479935"/>
              <a:gd name="connsiteX1157" fmla="*/ 1188888 w 1485658"/>
              <a:gd name="connsiteY1157" fmla="*/ 1449498 h 1479935"/>
              <a:gd name="connsiteX1158" fmla="*/ 1158336 w 1485658"/>
              <a:gd name="connsiteY1158" fmla="*/ 1419061 h 1479935"/>
              <a:gd name="connsiteX1159" fmla="*/ 1127783 w 1485658"/>
              <a:gd name="connsiteY1159" fmla="*/ 1449498 h 1479935"/>
              <a:gd name="connsiteX1160" fmla="*/ 1187080 w 1485658"/>
              <a:gd name="connsiteY1160" fmla="*/ 1449498 h 1479935"/>
              <a:gd name="connsiteX1161" fmla="*/ 1217633 w 1485658"/>
              <a:gd name="connsiteY1161" fmla="*/ 1479935 h 1479935"/>
              <a:gd name="connsiteX1162" fmla="*/ 1248185 w 1485658"/>
              <a:gd name="connsiteY1162" fmla="*/ 1449498 h 1479935"/>
              <a:gd name="connsiteX1163" fmla="*/ 1217633 w 1485658"/>
              <a:gd name="connsiteY1163" fmla="*/ 1419061 h 1479935"/>
              <a:gd name="connsiteX1164" fmla="*/ 1187080 w 1485658"/>
              <a:gd name="connsiteY1164" fmla="*/ 1449498 h 1479935"/>
              <a:gd name="connsiteX1165" fmla="*/ 1246472 w 1485658"/>
              <a:gd name="connsiteY1165" fmla="*/ 1449498 h 1479935"/>
              <a:gd name="connsiteX1166" fmla="*/ 1277025 w 1485658"/>
              <a:gd name="connsiteY1166" fmla="*/ 1479935 h 1479935"/>
              <a:gd name="connsiteX1167" fmla="*/ 1307577 w 1485658"/>
              <a:gd name="connsiteY1167" fmla="*/ 1449498 h 1479935"/>
              <a:gd name="connsiteX1168" fmla="*/ 1277025 w 1485658"/>
              <a:gd name="connsiteY1168" fmla="*/ 1419061 h 1479935"/>
              <a:gd name="connsiteX1169" fmla="*/ 1246472 w 1485658"/>
              <a:gd name="connsiteY1169" fmla="*/ 1449498 h 1479935"/>
              <a:gd name="connsiteX1170" fmla="*/ 1305769 w 1485658"/>
              <a:gd name="connsiteY1170" fmla="*/ 1449498 h 1479935"/>
              <a:gd name="connsiteX1171" fmla="*/ 1336322 w 1485658"/>
              <a:gd name="connsiteY1171" fmla="*/ 1479935 h 1479935"/>
              <a:gd name="connsiteX1172" fmla="*/ 1366874 w 1485658"/>
              <a:gd name="connsiteY1172" fmla="*/ 1449498 h 1479935"/>
              <a:gd name="connsiteX1173" fmla="*/ 1336322 w 1485658"/>
              <a:gd name="connsiteY1173" fmla="*/ 1419061 h 1479935"/>
              <a:gd name="connsiteX1174" fmla="*/ 1305769 w 1485658"/>
              <a:gd name="connsiteY1174" fmla="*/ 1449498 h 1479935"/>
              <a:gd name="connsiteX1175" fmla="*/ 1365161 w 1485658"/>
              <a:gd name="connsiteY1175" fmla="*/ 1449498 h 1479935"/>
              <a:gd name="connsiteX1176" fmla="*/ 1395714 w 1485658"/>
              <a:gd name="connsiteY1176" fmla="*/ 1479935 h 1479935"/>
              <a:gd name="connsiteX1177" fmla="*/ 1426266 w 1485658"/>
              <a:gd name="connsiteY1177" fmla="*/ 1449498 h 1479935"/>
              <a:gd name="connsiteX1178" fmla="*/ 1395714 w 1485658"/>
              <a:gd name="connsiteY1178" fmla="*/ 1419061 h 1479935"/>
              <a:gd name="connsiteX1179" fmla="*/ 1365161 w 1485658"/>
              <a:gd name="connsiteY1179" fmla="*/ 1449498 h 1479935"/>
              <a:gd name="connsiteX1180" fmla="*/ 1424553 w 1485658"/>
              <a:gd name="connsiteY1180" fmla="*/ 1449498 h 1479935"/>
              <a:gd name="connsiteX1181" fmla="*/ 1455106 w 1485658"/>
              <a:gd name="connsiteY1181" fmla="*/ 1479935 h 1479935"/>
              <a:gd name="connsiteX1182" fmla="*/ 1485658 w 1485658"/>
              <a:gd name="connsiteY1182" fmla="*/ 1449498 h 1479935"/>
              <a:gd name="connsiteX1183" fmla="*/ 1455106 w 1485658"/>
              <a:gd name="connsiteY1183" fmla="*/ 1419061 h 1479935"/>
              <a:gd name="connsiteX1184" fmla="*/ 1424553 w 1485658"/>
              <a:gd name="connsiteY1184" fmla="*/ 1449498 h 1479935"/>
              <a:gd name="connsiteX1185" fmla="*/ 207777 w 1485658"/>
              <a:gd name="connsiteY1185" fmla="*/ 0 h 1479935"/>
              <a:gd name="connsiteX1186" fmla="*/ 207777 w 1485658"/>
              <a:gd name="connsiteY1186" fmla="*/ 0 h 1479935"/>
              <a:gd name="connsiteX1187" fmla="*/ 415554 w 1485658"/>
              <a:gd name="connsiteY1187" fmla="*/ 206990 h 1479935"/>
              <a:gd name="connsiteX1188" fmla="*/ 415554 w 1485658"/>
              <a:gd name="connsiteY1188" fmla="*/ 206990 h 1479935"/>
              <a:gd name="connsiteX1189" fmla="*/ 207777 w 1485658"/>
              <a:gd name="connsiteY1189" fmla="*/ 413980 h 1479935"/>
              <a:gd name="connsiteX1190" fmla="*/ 207777 w 1485658"/>
              <a:gd name="connsiteY1190" fmla="*/ 413980 h 1479935"/>
              <a:gd name="connsiteX1191" fmla="*/ 0 w 1485658"/>
              <a:gd name="connsiteY1191" fmla="*/ 206990 h 1479935"/>
              <a:gd name="connsiteX1192" fmla="*/ 0 w 1485658"/>
              <a:gd name="connsiteY1192" fmla="*/ 206990 h 1479935"/>
              <a:gd name="connsiteX1193" fmla="*/ 207777 w 1485658"/>
              <a:gd name="connsiteY1193" fmla="*/ 0 h 1479935"/>
              <a:gd name="connsiteX1194" fmla="*/ 356162 w 1485658"/>
              <a:gd name="connsiteY1194" fmla="*/ 206895 h 1479935"/>
              <a:gd name="connsiteX1195" fmla="*/ 356162 w 1485658"/>
              <a:gd name="connsiteY1195" fmla="*/ 206895 h 1479935"/>
              <a:gd name="connsiteX1196" fmla="*/ 207777 w 1485658"/>
              <a:gd name="connsiteY1196" fmla="*/ 59072 h 1479935"/>
              <a:gd name="connsiteX1197" fmla="*/ 207777 w 1485658"/>
              <a:gd name="connsiteY1197" fmla="*/ 59072 h 1479935"/>
              <a:gd name="connsiteX1198" fmla="*/ 59392 w 1485658"/>
              <a:gd name="connsiteY1198" fmla="*/ 206895 h 1479935"/>
              <a:gd name="connsiteX1199" fmla="*/ 59392 w 1485658"/>
              <a:gd name="connsiteY1199" fmla="*/ 206895 h 1479935"/>
              <a:gd name="connsiteX1200" fmla="*/ 207777 w 1485658"/>
              <a:gd name="connsiteY1200" fmla="*/ 354718 h 1479935"/>
              <a:gd name="connsiteX1201" fmla="*/ 207777 w 1485658"/>
              <a:gd name="connsiteY1201" fmla="*/ 354718 h 1479935"/>
              <a:gd name="connsiteX1202" fmla="*/ 356162 w 1485658"/>
              <a:gd name="connsiteY1202" fmla="*/ 206895 h 1479935"/>
              <a:gd name="connsiteX1203" fmla="*/ 1276168 w 1485658"/>
              <a:gd name="connsiteY1203" fmla="*/ 0 h 1479935"/>
              <a:gd name="connsiteX1204" fmla="*/ 1276168 w 1485658"/>
              <a:gd name="connsiteY1204" fmla="*/ 0 h 1479935"/>
              <a:gd name="connsiteX1205" fmla="*/ 1483945 w 1485658"/>
              <a:gd name="connsiteY1205" fmla="*/ 206990 h 1479935"/>
              <a:gd name="connsiteX1206" fmla="*/ 1483945 w 1485658"/>
              <a:gd name="connsiteY1206" fmla="*/ 206990 h 1479935"/>
              <a:gd name="connsiteX1207" fmla="*/ 1276168 w 1485658"/>
              <a:gd name="connsiteY1207" fmla="*/ 413980 h 1479935"/>
              <a:gd name="connsiteX1208" fmla="*/ 1276168 w 1485658"/>
              <a:gd name="connsiteY1208" fmla="*/ 413980 h 1479935"/>
              <a:gd name="connsiteX1209" fmla="*/ 1068391 w 1485658"/>
              <a:gd name="connsiteY1209" fmla="*/ 206990 h 1479935"/>
              <a:gd name="connsiteX1210" fmla="*/ 1068391 w 1485658"/>
              <a:gd name="connsiteY1210" fmla="*/ 206990 h 1479935"/>
              <a:gd name="connsiteX1211" fmla="*/ 1276168 w 1485658"/>
              <a:gd name="connsiteY1211" fmla="*/ 0 h 1479935"/>
              <a:gd name="connsiteX1212" fmla="*/ 1424553 w 1485658"/>
              <a:gd name="connsiteY1212" fmla="*/ 206895 h 1479935"/>
              <a:gd name="connsiteX1213" fmla="*/ 1424553 w 1485658"/>
              <a:gd name="connsiteY1213" fmla="*/ 206895 h 1479935"/>
              <a:gd name="connsiteX1214" fmla="*/ 1276168 w 1485658"/>
              <a:gd name="connsiteY1214" fmla="*/ 59072 h 1479935"/>
              <a:gd name="connsiteX1215" fmla="*/ 1276168 w 1485658"/>
              <a:gd name="connsiteY1215" fmla="*/ 59072 h 1479935"/>
              <a:gd name="connsiteX1216" fmla="*/ 1127783 w 1485658"/>
              <a:gd name="connsiteY1216" fmla="*/ 206895 h 1479935"/>
              <a:gd name="connsiteX1217" fmla="*/ 1127783 w 1485658"/>
              <a:gd name="connsiteY1217" fmla="*/ 206895 h 1479935"/>
              <a:gd name="connsiteX1218" fmla="*/ 1276168 w 1485658"/>
              <a:gd name="connsiteY1218" fmla="*/ 354718 h 1479935"/>
              <a:gd name="connsiteX1219" fmla="*/ 1276168 w 1485658"/>
              <a:gd name="connsiteY1219" fmla="*/ 354718 h 1479935"/>
              <a:gd name="connsiteX1220" fmla="*/ 1424553 w 1485658"/>
              <a:gd name="connsiteY1220" fmla="*/ 206895 h 1479935"/>
              <a:gd name="connsiteX1221" fmla="*/ 207777 w 1485658"/>
              <a:gd name="connsiteY1221" fmla="*/ 1064249 h 1479935"/>
              <a:gd name="connsiteX1222" fmla="*/ 207777 w 1485658"/>
              <a:gd name="connsiteY1222" fmla="*/ 1064249 h 1479935"/>
              <a:gd name="connsiteX1223" fmla="*/ 415554 w 1485658"/>
              <a:gd name="connsiteY1223" fmla="*/ 1271238 h 1479935"/>
              <a:gd name="connsiteX1224" fmla="*/ 415554 w 1485658"/>
              <a:gd name="connsiteY1224" fmla="*/ 1271238 h 1479935"/>
              <a:gd name="connsiteX1225" fmla="*/ 207777 w 1485658"/>
              <a:gd name="connsiteY1225" fmla="*/ 1478228 h 1479935"/>
              <a:gd name="connsiteX1226" fmla="*/ 207777 w 1485658"/>
              <a:gd name="connsiteY1226" fmla="*/ 1478228 h 1479935"/>
              <a:gd name="connsiteX1227" fmla="*/ 0 w 1485658"/>
              <a:gd name="connsiteY1227" fmla="*/ 1271238 h 1479935"/>
              <a:gd name="connsiteX1228" fmla="*/ 0 w 1485658"/>
              <a:gd name="connsiteY1228" fmla="*/ 1271238 h 1479935"/>
              <a:gd name="connsiteX1229" fmla="*/ 207777 w 1485658"/>
              <a:gd name="connsiteY1229" fmla="*/ 1064249 h 1479935"/>
              <a:gd name="connsiteX1230" fmla="*/ 356162 w 1485658"/>
              <a:gd name="connsiteY1230" fmla="*/ 1271238 h 1479935"/>
              <a:gd name="connsiteX1231" fmla="*/ 356162 w 1485658"/>
              <a:gd name="connsiteY1231" fmla="*/ 1271238 h 1479935"/>
              <a:gd name="connsiteX1232" fmla="*/ 207777 w 1485658"/>
              <a:gd name="connsiteY1232" fmla="*/ 1123416 h 1479935"/>
              <a:gd name="connsiteX1233" fmla="*/ 207777 w 1485658"/>
              <a:gd name="connsiteY1233" fmla="*/ 1123416 h 1479935"/>
              <a:gd name="connsiteX1234" fmla="*/ 59392 w 1485658"/>
              <a:gd name="connsiteY1234" fmla="*/ 1271238 h 1479935"/>
              <a:gd name="connsiteX1235" fmla="*/ 59392 w 1485658"/>
              <a:gd name="connsiteY1235" fmla="*/ 1271238 h 1479935"/>
              <a:gd name="connsiteX1236" fmla="*/ 207777 w 1485658"/>
              <a:gd name="connsiteY1236" fmla="*/ 1419061 h 1479935"/>
              <a:gd name="connsiteX1237" fmla="*/ 207777 w 1485658"/>
              <a:gd name="connsiteY1237" fmla="*/ 1419061 h 1479935"/>
              <a:gd name="connsiteX1238" fmla="*/ 356162 w 1485658"/>
              <a:gd name="connsiteY1238" fmla="*/ 1271238 h 1479935"/>
              <a:gd name="connsiteX1239" fmla="*/ 118784 w 1485658"/>
              <a:gd name="connsiteY1239" fmla="*/ 206895 h 1479935"/>
              <a:gd name="connsiteX1240" fmla="*/ 207777 w 1485658"/>
              <a:gd name="connsiteY1240" fmla="*/ 295551 h 1479935"/>
              <a:gd name="connsiteX1241" fmla="*/ 296770 w 1485658"/>
              <a:gd name="connsiteY1241" fmla="*/ 206895 h 1479935"/>
              <a:gd name="connsiteX1242" fmla="*/ 207777 w 1485658"/>
              <a:gd name="connsiteY1242" fmla="*/ 118239 h 1479935"/>
              <a:gd name="connsiteX1243" fmla="*/ 118784 w 1485658"/>
              <a:gd name="connsiteY1243" fmla="*/ 206895 h 1479935"/>
              <a:gd name="connsiteX1244" fmla="*/ 1187080 w 1485658"/>
              <a:gd name="connsiteY1244" fmla="*/ 206895 h 1479935"/>
              <a:gd name="connsiteX1245" fmla="*/ 1276073 w 1485658"/>
              <a:gd name="connsiteY1245" fmla="*/ 295551 h 1479935"/>
              <a:gd name="connsiteX1246" fmla="*/ 1365066 w 1485658"/>
              <a:gd name="connsiteY1246" fmla="*/ 206895 h 1479935"/>
              <a:gd name="connsiteX1247" fmla="*/ 1276073 w 1485658"/>
              <a:gd name="connsiteY1247" fmla="*/ 118239 h 1479935"/>
              <a:gd name="connsiteX1248" fmla="*/ 1187080 w 1485658"/>
              <a:gd name="connsiteY1248" fmla="*/ 206895 h 1479935"/>
              <a:gd name="connsiteX1249" fmla="*/ 118784 w 1485658"/>
              <a:gd name="connsiteY1249" fmla="*/ 1271238 h 1479935"/>
              <a:gd name="connsiteX1250" fmla="*/ 207777 w 1485658"/>
              <a:gd name="connsiteY1250" fmla="*/ 1359894 h 1479935"/>
              <a:gd name="connsiteX1251" fmla="*/ 296770 w 1485658"/>
              <a:gd name="connsiteY1251" fmla="*/ 1271238 h 1479935"/>
              <a:gd name="connsiteX1252" fmla="*/ 207777 w 1485658"/>
              <a:gd name="connsiteY1252" fmla="*/ 1182583 h 1479935"/>
              <a:gd name="connsiteX1253" fmla="*/ 118784 w 1485658"/>
              <a:gd name="connsiteY1253" fmla="*/ 1271238 h 1479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</a:cxnLst>
            <a:rect l="l" t="t" r="r" b="b"/>
            <a:pathLst>
              <a:path w="1485658" h="1479935">
                <a:moveTo>
                  <a:pt x="564796" y="0"/>
                </a:moveTo>
                <a:cubicBezTo>
                  <a:pt x="581643" y="0"/>
                  <a:pt x="595348" y="13654"/>
                  <a:pt x="595348" y="30437"/>
                </a:cubicBezTo>
                <a:cubicBezTo>
                  <a:pt x="595348" y="47220"/>
                  <a:pt x="581643" y="60874"/>
                  <a:pt x="564796" y="60874"/>
                </a:cubicBezTo>
                <a:cubicBezTo>
                  <a:pt x="547949" y="60874"/>
                  <a:pt x="534243" y="47220"/>
                  <a:pt x="534243" y="30437"/>
                </a:cubicBezTo>
                <a:cubicBezTo>
                  <a:pt x="534243" y="13654"/>
                  <a:pt x="547949" y="0"/>
                  <a:pt x="564796" y="0"/>
                </a:cubicBezTo>
                <a:close/>
                <a:moveTo>
                  <a:pt x="593635" y="30437"/>
                </a:moveTo>
                <a:cubicBezTo>
                  <a:pt x="593635" y="47220"/>
                  <a:pt x="607341" y="60874"/>
                  <a:pt x="624188" y="60874"/>
                </a:cubicBezTo>
                <a:cubicBezTo>
                  <a:pt x="641035" y="60874"/>
                  <a:pt x="654740" y="47220"/>
                  <a:pt x="654740" y="30437"/>
                </a:cubicBezTo>
                <a:cubicBezTo>
                  <a:pt x="654740" y="13654"/>
                  <a:pt x="641035" y="0"/>
                  <a:pt x="624188" y="0"/>
                </a:cubicBezTo>
                <a:cubicBezTo>
                  <a:pt x="607341" y="0"/>
                  <a:pt x="593635" y="13654"/>
                  <a:pt x="593635" y="30437"/>
                </a:cubicBezTo>
                <a:close/>
                <a:moveTo>
                  <a:pt x="652932" y="30437"/>
                </a:moveTo>
                <a:cubicBezTo>
                  <a:pt x="652932" y="47220"/>
                  <a:pt x="666638" y="60874"/>
                  <a:pt x="683485" y="60874"/>
                </a:cubicBezTo>
                <a:cubicBezTo>
                  <a:pt x="700332" y="60874"/>
                  <a:pt x="714037" y="47220"/>
                  <a:pt x="714037" y="30437"/>
                </a:cubicBezTo>
                <a:cubicBezTo>
                  <a:pt x="714037" y="13654"/>
                  <a:pt x="700332" y="0"/>
                  <a:pt x="683485" y="0"/>
                </a:cubicBezTo>
                <a:cubicBezTo>
                  <a:pt x="666638" y="0"/>
                  <a:pt x="652932" y="13654"/>
                  <a:pt x="652932" y="30437"/>
                </a:cubicBezTo>
                <a:close/>
                <a:moveTo>
                  <a:pt x="831013" y="30437"/>
                </a:moveTo>
                <a:cubicBezTo>
                  <a:pt x="831013" y="47220"/>
                  <a:pt x="844719" y="60874"/>
                  <a:pt x="861566" y="60874"/>
                </a:cubicBezTo>
                <a:cubicBezTo>
                  <a:pt x="878413" y="60874"/>
                  <a:pt x="892118" y="47220"/>
                  <a:pt x="892118" y="30437"/>
                </a:cubicBezTo>
                <a:cubicBezTo>
                  <a:pt x="892118" y="13654"/>
                  <a:pt x="878413" y="0"/>
                  <a:pt x="861566" y="0"/>
                </a:cubicBezTo>
                <a:cubicBezTo>
                  <a:pt x="844719" y="0"/>
                  <a:pt x="831013" y="13654"/>
                  <a:pt x="831013" y="30437"/>
                </a:cubicBezTo>
                <a:close/>
                <a:moveTo>
                  <a:pt x="949702" y="30437"/>
                </a:moveTo>
                <a:cubicBezTo>
                  <a:pt x="949702" y="47220"/>
                  <a:pt x="963408" y="60874"/>
                  <a:pt x="980255" y="60874"/>
                </a:cubicBezTo>
                <a:cubicBezTo>
                  <a:pt x="997101" y="60874"/>
                  <a:pt x="1010807" y="47220"/>
                  <a:pt x="1010807" y="30437"/>
                </a:cubicBezTo>
                <a:cubicBezTo>
                  <a:pt x="1010807" y="13654"/>
                  <a:pt x="997101" y="0"/>
                  <a:pt x="980255" y="0"/>
                </a:cubicBezTo>
                <a:cubicBezTo>
                  <a:pt x="963408" y="0"/>
                  <a:pt x="949702" y="13654"/>
                  <a:pt x="949702" y="30437"/>
                </a:cubicBezTo>
                <a:close/>
                <a:moveTo>
                  <a:pt x="593635" y="89509"/>
                </a:moveTo>
                <a:cubicBezTo>
                  <a:pt x="593635" y="106292"/>
                  <a:pt x="607341" y="119946"/>
                  <a:pt x="624188" y="119946"/>
                </a:cubicBezTo>
                <a:cubicBezTo>
                  <a:pt x="641035" y="119946"/>
                  <a:pt x="654740" y="106292"/>
                  <a:pt x="654740" y="89509"/>
                </a:cubicBezTo>
                <a:cubicBezTo>
                  <a:pt x="654740" y="72726"/>
                  <a:pt x="641035" y="59072"/>
                  <a:pt x="624188" y="59072"/>
                </a:cubicBezTo>
                <a:cubicBezTo>
                  <a:pt x="607341" y="59072"/>
                  <a:pt x="593635" y="72726"/>
                  <a:pt x="593635" y="89509"/>
                </a:cubicBezTo>
                <a:close/>
                <a:moveTo>
                  <a:pt x="771621" y="89509"/>
                </a:moveTo>
                <a:cubicBezTo>
                  <a:pt x="771621" y="106292"/>
                  <a:pt x="785327" y="119946"/>
                  <a:pt x="802174" y="119946"/>
                </a:cubicBezTo>
                <a:cubicBezTo>
                  <a:pt x="819021" y="119946"/>
                  <a:pt x="832726" y="106292"/>
                  <a:pt x="832726" y="89509"/>
                </a:cubicBezTo>
                <a:cubicBezTo>
                  <a:pt x="832726" y="72726"/>
                  <a:pt x="819021" y="59072"/>
                  <a:pt x="802174" y="59072"/>
                </a:cubicBezTo>
                <a:cubicBezTo>
                  <a:pt x="785327" y="59072"/>
                  <a:pt x="771621" y="72726"/>
                  <a:pt x="771621" y="89509"/>
                </a:cubicBezTo>
                <a:close/>
                <a:moveTo>
                  <a:pt x="890310" y="89509"/>
                </a:moveTo>
                <a:cubicBezTo>
                  <a:pt x="890310" y="106292"/>
                  <a:pt x="904016" y="119946"/>
                  <a:pt x="920863" y="119946"/>
                </a:cubicBezTo>
                <a:cubicBezTo>
                  <a:pt x="937709" y="119946"/>
                  <a:pt x="951415" y="106292"/>
                  <a:pt x="951415" y="89509"/>
                </a:cubicBezTo>
                <a:cubicBezTo>
                  <a:pt x="951415" y="72726"/>
                  <a:pt x="937709" y="59072"/>
                  <a:pt x="920863" y="59072"/>
                </a:cubicBezTo>
                <a:cubicBezTo>
                  <a:pt x="904016" y="59072"/>
                  <a:pt x="890310" y="72726"/>
                  <a:pt x="890310" y="89509"/>
                </a:cubicBezTo>
                <a:close/>
                <a:moveTo>
                  <a:pt x="474851" y="148676"/>
                </a:moveTo>
                <a:cubicBezTo>
                  <a:pt x="474851" y="165459"/>
                  <a:pt x="488557" y="179113"/>
                  <a:pt x="505404" y="179113"/>
                </a:cubicBezTo>
                <a:cubicBezTo>
                  <a:pt x="522250" y="179113"/>
                  <a:pt x="535956" y="165459"/>
                  <a:pt x="535956" y="148676"/>
                </a:cubicBezTo>
                <a:cubicBezTo>
                  <a:pt x="535956" y="131893"/>
                  <a:pt x="522250" y="118239"/>
                  <a:pt x="505404" y="118239"/>
                </a:cubicBezTo>
                <a:cubicBezTo>
                  <a:pt x="488557" y="118239"/>
                  <a:pt x="474851" y="131893"/>
                  <a:pt x="474851" y="148676"/>
                </a:cubicBezTo>
                <a:close/>
                <a:moveTo>
                  <a:pt x="712324" y="148676"/>
                </a:moveTo>
                <a:cubicBezTo>
                  <a:pt x="712324" y="165459"/>
                  <a:pt x="726030" y="179113"/>
                  <a:pt x="742877" y="179113"/>
                </a:cubicBezTo>
                <a:cubicBezTo>
                  <a:pt x="759724" y="179113"/>
                  <a:pt x="773429" y="165459"/>
                  <a:pt x="773429" y="148676"/>
                </a:cubicBezTo>
                <a:cubicBezTo>
                  <a:pt x="773429" y="131893"/>
                  <a:pt x="759724" y="118239"/>
                  <a:pt x="742877" y="118239"/>
                </a:cubicBezTo>
                <a:cubicBezTo>
                  <a:pt x="726030" y="118239"/>
                  <a:pt x="712324" y="131893"/>
                  <a:pt x="712324" y="148676"/>
                </a:cubicBezTo>
                <a:close/>
                <a:moveTo>
                  <a:pt x="949702" y="148676"/>
                </a:moveTo>
                <a:cubicBezTo>
                  <a:pt x="949702" y="165459"/>
                  <a:pt x="963408" y="179113"/>
                  <a:pt x="980255" y="179113"/>
                </a:cubicBezTo>
                <a:cubicBezTo>
                  <a:pt x="997101" y="179113"/>
                  <a:pt x="1010807" y="165459"/>
                  <a:pt x="1010807" y="148676"/>
                </a:cubicBezTo>
                <a:cubicBezTo>
                  <a:pt x="1010807" y="131893"/>
                  <a:pt x="997101" y="118239"/>
                  <a:pt x="980255" y="118239"/>
                </a:cubicBezTo>
                <a:cubicBezTo>
                  <a:pt x="963408" y="118239"/>
                  <a:pt x="949702" y="131893"/>
                  <a:pt x="949702" y="148676"/>
                </a:cubicBezTo>
                <a:close/>
                <a:moveTo>
                  <a:pt x="474851" y="207843"/>
                </a:moveTo>
                <a:cubicBezTo>
                  <a:pt x="474851" y="224626"/>
                  <a:pt x="488557" y="238280"/>
                  <a:pt x="505404" y="238280"/>
                </a:cubicBezTo>
                <a:cubicBezTo>
                  <a:pt x="522250" y="238280"/>
                  <a:pt x="535956" y="224626"/>
                  <a:pt x="535956" y="207843"/>
                </a:cubicBezTo>
                <a:cubicBezTo>
                  <a:pt x="535956" y="191060"/>
                  <a:pt x="522250" y="177406"/>
                  <a:pt x="505404" y="177406"/>
                </a:cubicBezTo>
                <a:cubicBezTo>
                  <a:pt x="488557" y="177406"/>
                  <a:pt x="474851" y="191060"/>
                  <a:pt x="474851" y="207843"/>
                </a:cubicBezTo>
                <a:close/>
                <a:moveTo>
                  <a:pt x="534243" y="207843"/>
                </a:moveTo>
                <a:cubicBezTo>
                  <a:pt x="534243" y="224626"/>
                  <a:pt x="547949" y="238280"/>
                  <a:pt x="564796" y="238280"/>
                </a:cubicBezTo>
                <a:cubicBezTo>
                  <a:pt x="581643" y="238280"/>
                  <a:pt x="595348" y="224626"/>
                  <a:pt x="595348" y="207843"/>
                </a:cubicBezTo>
                <a:cubicBezTo>
                  <a:pt x="595348" y="191060"/>
                  <a:pt x="581643" y="177406"/>
                  <a:pt x="564796" y="177406"/>
                </a:cubicBezTo>
                <a:cubicBezTo>
                  <a:pt x="547949" y="177406"/>
                  <a:pt x="534243" y="191060"/>
                  <a:pt x="534243" y="207843"/>
                </a:cubicBezTo>
                <a:close/>
                <a:moveTo>
                  <a:pt x="593635" y="207843"/>
                </a:moveTo>
                <a:cubicBezTo>
                  <a:pt x="593635" y="224626"/>
                  <a:pt x="607341" y="238280"/>
                  <a:pt x="624188" y="238280"/>
                </a:cubicBezTo>
                <a:cubicBezTo>
                  <a:pt x="641035" y="238280"/>
                  <a:pt x="654740" y="224626"/>
                  <a:pt x="654740" y="207843"/>
                </a:cubicBezTo>
                <a:cubicBezTo>
                  <a:pt x="654740" y="191060"/>
                  <a:pt x="641035" y="177406"/>
                  <a:pt x="624188" y="177406"/>
                </a:cubicBezTo>
                <a:cubicBezTo>
                  <a:pt x="607341" y="177406"/>
                  <a:pt x="593635" y="191060"/>
                  <a:pt x="593635" y="207843"/>
                </a:cubicBezTo>
                <a:close/>
                <a:moveTo>
                  <a:pt x="652932" y="207843"/>
                </a:moveTo>
                <a:cubicBezTo>
                  <a:pt x="652932" y="224626"/>
                  <a:pt x="666638" y="238280"/>
                  <a:pt x="683485" y="238280"/>
                </a:cubicBezTo>
                <a:cubicBezTo>
                  <a:pt x="700332" y="238280"/>
                  <a:pt x="714037" y="224626"/>
                  <a:pt x="714037" y="207843"/>
                </a:cubicBezTo>
                <a:cubicBezTo>
                  <a:pt x="714037" y="191060"/>
                  <a:pt x="700332" y="177406"/>
                  <a:pt x="683485" y="177406"/>
                </a:cubicBezTo>
                <a:cubicBezTo>
                  <a:pt x="666638" y="177406"/>
                  <a:pt x="652932" y="191060"/>
                  <a:pt x="652932" y="207843"/>
                </a:cubicBezTo>
                <a:close/>
                <a:moveTo>
                  <a:pt x="771621" y="207843"/>
                </a:moveTo>
                <a:cubicBezTo>
                  <a:pt x="771621" y="224626"/>
                  <a:pt x="785327" y="238280"/>
                  <a:pt x="802174" y="238280"/>
                </a:cubicBezTo>
                <a:cubicBezTo>
                  <a:pt x="819021" y="238280"/>
                  <a:pt x="832726" y="224626"/>
                  <a:pt x="832726" y="207843"/>
                </a:cubicBezTo>
                <a:cubicBezTo>
                  <a:pt x="832726" y="191060"/>
                  <a:pt x="819021" y="177406"/>
                  <a:pt x="802174" y="177406"/>
                </a:cubicBezTo>
                <a:cubicBezTo>
                  <a:pt x="785327" y="177406"/>
                  <a:pt x="771621" y="191060"/>
                  <a:pt x="771621" y="207843"/>
                </a:cubicBezTo>
                <a:close/>
                <a:moveTo>
                  <a:pt x="831013" y="207843"/>
                </a:moveTo>
                <a:cubicBezTo>
                  <a:pt x="831013" y="224626"/>
                  <a:pt x="844719" y="238280"/>
                  <a:pt x="861566" y="238280"/>
                </a:cubicBezTo>
                <a:cubicBezTo>
                  <a:pt x="878413" y="238280"/>
                  <a:pt x="892118" y="224626"/>
                  <a:pt x="892118" y="207843"/>
                </a:cubicBezTo>
                <a:cubicBezTo>
                  <a:pt x="892118" y="191060"/>
                  <a:pt x="878413" y="177406"/>
                  <a:pt x="861566" y="177406"/>
                </a:cubicBezTo>
                <a:cubicBezTo>
                  <a:pt x="844719" y="177406"/>
                  <a:pt x="831013" y="191060"/>
                  <a:pt x="831013" y="207843"/>
                </a:cubicBezTo>
                <a:close/>
                <a:moveTo>
                  <a:pt x="474851" y="266915"/>
                </a:moveTo>
                <a:cubicBezTo>
                  <a:pt x="474851" y="283698"/>
                  <a:pt x="488557" y="297352"/>
                  <a:pt x="505404" y="297352"/>
                </a:cubicBezTo>
                <a:cubicBezTo>
                  <a:pt x="522250" y="297352"/>
                  <a:pt x="535956" y="283698"/>
                  <a:pt x="535956" y="266915"/>
                </a:cubicBezTo>
                <a:cubicBezTo>
                  <a:pt x="535956" y="250133"/>
                  <a:pt x="522250" y="236479"/>
                  <a:pt x="505404" y="236479"/>
                </a:cubicBezTo>
                <a:cubicBezTo>
                  <a:pt x="488557" y="236479"/>
                  <a:pt x="474851" y="250133"/>
                  <a:pt x="474851" y="266915"/>
                </a:cubicBezTo>
                <a:close/>
                <a:moveTo>
                  <a:pt x="652932" y="266915"/>
                </a:moveTo>
                <a:cubicBezTo>
                  <a:pt x="652932" y="283698"/>
                  <a:pt x="666638" y="297352"/>
                  <a:pt x="683485" y="297352"/>
                </a:cubicBezTo>
                <a:cubicBezTo>
                  <a:pt x="700332" y="297352"/>
                  <a:pt x="714037" y="283698"/>
                  <a:pt x="714037" y="266915"/>
                </a:cubicBezTo>
                <a:cubicBezTo>
                  <a:pt x="714037" y="250133"/>
                  <a:pt x="700332" y="236479"/>
                  <a:pt x="683485" y="236479"/>
                </a:cubicBezTo>
                <a:cubicBezTo>
                  <a:pt x="666638" y="236479"/>
                  <a:pt x="652932" y="250133"/>
                  <a:pt x="652932" y="266915"/>
                </a:cubicBezTo>
                <a:close/>
                <a:moveTo>
                  <a:pt x="712324" y="266915"/>
                </a:moveTo>
                <a:cubicBezTo>
                  <a:pt x="712324" y="283698"/>
                  <a:pt x="726030" y="297352"/>
                  <a:pt x="742877" y="297352"/>
                </a:cubicBezTo>
                <a:cubicBezTo>
                  <a:pt x="759724" y="297352"/>
                  <a:pt x="773429" y="283698"/>
                  <a:pt x="773429" y="266915"/>
                </a:cubicBezTo>
                <a:cubicBezTo>
                  <a:pt x="773429" y="250133"/>
                  <a:pt x="759724" y="236479"/>
                  <a:pt x="742877" y="236479"/>
                </a:cubicBezTo>
                <a:cubicBezTo>
                  <a:pt x="726030" y="236479"/>
                  <a:pt x="712324" y="250133"/>
                  <a:pt x="712324" y="266915"/>
                </a:cubicBezTo>
                <a:close/>
                <a:moveTo>
                  <a:pt x="831013" y="266915"/>
                </a:moveTo>
                <a:cubicBezTo>
                  <a:pt x="831013" y="283698"/>
                  <a:pt x="844719" y="297352"/>
                  <a:pt x="861566" y="297352"/>
                </a:cubicBezTo>
                <a:cubicBezTo>
                  <a:pt x="878413" y="297352"/>
                  <a:pt x="892118" y="283698"/>
                  <a:pt x="892118" y="266915"/>
                </a:cubicBezTo>
                <a:cubicBezTo>
                  <a:pt x="892118" y="250133"/>
                  <a:pt x="878413" y="236479"/>
                  <a:pt x="861566" y="236479"/>
                </a:cubicBezTo>
                <a:cubicBezTo>
                  <a:pt x="844719" y="236479"/>
                  <a:pt x="831013" y="250133"/>
                  <a:pt x="831013" y="266915"/>
                </a:cubicBezTo>
                <a:close/>
                <a:moveTo>
                  <a:pt x="474851" y="326083"/>
                </a:moveTo>
                <a:cubicBezTo>
                  <a:pt x="474851" y="342866"/>
                  <a:pt x="488557" y="356519"/>
                  <a:pt x="505404" y="356519"/>
                </a:cubicBezTo>
                <a:cubicBezTo>
                  <a:pt x="522250" y="356519"/>
                  <a:pt x="535956" y="342866"/>
                  <a:pt x="535956" y="326083"/>
                </a:cubicBezTo>
                <a:cubicBezTo>
                  <a:pt x="535956" y="309300"/>
                  <a:pt x="522250" y="295646"/>
                  <a:pt x="505404" y="295646"/>
                </a:cubicBezTo>
                <a:cubicBezTo>
                  <a:pt x="488557" y="295646"/>
                  <a:pt x="474851" y="309300"/>
                  <a:pt x="474851" y="326083"/>
                </a:cubicBezTo>
                <a:close/>
                <a:moveTo>
                  <a:pt x="593635" y="326083"/>
                </a:moveTo>
                <a:cubicBezTo>
                  <a:pt x="593635" y="342866"/>
                  <a:pt x="607341" y="356519"/>
                  <a:pt x="624188" y="356519"/>
                </a:cubicBezTo>
                <a:cubicBezTo>
                  <a:pt x="641035" y="356519"/>
                  <a:pt x="654740" y="342866"/>
                  <a:pt x="654740" y="326083"/>
                </a:cubicBezTo>
                <a:cubicBezTo>
                  <a:pt x="654740" y="309300"/>
                  <a:pt x="641035" y="295646"/>
                  <a:pt x="624188" y="295646"/>
                </a:cubicBezTo>
                <a:cubicBezTo>
                  <a:pt x="607341" y="295646"/>
                  <a:pt x="593635" y="309300"/>
                  <a:pt x="593635" y="326083"/>
                </a:cubicBezTo>
                <a:close/>
                <a:moveTo>
                  <a:pt x="831013" y="326083"/>
                </a:moveTo>
                <a:cubicBezTo>
                  <a:pt x="831013" y="342866"/>
                  <a:pt x="844719" y="356519"/>
                  <a:pt x="861566" y="356519"/>
                </a:cubicBezTo>
                <a:cubicBezTo>
                  <a:pt x="878413" y="356519"/>
                  <a:pt x="892118" y="342866"/>
                  <a:pt x="892118" y="326083"/>
                </a:cubicBezTo>
                <a:cubicBezTo>
                  <a:pt x="892118" y="309300"/>
                  <a:pt x="878413" y="295646"/>
                  <a:pt x="861566" y="295646"/>
                </a:cubicBezTo>
                <a:cubicBezTo>
                  <a:pt x="844719" y="295646"/>
                  <a:pt x="831013" y="309300"/>
                  <a:pt x="831013" y="326083"/>
                </a:cubicBezTo>
                <a:close/>
                <a:moveTo>
                  <a:pt x="890310" y="326083"/>
                </a:moveTo>
                <a:cubicBezTo>
                  <a:pt x="890310" y="342866"/>
                  <a:pt x="904016" y="356519"/>
                  <a:pt x="920863" y="356519"/>
                </a:cubicBezTo>
                <a:cubicBezTo>
                  <a:pt x="937709" y="356519"/>
                  <a:pt x="951415" y="342866"/>
                  <a:pt x="951415" y="326083"/>
                </a:cubicBezTo>
                <a:cubicBezTo>
                  <a:pt x="951415" y="309300"/>
                  <a:pt x="937709" y="295646"/>
                  <a:pt x="920863" y="295646"/>
                </a:cubicBezTo>
                <a:cubicBezTo>
                  <a:pt x="904016" y="295646"/>
                  <a:pt x="890310" y="309300"/>
                  <a:pt x="890310" y="326083"/>
                </a:cubicBezTo>
                <a:close/>
                <a:moveTo>
                  <a:pt x="949702" y="326083"/>
                </a:moveTo>
                <a:cubicBezTo>
                  <a:pt x="949702" y="342866"/>
                  <a:pt x="963408" y="356519"/>
                  <a:pt x="980255" y="356519"/>
                </a:cubicBezTo>
                <a:cubicBezTo>
                  <a:pt x="997101" y="356519"/>
                  <a:pt x="1010807" y="342866"/>
                  <a:pt x="1010807" y="326083"/>
                </a:cubicBezTo>
                <a:cubicBezTo>
                  <a:pt x="1010807" y="309300"/>
                  <a:pt x="997101" y="295646"/>
                  <a:pt x="980255" y="295646"/>
                </a:cubicBezTo>
                <a:cubicBezTo>
                  <a:pt x="963408" y="295646"/>
                  <a:pt x="949702" y="309300"/>
                  <a:pt x="949702" y="326083"/>
                </a:cubicBezTo>
                <a:close/>
                <a:moveTo>
                  <a:pt x="474851" y="385155"/>
                </a:moveTo>
                <a:cubicBezTo>
                  <a:pt x="474851" y="401938"/>
                  <a:pt x="488557" y="415592"/>
                  <a:pt x="505404" y="415592"/>
                </a:cubicBezTo>
                <a:cubicBezTo>
                  <a:pt x="522250" y="415592"/>
                  <a:pt x="535956" y="401938"/>
                  <a:pt x="535956" y="385155"/>
                </a:cubicBezTo>
                <a:cubicBezTo>
                  <a:pt x="535956" y="368372"/>
                  <a:pt x="522250" y="354718"/>
                  <a:pt x="505404" y="354718"/>
                </a:cubicBezTo>
                <a:cubicBezTo>
                  <a:pt x="488557" y="354718"/>
                  <a:pt x="474851" y="368372"/>
                  <a:pt x="474851" y="385155"/>
                </a:cubicBezTo>
                <a:close/>
                <a:moveTo>
                  <a:pt x="593635" y="385155"/>
                </a:moveTo>
                <a:cubicBezTo>
                  <a:pt x="593635" y="401938"/>
                  <a:pt x="607341" y="415592"/>
                  <a:pt x="624188" y="415592"/>
                </a:cubicBezTo>
                <a:cubicBezTo>
                  <a:pt x="641035" y="415592"/>
                  <a:pt x="654740" y="401938"/>
                  <a:pt x="654740" y="385155"/>
                </a:cubicBezTo>
                <a:cubicBezTo>
                  <a:pt x="654740" y="368372"/>
                  <a:pt x="641035" y="354718"/>
                  <a:pt x="624188" y="354718"/>
                </a:cubicBezTo>
                <a:cubicBezTo>
                  <a:pt x="607341" y="354718"/>
                  <a:pt x="593635" y="368372"/>
                  <a:pt x="593635" y="385155"/>
                </a:cubicBezTo>
                <a:close/>
                <a:moveTo>
                  <a:pt x="712324" y="385155"/>
                </a:moveTo>
                <a:cubicBezTo>
                  <a:pt x="712324" y="401938"/>
                  <a:pt x="726030" y="415592"/>
                  <a:pt x="742877" y="415592"/>
                </a:cubicBezTo>
                <a:cubicBezTo>
                  <a:pt x="759724" y="415592"/>
                  <a:pt x="773429" y="401938"/>
                  <a:pt x="773429" y="385155"/>
                </a:cubicBezTo>
                <a:cubicBezTo>
                  <a:pt x="773429" y="368372"/>
                  <a:pt x="759724" y="354718"/>
                  <a:pt x="742877" y="354718"/>
                </a:cubicBezTo>
                <a:cubicBezTo>
                  <a:pt x="726030" y="354718"/>
                  <a:pt x="712324" y="368372"/>
                  <a:pt x="712324" y="385155"/>
                </a:cubicBezTo>
                <a:close/>
                <a:moveTo>
                  <a:pt x="831013" y="385155"/>
                </a:moveTo>
                <a:cubicBezTo>
                  <a:pt x="831013" y="401938"/>
                  <a:pt x="844719" y="415592"/>
                  <a:pt x="861566" y="415592"/>
                </a:cubicBezTo>
                <a:cubicBezTo>
                  <a:pt x="878413" y="415592"/>
                  <a:pt x="892118" y="401938"/>
                  <a:pt x="892118" y="385155"/>
                </a:cubicBezTo>
                <a:cubicBezTo>
                  <a:pt x="892118" y="368372"/>
                  <a:pt x="878413" y="354718"/>
                  <a:pt x="861566" y="354718"/>
                </a:cubicBezTo>
                <a:cubicBezTo>
                  <a:pt x="844719" y="354718"/>
                  <a:pt x="831013" y="368372"/>
                  <a:pt x="831013" y="385155"/>
                </a:cubicBezTo>
                <a:close/>
                <a:moveTo>
                  <a:pt x="949702" y="385155"/>
                </a:moveTo>
                <a:cubicBezTo>
                  <a:pt x="949702" y="401938"/>
                  <a:pt x="963408" y="415592"/>
                  <a:pt x="980255" y="415592"/>
                </a:cubicBezTo>
                <a:cubicBezTo>
                  <a:pt x="997101" y="415592"/>
                  <a:pt x="1010807" y="401938"/>
                  <a:pt x="1010807" y="385155"/>
                </a:cubicBezTo>
                <a:cubicBezTo>
                  <a:pt x="1010807" y="368372"/>
                  <a:pt x="997101" y="354718"/>
                  <a:pt x="980255" y="354718"/>
                </a:cubicBezTo>
                <a:cubicBezTo>
                  <a:pt x="963408" y="354718"/>
                  <a:pt x="949702" y="368372"/>
                  <a:pt x="949702" y="385155"/>
                </a:cubicBezTo>
                <a:close/>
                <a:moveTo>
                  <a:pt x="474851" y="444322"/>
                </a:moveTo>
                <a:cubicBezTo>
                  <a:pt x="474851" y="461105"/>
                  <a:pt x="488557" y="474759"/>
                  <a:pt x="505404" y="474759"/>
                </a:cubicBezTo>
                <a:cubicBezTo>
                  <a:pt x="522250" y="474759"/>
                  <a:pt x="535956" y="461105"/>
                  <a:pt x="535956" y="444322"/>
                </a:cubicBezTo>
                <a:cubicBezTo>
                  <a:pt x="535956" y="427539"/>
                  <a:pt x="522250" y="413885"/>
                  <a:pt x="505404" y="413885"/>
                </a:cubicBezTo>
                <a:cubicBezTo>
                  <a:pt x="488557" y="413885"/>
                  <a:pt x="474851" y="427539"/>
                  <a:pt x="474851" y="444322"/>
                </a:cubicBezTo>
                <a:close/>
                <a:moveTo>
                  <a:pt x="831013" y="444322"/>
                </a:moveTo>
                <a:cubicBezTo>
                  <a:pt x="831013" y="461105"/>
                  <a:pt x="844719" y="474759"/>
                  <a:pt x="861566" y="474759"/>
                </a:cubicBezTo>
                <a:cubicBezTo>
                  <a:pt x="878413" y="474759"/>
                  <a:pt x="892118" y="461105"/>
                  <a:pt x="892118" y="444322"/>
                </a:cubicBezTo>
                <a:cubicBezTo>
                  <a:pt x="892118" y="427539"/>
                  <a:pt x="878413" y="413885"/>
                  <a:pt x="861566" y="413885"/>
                </a:cubicBezTo>
                <a:cubicBezTo>
                  <a:pt x="844719" y="413885"/>
                  <a:pt x="831013" y="427539"/>
                  <a:pt x="831013" y="444322"/>
                </a:cubicBezTo>
                <a:close/>
                <a:moveTo>
                  <a:pt x="890310" y="444322"/>
                </a:moveTo>
                <a:cubicBezTo>
                  <a:pt x="890310" y="461105"/>
                  <a:pt x="904016" y="474759"/>
                  <a:pt x="920863" y="474759"/>
                </a:cubicBezTo>
                <a:cubicBezTo>
                  <a:pt x="937709" y="474759"/>
                  <a:pt x="951415" y="461105"/>
                  <a:pt x="951415" y="444322"/>
                </a:cubicBezTo>
                <a:cubicBezTo>
                  <a:pt x="951415" y="427539"/>
                  <a:pt x="937709" y="413885"/>
                  <a:pt x="920863" y="413885"/>
                </a:cubicBezTo>
                <a:cubicBezTo>
                  <a:pt x="904016" y="413885"/>
                  <a:pt x="890310" y="427539"/>
                  <a:pt x="890310" y="444322"/>
                </a:cubicBezTo>
                <a:close/>
                <a:moveTo>
                  <a:pt x="95" y="503394"/>
                </a:moveTo>
                <a:cubicBezTo>
                  <a:pt x="95" y="520177"/>
                  <a:pt x="13801" y="533831"/>
                  <a:pt x="30648" y="533831"/>
                </a:cubicBezTo>
                <a:cubicBezTo>
                  <a:pt x="47495" y="533831"/>
                  <a:pt x="61200" y="520177"/>
                  <a:pt x="61200" y="503394"/>
                </a:cubicBezTo>
                <a:cubicBezTo>
                  <a:pt x="61200" y="486611"/>
                  <a:pt x="47495" y="472957"/>
                  <a:pt x="30648" y="472957"/>
                </a:cubicBezTo>
                <a:cubicBezTo>
                  <a:pt x="13801" y="472957"/>
                  <a:pt x="95" y="486611"/>
                  <a:pt x="95" y="503394"/>
                </a:cubicBezTo>
                <a:close/>
                <a:moveTo>
                  <a:pt x="118784" y="503394"/>
                </a:moveTo>
                <a:cubicBezTo>
                  <a:pt x="118784" y="520177"/>
                  <a:pt x="132490" y="533831"/>
                  <a:pt x="149337" y="533831"/>
                </a:cubicBezTo>
                <a:cubicBezTo>
                  <a:pt x="166184" y="533831"/>
                  <a:pt x="179889" y="520177"/>
                  <a:pt x="179889" y="503394"/>
                </a:cubicBezTo>
                <a:cubicBezTo>
                  <a:pt x="179889" y="486611"/>
                  <a:pt x="166184" y="472957"/>
                  <a:pt x="149337" y="472957"/>
                </a:cubicBezTo>
                <a:cubicBezTo>
                  <a:pt x="132490" y="472957"/>
                  <a:pt x="118784" y="486611"/>
                  <a:pt x="118784" y="503394"/>
                </a:cubicBezTo>
                <a:close/>
                <a:moveTo>
                  <a:pt x="178081" y="503394"/>
                </a:moveTo>
                <a:cubicBezTo>
                  <a:pt x="178081" y="520177"/>
                  <a:pt x="191787" y="533831"/>
                  <a:pt x="208634" y="533831"/>
                </a:cubicBezTo>
                <a:cubicBezTo>
                  <a:pt x="225480" y="533831"/>
                  <a:pt x="239186" y="520177"/>
                  <a:pt x="239186" y="503394"/>
                </a:cubicBezTo>
                <a:cubicBezTo>
                  <a:pt x="239186" y="486611"/>
                  <a:pt x="225480" y="472957"/>
                  <a:pt x="208634" y="472957"/>
                </a:cubicBezTo>
                <a:cubicBezTo>
                  <a:pt x="191787" y="472957"/>
                  <a:pt x="178081" y="486611"/>
                  <a:pt x="178081" y="503394"/>
                </a:cubicBezTo>
                <a:close/>
                <a:moveTo>
                  <a:pt x="237473" y="503394"/>
                </a:moveTo>
                <a:cubicBezTo>
                  <a:pt x="237473" y="520177"/>
                  <a:pt x="251179" y="533831"/>
                  <a:pt x="268026" y="533831"/>
                </a:cubicBezTo>
                <a:cubicBezTo>
                  <a:pt x="284873" y="533831"/>
                  <a:pt x="298578" y="520177"/>
                  <a:pt x="298578" y="503394"/>
                </a:cubicBezTo>
                <a:cubicBezTo>
                  <a:pt x="298578" y="486611"/>
                  <a:pt x="284873" y="472957"/>
                  <a:pt x="268026" y="472957"/>
                </a:cubicBezTo>
                <a:cubicBezTo>
                  <a:pt x="251179" y="472957"/>
                  <a:pt x="237473" y="486611"/>
                  <a:pt x="237473" y="503394"/>
                </a:cubicBezTo>
                <a:close/>
                <a:moveTo>
                  <a:pt x="296865" y="503394"/>
                </a:moveTo>
                <a:cubicBezTo>
                  <a:pt x="296865" y="520177"/>
                  <a:pt x="310571" y="533831"/>
                  <a:pt x="327418" y="533831"/>
                </a:cubicBezTo>
                <a:cubicBezTo>
                  <a:pt x="344265" y="533831"/>
                  <a:pt x="357970" y="520177"/>
                  <a:pt x="357970" y="503394"/>
                </a:cubicBezTo>
                <a:cubicBezTo>
                  <a:pt x="357970" y="486611"/>
                  <a:pt x="344265" y="472957"/>
                  <a:pt x="327418" y="472957"/>
                </a:cubicBezTo>
                <a:cubicBezTo>
                  <a:pt x="310571" y="472957"/>
                  <a:pt x="296865" y="486611"/>
                  <a:pt x="296865" y="503394"/>
                </a:cubicBezTo>
                <a:close/>
                <a:moveTo>
                  <a:pt x="356162" y="503394"/>
                </a:moveTo>
                <a:cubicBezTo>
                  <a:pt x="356162" y="520177"/>
                  <a:pt x="369868" y="533831"/>
                  <a:pt x="386715" y="533831"/>
                </a:cubicBezTo>
                <a:cubicBezTo>
                  <a:pt x="403562" y="533831"/>
                  <a:pt x="417267" y="520177"/>
                  <a:pt x="417267" y="503394"/>
                </a:cubicBezTo>
                <a:cubicBezTo>
                  <a:pt x="417267" y="486611"/>
                  <a:pt x="403562" y="472957"/>
                  <a:pt x="386715" y="472957"/>
                </a:cubicBezTo>
                <a:cubicBezTo>
                  <a:pt x="369868" y="472957"/>
                  <a:pt x="356162" y="486611"/>
                  <a:pt x="356162" y="503394"/>
                </a:cubicBezTo>
                <a:close/>
                <a:moveTo>
                  <a:pt x="534243" y="503394"/>
                </a:moveTo>
                <a:cubicBezTo>
                  <a:pt x="534243" y="520177"/>
                  <a:pt x="547949" y="533831"/>
                  <a:pt x="564796" y="533831"/>
                </a:cubicBezTo>
                <a:cubicBezTo>
                  <a:pt x="581643" y="533831"/>
                  <a:pt x="595348" y="520177"/>
                  <a:pt x="595348" y="503394"/>
                </a:cubicBezTo>
                <a:cubicBezTo>
                  <a:pt x="595348" y="486611"/>
                  <a:pt x="581643" y="472957"/>
                  <a:pt x="564796" y="472957"/>
                </a:cubicBezTo>
                <a:cubicBezTo>
                  <a:pt x="547949" y="472957"/>
                  <a:pt x="534243" y="486611"/>
                  <a:pt x="534243" y="503394"/>
                </a:cubicBezTo>
                <a:close/>
                <a:moveTo>
                  <a:pt x="712324" y="503394"/>
                </a:moveTo>
                <a:cubicBezTo>
                  <a:pt x="712324" y="520177"/>
                  <a:pt x="726030" y="533831"/>
                  <a:pt x="742877" y="533831"/>
                </a:cubicBezTo>
                <a:cubicBezTo>
                  <a:pt x="759724" y="533831"/>
                  <a:pt x="773429" y="520177"/>
                  <a:pt x="773429" y="503394"/>
                </a:cubicBezTo>
                <a:cubicBezTo>
                  <a:pt x="773429" y="486611"/>
                  <a:pt x="759724" y="472957"/>
                  <a:pt x="742877" y="472957"/>
                </a:cubicBezTo>
                <a:cubicBezTo>
                  <a:pt x="726030" y="472957"/>
                  <a:pt x="712324" y="486611"/>
                  <a:pt x="712324" y="503394"/>
                </a:cubicBezTo>
                <a:close/>
                <a:moveTo>
                  <a:pt x="771621" y="503394"/>
                </a:moveTo>
                <a:cubicBezTo>
                  <a:pt x="771621" y="520177"/>
                  <a:pt x="785327" y="533831"/>
                  <a:pt x="802174" y="533831"/>
                </a:cubicBezTo>
                <a:cubicBezTo>
                  <a:pt x="819021" y="533831"/>
                  <a:pt x="832726" y="520177"/>
                  <a:pt x="832726" y="503394"/>
                </a:cubicBezTo>
                <a:cubicBezTo>
                  <a:pt x="832726" y="486611"/>
                  <a:pt x="819021" y="472957"/>
                  <a:pt x="802174" y="472957"/>
                </a:cubicBezTo>
                <a:cubicBezTo>
                  <a:pt x="785327" y="472957"/>
                  <a:pt x="771621" y="486611"/>
                  <a:pt x="771621" y="503394"/>
                </a:cubicBezTo>
                <a:close/>
                <a:moveTo>
                  <a:pt x="949702" y="503394"/>
                </a:moveTo>
                <a:cubicBezTo>
                  <a:pt x="949702" y="520177"/>
                  <a:pt x="963408" y="533831"/>
                  <a:pt x="980255" y="533831"/>
                </a:cubicBezTo>
                <a:cubicBezTo>
                  <a:pt x="997101" y="533831"/>
                  <a:pt x="1010807" y="520177"/>
                  <a:pt x="1010807" y="503394"/>
                </a:cubicBezTo>
                <a:cubicBezTo>
                  <a:pt x="1010807" y="486611"/>
                  <a:pt x="997101" y="472957"/>
                  <a:pt x="980255" y="472957"/>
                </a:cubicBezTo>
                <a:cubicBezTo>
                  <a:pt x="963408" y="472957"/>
                  <a:pt x="949702" y="486611"/>
                  <a:pt x="949702" y="503394"/>
                </a:cubicBezTo>
                <a:close/>
                <a:moveTo>
                  <a:pt x="1068391" y="503394"/>
                </a:moveTo>
                <a:cubicBezTo>
                  <a:pt x="1068391" y="520177"/>
                  <a:pt x="1082097" y="533831"/>
                  <a:pt x="1098944" y="533831"/>
                </a:cubicBezTo>
                <a:cubicBezTo>
                  <a:pt x="1115790" y="533831"/>
                  <a:pt x="1129496" y="520177"/>
                  <a:pt x="1129496" y="503394"/>
                </a:cubicBezTo>
                <a:cubicBezTo>
                  <a:pt x="1129496" y="486611"/>
                  <a:pt x="1115790" y="472957"/>
                  <a:pt x="1098944" y="472957"/>
                </a:cubicBezTo>
                <a:cubicBezTo>
                  <a:pt x="1082097" y="472957"/>
                  <a:pt x="1068391" y="486611"/>
                  <a:pt x="1068391" y="503394"/>
                </a:cubicBezTo>
                <a:close/>
                <a:moveTo>
                  <a:pt x="1127783" y="503394"/>
                </a:moveTo>
                <a:cubicBezTo>
                  <a:pt x="1127783" y="520177"/>
                  <a:pt x="1141489" y="533831"/>
                  <a:pt x="1158336" y="533831"/>
                </a:cubicBezTo>
                <a:cubicBezTo>
                  <a:pt x="1175183" y="533831"/>
                  <a:pt x="1188888" y="520177"/>
                  <a:pt x="1188888" y="503394"/>
                </a:cubicBezTo>
                <a:cubicBezTo>
                  <a:pt x="1188888" y="486611"/>
                  <a:pt x="1175183" y="472957"/>
                  <a:pt x="1158336" y="472957"/>
                </a:cubicBezTo>
                <a:cubicBezTo>
                  <a:pt x="1141489" y="472957"/>
                  <a:pt x="1127783" y="486611"/>
                  <a:pt x="1127783" y="503394"/>
                </a:cubicBezTo>
                <a:close/>
                <a:moveTo>
                  <a:pt x="1187080" y="503394"/>
                </a:moveTo>
                <a:cubicBezTo>
                  <a:pt x="1187080" y="520177"/>
                  <a:pt x="1200786" y="533831"/>
                  <a:pt x="1217633" y="533831"/>
                </a:cubicBezTo>
                <a:cubicBezTo>
                  <a:pt x="1234479" y="533831"/>
                  <a:pt x="1248185" y="520177"/>
                  <a:pt x="1248185" y="503394"/>
                </a:cubicBezTo>
                <a:cubicBezTo>
                  <a:pt x="1248185" y="486611"/>
                  <a:pt x="1234479" y="472957"/>
                  <a:pt x="1217633" y="472957"/>
                </a:cubicBezTo>
                <a:cubicBezTo>
                  <a:pt x="1200786" y="472957"/>
                  <a:pt x="1187080" y="486611"/>
                  <a:pt x="1187080" y="503394"/>
                </a:cubicBezTo>
                <a:close/>
                <a:moveTo>
                  <a:pt x="1246472" y="503394"/>
                </a:moveTo>
                <a:cubicBezTo>
                  <a:pt x="1246472" y="520177"/>
                  <a:pt x="1260178" y="533831"/>
                  <a:pt x="1277025" y="533831"/>
                </a:cubicBezTo>
                <a:cubicBezTo>
                  <a:pt x="1293872" y="533831"/>
                  <a:pt x="1307577" y="520177"/>
                  <a:pt x="1307577" y="503394"/>
                </a:cubicBezTo>
                <a:cubicBezTo>
                  <a:pt x="1307577" y="486611"/>
                  <a:pt x="1293872" y="472957"/>
                  <a:pt x="1277025" y="472957"/>
                </a:cubicBezTo>
                <a:cubicBezTo>
                  <a:pt x="1260178" y="472957"/>
                  <a:pt x="1246472" y="486611"/>
                  <a:pt x="1246472" y="503394"/>
                </a:cubicBezTo>
                <a:close/>
                <a:moveTo>
                  <a:pt x="1305769" y="503394"/>
                </a:moveTo>
                <a:cubicBezTo>
                  <a:pt x="1305769" y="520177"/>
                  <a:pt x="1319475" y="533831"/>
                  <a:pt x="1336322" y="533831"/>
                </a:cubicBezTo>
                <a:cubicBezTo>
                  <a:pt x="1353168" y="533831"/>
                  <a:pt x="1366874" y="520177"/>
                  <a:pt x="1366874" y="503394"/>
                </a:cubicBezTo>
                <a:cubicBezTo>
                  <a:pt x="1366874" y="486611"/>
                  <a:pt x="1353168" y="472957"/>
                  <a:pt x="1336322" y="472957"/>
                </a:cubicBezTo>
                <a:cubicBezTo>
                  <a:pt x="1319475" y="472957"/>
                  <a:pt x="1305769" y="486611"/>
                  <a:pt x="1305769" y="503394"/>
                </a:cubicBezTo>
                <a:close/>
                <a:moveTo>
                  <a:pt x="95" y="562561"/>
                </a:moveTo>
                <a:cubicBezTo>
                  <a:pt x="95" y="579344"/>
                  <a:pt x="13801" y="592998"/>
                  <a:pt x="30648" y="592998"/>
                </a:cubicBezTo>
                <a:cubicBezTo>
                  <a:pt x="47495" y="592998"/>
                  <a:pt x="61200" y="579344"/>
                  <a:pt x="61200" y="562561"/>
                </a:cubicBezTo>
                <a:cubicBezTo>
                  <a:pt x="61200" y="545778"/>
                  <a:pt x="47495" y="532124"/>
                  <a:pt x="30648" y="532124"/>
                </a:cubicBezTo>
                <a:cubicBezTo>
                  <a:pt x="13801" y="532124"/>
                  <a:pt x="95" y="545778"/>
                  <a:pt x="95" y="562561"/>
                </a:cubicBezTo>
                <a:close/>
                <a:moveTo>
                  <a:pt x="118784" y="562561"/>
                </a:moveTo>
                <a:cubicBezTo>
                  <a:pt x="118784" y="579344"/>
                  <a:pt x="132490" y="592998"/>
                  <a:pt x="149337" y="592998"/>
                </a:cubicBezTo>
                <a:cubicBezTo>
                  <a:pt x="166184" y="592998"/>
                  <a:pt x="179889" y="579344"/>
                  <a:pt x="179889" y="562561"/>
                </a:cubicBezTo>
                <a:cubicBezTo>
                  <a:pt x="179889" y="545778"/>
                  <a:pt x="166184" y="532124"/>
                  <a:pt x="149337" y="532124"/>
                </a:cubicBezTo>
                <a:cubicBezTo>
                  <a:pt x="132490" y="532124"/>
                  <a:pt x="118784" y="545778"/>
                  <a:pt x="118784" y="562561"/>
                </a:cubicBezTo>
                <a:close/>
                <a:moveTo>
                  <a:pt x="237473" y="562561"/>
                </a:moveTo>
                <a:cubicBezTo>
                  <a:pt x="237473" y="579344"/>
                  <a:pt x="251179" y="592998"/>
                  <a:pt x="268026" y="592998"/>
                </a:cubicBezTo>
                <a:cubicBezTo>
                  <a:pt x="284873" y="592998"/>
                  <a:pt x="298578" y="579344"/>
                  <a:pt x="298578" y="562561"/>
                </a:cubicBezTo>
                <a:cubicBezTo>
                  <a:pt x="298578" y="545778"/>
                  <a:pt x="284873" y="532124"/>
                  <a:pt x="268026" y="532124"/>
                </a:cubicBezTo>
                <a:cubicBezTo>
                  <a:pt x="251179" y="532124"/>
                  <a:pt x="237473" y="545778"/>
                  <a:pt x="237473" y="562561"/>
                </a:cubicBezTo>
                <a:close/>
                <a:moveTo>
                  <a:pt x="534243" y="562561"/>
                </a:moveTo>
                <a:cubicBezTo>
                  <a:pt x="534243" y="579344"/>
                  <a:pt x="547949" y="592998"/>
                  <a:pt x="564796" y="592998"/>
                </a:cubicBezTo>
                <a:cubicBezTo>
                  <a:pt x="581643" y="592998"/>
                  <a:pt x="595348" y="579344"/>
                  <a:pt x="595348" y="562561"/>
                </a:cubicBezTo>
                <a:cubicBezTo>
                  <a:pt x="595348" y="545778"/>
                  <a:pt x="581643" y="532124"/>
                  <a:pt x="564796" y="532124"/>
                </a:cubicBezTo>
                <a:cubicBezTo>
                  <a:pt x="547949" y="532124"/>
                  <a:pt x="534243" y="545778"/>
                  <a:pt x="534243" y="562561"/>
                </a:cubicBezTo>
                <a:close/>
                <a:moveTo>
                  <a:pt x="712324" y="562561"/>
                </a:moveTo>
                <a:cubicBezTo>
                  <a:pt x="712324" y="579344"/>
                  <a:pt x="726030" y="592998"/>
                  <a:pt x="742877" y="592998"/>
                </a:cubicBezTo>
                <a:cubicBezTo>
                  <a:pt x="759724" y="592998"/>
                  <a:pt x="773429" y="579344"/>
                  <a:pt x="773429" y="562561"/>
                </a:cubicBezTo>
                <a:cubicBezTo>
                  <a:pt x="773429" y="545778"/>
                  <a:pt x="759724" y="532124"/>
                  <a:pt x="742877" y="532124"/>
                </a:cubicBezTo>
                <a:cubicBezTo>
                  <a:pt x="726030" y="532124"/>
                  <a:pt x="712324" y="545778"/>
                  <a:pt x="712324" y="562561"/>
                </a:cubicBezTo>
                <a:close/>
                <a:moveTo>
                  <a:pt x="771621" y="562561"/>
                </a:moveTo>
                <a:cubicBezTo>
                  <a:pt x="771621" y="579344"/>
                  <a:pt x="785327" y="592998"/>
                  <a:pt x="802174" y="592998"/>
                </a:cubicBezTo>
                <a:cubicBezTo>
                  <a:pt x="819021" y="592998"/>
                  <a:pt x="832726" y="579344"/>
                  <a:pt x="832726" y="562561"/>
                </a:cubicBezTo>
                <a:cubicBezTo>
                  <a:pt x="832726" y="545778"/>
                  <a:pt x="819021" y="532124"/>
                  <a:pt x="802174" y="532124"/>
                </a:cubicBezTo>
                <a:cubicBezTo>
                  <a:pt x="785327" y="532124"/>
                  <a:pt x="771621" y="545778"/>
                  <a:pt x="771621" y="562561"/>
                </a:cubicBezTo>
                <a:close/>
                <a:moveTo>
                  <a:pt x="949702" y="562561"/>
                </a:moveTo>
                <a:cubicBezTo>
                  <a:pt x="949702" y="579344"/>
                  <a:pt x="963408" y="592998"/>
                  <a:pt x="980255" y="592998"/>
                </a:cubicBezTo>
                <a:cubicBezTo>
                  <a:pt x="997101" y="592998"/>
                  <a:pt x="1010807" y="579344"/>
                  <a:pt x="1010807" y="562561"/>
                </a:cubicBezTo>
                <a:cubicBezTo>
                  <a:pt x="1010807" y="545778"/>
                  <a:pt x="997101" y="532124"/>
                  <a:pt x="980255" y="532124"/>
                </a:cubicBezTo>
                <a:cubicBezTo>
                  <a:pt x="963408" y="532124"/>
                  <a:pt x="949702" y="545778"/>
                  <a:pt x="949702" y="562561"/>
                </a:cubicBezTo>
                <a:close/>
                <a:moveTo>
                  <a:pt x="1009094" y="562561"/>
                </a:moveTo>
                <a:cubicBezTo>
                  <a:pt x="1009094" y="579344"/>
                  <a:pt x="1022800" y="592998"/>
                  <a:pt x="1039647" y="592998"/>
                </a:cubicBezTo>
                <a:cubicBezTo>
                  <a:pt x="1056494" y="592998"/>
                  <a:pt x="1070199" y="579344"/>
                  <a:pt x="1070199" y="562561"/>
                </a:cubicBezTo>
                <a:cubicBezTo>
                  <a:pt x="1070199" y="545778"/>
                  <a:pt x="1056494" y="532124"/>
                  <a:pt x="1039647" y="532124"/>
                </a:cubicBezTo>
                <a:cubicBezTo>
                  <a:pt x="1022800" y="532124"/>
                  <a:pt x="1009094" y="545778"/>
                  <a:pt x="1009094" y="562561"/>
                </a:cubicBezTo>
                <a:close/>
                <a:moveTo>
                  <a:pt x="1127783" y="562561"/>
                </a:moveTo>
                <a:cubicBezTo>
                  <a:pt x="1127783" y="579344"/>
                  <a:pt x="1141489" y="592998"/>
                  <a:pt x="1158336" y="592998"/>
                </a:cubicBezTo>
                <a:cubicBezTo>
                  <a:pt x="1175183" y="592998"/>
                  <a:pt x="1188888" y="579344"/>
                  <a:pt x="1188888" y="562561"/>
                </a:cubicBezTo>
                <a:cubicBezTo>
                  <a:pt x="1188888" y="545778"/>
                  <a:pt x="1175183" y="532124"/>
                  <a:pt x="1158336" y="532124"/>
                </a:cubicBezTo>
                <a:cubicBezTo>
                  <a:pt x="1141489" y="532124"/>
                  <a:pt x="1127783" y="545778"/>
                  <a:pt x="1127783" y="562561"/>
                </a:cubicBezTo>
                <a:close/>
                <a:moveTo>
                  <a:pt x="1365161" y="562561"/>
                </a:moveTo>
                <a:cubicBezTo>
                  <a:pt x="1365161" y="579344"/>
                  <a:pt x="1378867" y="592998"/>
                  <a:pt x="1395714" y="592998"/>
                </a:cubicBezTo>
                <a:cubicBezTo>
                  <a:pt x="1412561" y="592998"/>
                  <a:pt x="1426266" y="579344"/>
                  <a:pt x="1426266" y="562561"/>
                </a:cubicBezTo>
                <a:cubicBezTo>
                  <a:pt x="1426266" y="545778"/>
                  <a:pt x="1412561" y="532124"/>
                  <a:pt x="1395714" y="532124"/>
                </a:cubicBezTo>
                <a:cubicBezTo>
                  <a:pt x="1378867" y="532124"/>
                  <a:pt x="1365161" y="545778"/>
                  <a:pt x="1365161" y="562561"/>
                </a:cubicBezTo>
                <a:close/>
                <a:moveTo>
                  <a:pt x="95" y="621728"/>
                </a:moveTo>
                <a:cubicBezTo>
                  <a:pt x="95" y="638511"/>
                  <a:pt x="13801" y="652165"/>
                  <a:pt x="30648" y="652165"/>
                </a:cubicBezTo>
                <a:cubicBezTo>
                  <a:pt x="47495" y="652165"/>
                  <a:pt x="61200" y="638511"/>
                  <a:pt x="61200" y="621728"/>
                </a:cubicBezTo>
                <a:cubicBezTo>
                  <a:pt x="61200" y="604945"/>
                  <a:pt x="47495" y="591291"/>
                  <a:pt x="30648" y="591291"/>
                </a:cubicBezTo>
                <a:cubicBezTo>
                  <a:pt x="13801" y="591291"/>
                  <a:pt x="95" y="604945"/>
                  <a:pt x="95" y="621728"/>
                </a:cubicBezTo>
                <a:close/>
                <a:moveTo>
                  <a:pt x="118784" y="621728"/>
                </a:moveTo>
                <a:cubicBezTo>
                  <a:pt x="118784" y="638511"/>
                  <a:pt x="132490" y="652165"/>
                  <a:pt x="149337" y="652165"/>
                </a:cubicBezTo>
                <a:cubicBezTo>
                  <a:pt x="166184" y="652165"/>
                  <a:pt x="179889" y="638511"/>
                  <a:pt x="179889" y="621728"/>
                </a:cubicBezTo>
                <a:cubicBezTo>
                  <a:pt x="179889" y="604945"/>
                  <a:pt x="166184" y="591291"/>
                  <a:pt x="149337" y="591291"/>
                </a:cubicBezTo>
                <a:cubicBezTo>
                  <a:pt x="132490" y="591291"/>
                  <a:pt x="118784" y="604945"/>
                  <a:pt x="118784" y="621728"/>
                </a:cubicBezTo>
                <a:close/>
                <a:moveTo>
                  <a:pt x="237473" y="621728"/>
                </a:moveTo>
                <a:cubicBezTo>
                  <a:pt x="237473" y="638511"/>
                  <a:pt x="251179" y="652165"/>
                  <a:pt x="268026" y="652165"/>
                </a:cubicBezTo>
                <a:cubicBezTo>
                  <a:pt x="284873" y="652165"/>
                  <a:pt x="298578" y="638511"/>
                  <a:pt x="298578" y="621728"/>
                </a:cubicBezTo>
                <a:cubicBezTo>
                  <a:pt x="298578" y="604945"/>
                  <a:pt x="284873" y="591291"/>
                  <a:pt x="268026" y="591291"/>
                </a:cubicBezTo>
                <a:cubicBezTo>
                  <a:pt x="251179" y="591291"/>
                  <a:pt x="237473" y="604945"/>
                  <a:pt x="237473" y="621728"/>
                </a:cubicBezTo>
                <a:close/>
                <a:moveTo>
                  <a:pt x="296865" y="621728"/>
                </a:moveTo>
                <a:cubicBezTo>
                  <a:pt x="296865" y="638511"/>
                  <a:pt x="310571" y="652165"/>
                  <a:pt x="327418" y="652165"/>
                </a:cubicBezTo>
                <a:cubicBezTo>
                  <a:pt x="344265" y="652165"/>
                  <a:pt x="357970" y="638511"/>
                  <a:pt x="357970" y="621728"/>
                </a:cubicBezTo>
                <a:cubicBezTo>
                  <a:pt x="357970" y="604945"/>
                  <a:pt x="344265" y="591291"/>
                  <a:pt x="327418" y="591291"/>
                </a:cubicBezTo>
                <a:cubicBezTo>
                  <a:pt x="310571" y="591291"/>
                  <a:pt x="296865" y="604945"/>
                  <a:pt x="296865" y="621728"/>
                </a:cubicBezTo>
                <a:close/>
                <a:moveTo>
                  <a:pt x="356162" y="621728"/>
                </a:moveTo>
                <a:cubicBezTo>
                  <a:pt x="356162" y="638511"/>
                  <a:pt x="369868" y="652165"/>
                  <a:pt x="386715" y="652165"/>
                </a:cubicBezTo>
                <a:cubicBezTo>
                  <a:pt x="403562" y="652165"/>
                  <a:pt x="417267" y="638511"/>
                  <a:pt x="417267" y="621728"/>
                </a:cubicBezTo>
                <a:cubicBezTo>
                  <a:pt x="417267" y="604945"/>
                  <a:pt x="403562" y="591291"/>
                  <a:pt x="386715" y="591291"/>
                </a:cubicBezTo>
                <a:cubicBezTo>
                  <a:pt x="369868" y="591291"/>
                  <a:pt x="356162" y="604945"/>
                  <a:pt x="356162" y="621728"/>
                </a:cubicBezTo>
                <a:close/>
                <a:moveTo>
                  <a:pt x="474851" y="621728"/>
                </a:moveTo>
                <a:cubicBezTo>
                  <a:pt x="474851" y="638511"/>
                  <a:pt x="488557" y="652165"/>
                  <a:pt x="505404" y="652165"/>
                </a:cubicBezTo>
                <a:cubicBezTo>
                  <a:pt x="522250" y="652165"/>
                  <a:pt x="535956" y="638511"/>
                  <a:pt x="535956" y="621728"/>
                </a:cubicBezTo>
                <a:cubicBezTo>
                  <a:pt x="535956" y="604945"/>
                  <a:pt x="522250" y="591291"/>
                  <a:pt x="505404" y="591291"/>
                </a:cubicBezTo>
                <a:cubicBezTo>
                  <a:pt x="488557" y="591291"/>
                  <a:pt x="474851" y="604945"/>
                  <a:pt x="474851" y="621728"/>
                </a:cubicBezTo>
                <a:close/>
                <a:moveTo>
                  <a:pt x="593635" y="621728"/>
                </a:moveTo>
                <a:cubicBezTo>
                  <a:pt x="593635" y="638511"/>
                  <a:pt x="607341" y="652165"/>
                  <a:pt x="624188" y="652165"/>
                </a:cubicBezTo>
                <a:cubicBezTo>
                  <a:pt x="641035" y="652165"/>
                  <a:pt x="654740" y="638511"/>
                  <a:pt x="654740" y="621728"/>
                </a:cubicBezTo>
                <a:cubicBezTo>
                  <a:pt x="654740" y="604945"/>
                  <a:pt x="641035" y="591291"/>
                  <a:pt x="624188" y="591291"/>
                </a:cubicBezTo>
                <a:cubicBezTo>
                  <a:pt x="607341" y="591291"/>
                  <a:pt x="593635" y="604945"/>
                  <a:pt x="593635" y="621728"/>
                </a:cubicBezTo>
                <a:close/>
                <a:moveTo>
                  <a:pt x="652932" y="621728"/>
                </a:moveTo>
                <a:cubicBezTo>
                  <a:pt x="652932" y="638511"/>
                  <a:pt x="666638" y="652165"/>
                  <a:pt x="683485" y="652165"/>
                </a:cubicBezTo>
                <a:cubicBezTo>
                  <a:pt x="700332" y="652165"/>
                  <a:pt x="714037" y="638511"/>
                  <a:pt x="714037" y="621728"/>
                </a:cubicBezTo>
                <a:cubicBezTo>
                  <a:pt x="714037" y="604945"/>
                  <a:pt x="700332" y="591291"/>
                  <a:pt x="683485" y="591291"/>
                </a:cubicBezTo>
                <a:cubicBezTo>
                  <a:pt x="666638" y="591291"/>
                  <a:pt x="652932" y="604945"/>
                  <a:pt x="652932" y="621728"/>
                </a:cubicBezTo>
                <a:close/>
                <a:moveTo>
                  <a:pt x="712324" y="621728"/>
                </a:moveTo>
                <a:cubicBezTo>
                  <a:pt x="712324" y="638511"/>
                  <a:pt x="726030" y="652165"/>
                  <a:pt x="742877" y="652165"/>
                </a:cubicBezTo>
                <a:cubicBezTo>
                  <a:pt x="759724" y="652165"/>
                  <a:pt x="773429" y="638511"/>
                  <a:pt x="773429" y="621728"/>
                </a:cubicBezTo>
                <a:cubicBezTo>
                  <a:pt x="773429" y="604945"/>
                  <a:pt x="759724" y="591291"/>
                  <a:pt x="742877" y="591291"/>
                </a:cubicBezTo>
                <a:cubicBezTo>
                  <a:pt x="726030" y="591291"/>
                  <a:pt x="712324" y="604945"/>
                  <a:pt x="712324" y="621728"/>
                </a:cubicBezTo>
                <a:close/>
                <a:moveTo>
                  <a:pt x="771621" y="621728"/>
                </a:moveTo>
                <a:cubicBezTo>
                  <a:pt x="771621" y="638511"/>
                  <a:pt x="785327" y="652165"/>
                  <a:pt x="802174" y="652165"/>
                </a:cubicBezTo>
                <a:cubicBezTo>
                  <a:pt x="819021" y="652165"/>
                  <a:pt x="832726" y="638511"/>
                  <a:pt x="832726" y="621728"/>
                </a:cubicBezTo>
                <a:cubicBezTo>
                  <a:pt x="832726" y="604945"/>
                  <a:pt x="819021" y="591291"/>
                  <a:pt x="802174" y="591291"/>
                </a:cubicBezTo>
                <a:cubicBezTo>
                  <a:pt x="785327" y="591291"/>
                  <a:pt x="771621" y="604945"/>
                  <a:pt x="771621" y="621728"/>
                </a:cubicBezTo>
                <a:close/>
                <a:moveTo>
                  <a:pt x="831013" y="621728"/>
                </a:moveTo>
                <a:cubicBezTo>
                  <a:pt x="831013" y="638511"/>
                  <a:pt x="844719" y="652165"/>
                  <a:pt x="861566" y="652165"/>
                </a:cubicBezTo>
                <a:cubicBezTo>
                  <a:pt x="878413" y="652165"/>
                  <a:pt x="892118" y="638511"/>
                  <a:pt x="892118" y="621728"/>
                </a:cubicBezTo>
                <a:cubicBezTo>
                  <a:pt x="892118" y="604945"/>
                  <a:pt x="878413" y="591291"/>
                  <a:pt x="861566" y="591291"/>
                </a:cubicBezTo>
                <a:cubicBezTo>
                  <a:pt x="844719" y="591291"/>
                  <a:pt x="831013" y="604945"/>
                  <a:pt x="831013" y="621728"/>
                </a:cubicBezTo>
                <a:close/>
                <a:moveTo>
                  <a:pt x="890310" y="621728"/>
                </a:moveTo>
                <a:cubicBezTo>
                  <a:pt x="890310" y="638511"/>
                  <a:pt x="904016" y="652165"/>
                  <a:pt x="920863" y="652165"/>
                </a:cubicBezTo>
                <a:cubicBezTo>
                  <a:pt x="937709" y="652165"/>
                  <a:pt x="951415" y="638511"/>
                  <a:pt x="951415" y="621728"/>
                </a:cubicBezTo>
                <a:cubicBezTo>
                  <a:pt x="951415" y="604945"/>
                  <a:pt x="937709" y="591291"/>
                  <a:pt x="920863" y="591291"/>
                </a:cubicBezTo>
                <a:cubicBezTo>
                  <a:pt x="904016" y="591291"/>
                  <a:pt x="890310" y="604945"/>
                  <a:pt x="890310" y="621728"/>
                </a:cubicBezTo>
                <a:close/>
                <a:moveTo>
                  <a:pt x="949702" y="621728"/>
                </a:moveTo>
                <a:cubicBezTo>
                  <a:pt x="949702" y="638511"/>
                  <a:pt x="963408" y="652165"/>
                  <a:pt x="980255" y="652165"/>
                </a:cubicBezTo>
                <a:cubicBezTo>
                  <a:pt x="997101" y="652165"/>
                  <a:pt x="1010807" y="638511"/>
                  <a:pt x="1010807" y="621728"/>
                </a:cubicBezTo>
                <a:cubicBezTo>
                  <a:pt x="1010807" y="604945"/>
                  <a:pt x="997101" y="591291"/>
                  <a:pt x="980255" y="591291"/>
                </a:cubicBezTo>
                <a:cubicBezTo>
                  <a:pt x="963408" y="591291"/>
                  <a:pt x="949702" y="604945"/>
                  <a:pt x="949702" y="621728"/>
                </a:cubicBezTo>
                <a:close/>
                <a:moveTo>
                  <a:pt x="1009094" y="621728"/>
                </a:moveTo>
                <a:cubicBezTo>
                  <a:pt x="1009094" y="638511"/>
                  <a:pt x="1022800" y="652165"/>
                  <a:pt x="1039647" y="652165"/>
                </a:cubicBezTo>
                <a:cubicBezTo>
                  <a:pt x="1056494" y="652165"/>
                  <a:pt x="1070199" y="638511"/>
                  <a:pt x="1070199" y="621728"/>
                </a:cubicBezTo>
                <a:cubicBezTo>
                  <a:pt x="1070199" y="604945"/>
                  <a:pt x="1056494" y="591291"/>
                  <a:pt x="1039647" y="591291"/>
                </a:cubicBezTo>
                <a:cubicBezTo>
                  <a:pt x="1022800" y="591291"/>
                  <a:pt x="1009094" y="604945"/>
                  <a:pt x="1009094" y="621728"/>
                </a:cubicBezTo>
                <a:close/>
                <a:moveTo>
                  <a:pt x="1068391" y="621728"/>
                </a:moveTo>
                <a:cubicBezTo>
                  <a:pt x="1068391" y="638511"/>
                  <a:pt x="1082097" y="652165"/>
                  <a:pt x="1098944" y="652165"/>
                </a:cubicBezTo>
                <a:cubicBezTo>
                  <a:pt x="1115790" y="652165"/>
                  <a:pt x="1129496" y="638511"/>
                  <a:pt x="1129496" y="621728"/>
                </a:cubicBezTo>
                <a:cubicBezTo>
                  <a:pt x="1129496" y="604945"/>
                  <a:pt x="1115790" y="591291"/>
                  <a:pt x="1098944" y="591291"/>
                </a:cubicBezTo>
                <a:cubicBezTo>
                  <a:pt x="1082097" y="591291"/>
                  <a:pt x="1068391" y="604945"/>
                  <a:pt x="1068391" y="621728"/>
                </a:cubicBezTo>
                <a:close/>
                <a:moveTo>
                  <a:pt x="1127783" y="621728"/>
                </a:moveTo>
                <a:cubicBezTo>
                  <a:pt x="1127783" y="638511"/>
                  <a:pt x="1141489" y="652165"/>
                  <a:pt x="1158336" y="652165"/>
                </a:cubicBezTo>
                <a:cubicBezTo>
                  <a:pt x="1175183" y="652165"/>
                  <a:pt x="1188888" y="638511"/>
                  <a:pt x="1188888" y="621728"/>
                </a:cubicBezTo>
                <a:cubicBezTo>
                  <a:pt x="1188888" y="604945"/>
                  <a:pt x="1175183" y="591291"/>
                  <a:pt x="1158336" y="591291"/>
                </a:cubicBezTo>
                <a:cubicBezTo>
                  <a:pt x="1141489" y="591291"/>
                  <a:pt x="1127783" y="604945"/>
                  <a:pt x="1127783" y="621728"/>
                </a:cubicBezTo>
                <a:close/>
                <a:moveTo>
                  <a:pt x="1187080" y="621728"/>
                </a:moveTo>
                <a:cubicBezTo>
                  <a:pt x="1187080" y="638511"/>
                  <a:pt x="1200786" y="652165"/>
                  <a:pt x="1217633" y="652165"/>
                </a:cubicBezTo>
                <a:cubicBezTo>
                  <a:pt x="1234479" y="652165"/>
                  <a:pt x="1248185" y="638511"/>
                  <a:pt x="1248185" y="621728"/>
                </a:cubicBezTo>
                <a:cubicBezTo>
                  <a:pt x="1248185" y="604945"/>
                  <a:pt x="1234479" y="591291"/>
                  <a:pt x="1217633" y="591291"/>
                </a:cubicBezTo>
                <a:cubicBezTo>
                  <a:pt x="1200786" y="591291"/>
                  <a:pt x="1187080" y="604945"/>
                  <a:pt x="1187080" y="621728"/>
                </a:cubicBezTo>
                <a:close/>
                <a:moveTo>
                  <a:pt x="1246472" y="621728"/>
                </a:moveTo>
                <a:cubicBezTo>
                  <a:pt x="1246472" y="638511"/>
                  <a:pt x="1260178" y="652165"/>
                  <a:pt x="1277025" y="652165"/>
                </a:cubicBezTo>
                <a:cubicBezTo>
                  <a:pt x="1293872" y="652165"/>
                  <a:pt x="1307577" y="638511"/>
                  <a:pt x="1307577" y="621728"/>
                </a:cubicBezTo>
                <a:cubicBezTo>
                  <a:pt x="1307577" y="604945"/>
                  <a:pt x="1293872" y="591291"/>
                  <a:pt x="1277025" y="591291"/>
                </a:cubicBezTo>
                <a:cubicBezTo>
                  <a:pt x="1260178" y="591291"/>
                  <a:pt x="1246472" y="604945"/>
                  <a:pt x="1246472" y="621728"/>
                </a:cubicBezTo>
                <a:close/>
                <a:moveTo>
                  <a:pt x="1365161" y="621728"/>
                </a:moveTo>
                <a:cubicBezTo>
                  <a:pt x="1365161" y="638511"/>
                  <a:pt x="1378867" y="652165"/>
                  <a:pt x="1395714" y="652165"/>
                </a:cubicBezTo>
                <a:cubicBezTo>
                  <a:pt x="1412561" y="652165"/>
                  <a:pt x="1426266" y="638511"/>
                  <a:pt x="1426266" y="621728"/>
                </a:cubicBezTo>
                <a:cubicBezTo>
                  <a:pt x="1426266" y="604945"/>
                  <a:pt x="1412561" y="591291"/>
                  <a:pt x="1395714" y="591291"/>
                </a:cubicBezTo>
                <a:cubicBezTo>
                  <a:pt x="1378867" y="591291"/>
                  <a:pt x="1365161" y="604945"/>
                  <a:pt x="1365161" y="621728"/>
                </a:cubicBezTo>
                <a:close/>
                <a:moveTo>
                  <a:pt x="1424553" y="621728"/>
                </a:moveTo>
                <a:cubicBezTo>
                  <a:pt x="1424553" y="638511"/>
                  <a:pt x="1438259" y="652165"/>
                  <a:pt x="1455106" y="652165"/>
                </a:cubicBezTo>
                <a:cubicBezTo>
                  <a:pt x="1471953" y="652165"/>
                  <a:pt x="1485658" y="638511"/>
                  <a:pt x="1485658" y="621728"/>
                </a:cubicBezTo>
                <a:cubicBezTo>
                  <a:pt x="1485658" y="604945"/>
                  <a:pt x="1471953" y="591291"/>
                  <a:pt x="1455106" y="591291"/>
                </a:cubicBezTo>
                <a:cubicBezTo>
                  <a:pt x="1438259" y="591291"/>
                  <a:pt x="1424553" y="604945"/>
                  <a:pt x="1424553" y="621728"/>
                </a:cubicBezTo>
                <a:close/>
                <a:moveTo>
                  <a:pt x="118784" y="680800"/>
                </a:moveTo>
                <a:cubicBezTo>
                  <a:pt x="118784" y="697583"/>
                  <a:pt x="132490" y="711237"/>
                  <a:pt x="149337" y="711237"/>
                </a:cubicBezTo>
                <a:cubicBezTo>
                  <a:pt x="166184" y="711237"/>
                  <a:pt x="179889" y="697583"/>
                  <a:pt x="179889" y="680800"/>
                </a:cubicBezTo>
                <a:cubicBezTo>
                  <a:pt x="179889" y="664018"/>
                  <a:pt x="166184" y="650364"/>
                  <a:pt x="149337" y="650364"/>
                </a:cubicBezTo>
                <a:cubicBezTo>
                  <a:pt x="132490" y="650364"/>
                  <a:pt x="118784" y="664018"/>
                  <a:pt x="118784" y="680800"/>
                </a:cubicBezTo>
                <a:close/>
                <a:moveTo>
                  <a:pt x="178081" y="680800"/>
                </a:moveTo>
                <a:cubicBezTo>
                  <a:pt x="178081" y="697583"/>
                  <a:pt x="191787" y="711237"/>
                  <a:pt x="208634" y="711237"/>
                </a:cubicBezTo>
                <a:cubicBezTo>
                  <a:pt x="225480" y="711237"/>
                  <a:pt x="239186" y="697583"/>
                  <a:pt x="239186" y="680800"/>
                </a:cubicBezTo>
                <a:cubicBezTo>
                  <a:pt x="239186" y="664018"/>
                  <a:pt x="225480" y="650364"/>
                  <a:pt x="208634" y="650364"/>
                </a:cubicBezTo>
                <a:cubicBezTo>
                  <a:pt x="191787" y="650364"/>
                  <a:pt x="178081" y="664018"/>
                  <a:pt x="178081" y="680800"/>
                </a:cubicBezTo>
                <a:close/>
                <a:moveTo>
                  <a:pt x="237473" y="680800"/>
                </a:moveTo>
                <a:cubicBezTo>
                  <a:pt x="237473" y="697583"/>
                  <a:pt x="251179" y="711237"/>
                  <a:pt x="268026" y="711237"/>
                </a:cubicBezTo>
                <a:cubicBezTo>
                  <a:pt x="284873" y="711237"/>
                  <a:pt x="298578" y="697583"/>
                  <a:pt x="298578" y="680800"/>
                </a:cubicBezTo>
                <a:cubicBezTo>
                  <a:pt x="298578" y="664018"/>
                  <a:pt x="284873" y="650364"/>
                  <a:pt x="268026" y="650364"/>
                </a:cubicBezTo>
                <a:cubicBezTo>
                  <a:pt x="251179" y="650364"/>
                  <a:pt x="237473" y="664018"/>
                  <a:pt x="237473" y="680800"/>
                </a:cubicBezTo>
                <a:close/>
                <a:moveTo>
                  <a:pt x="296865" y="680800"/>
                </a:moveTo>
                <a:cubicBezTo>
                  <a:pt x="296865" y="697583"/>
                  <a:pt x="310571" y="711237"/>
                  <a:pt x="327418" y="711237"/>
                </a:cubicBezTo>
                <a:cubicBezTo>
                  <a:pt x="344265" y="711237"/>
                  <a:pt x="357970" y="697583"/>
                  <a:pt x="357970" y="680800"/>
                </a:cubicBezTo>
                <a:cubicBezTo>
                  <a:pt x="357970" y="664018"/>
                  <a:pt x="344265" y="650364"/>
                  <a:pt x="327418" y="650364"/>
                </a:cubicBezTo>
                <a:cubicBezTo>
                  <a:pt x="310571" y="650364"/>
                  <a:pt x="296865" y="664018"/>
                  <a:pt x="296865" y="680800"/>
                </a:cubicBezTo>
                <a:close/>
                <a:moveTo>
                  <a:pt x="474851" y="680800"/>
                </a:moveTo>
                <a:cubicBezTo>
                  <a:pt x="474851" y="697583"/>
                  <a:pt x="488557" y="711237"/>
                  <a:pt x="505404" y="711237"/>
                </a:cubicBezTo>
                <a:cubicBezTo>
                  <a:pt x="522250" y="711237"/>
                  <a:pt x="535956" y="697583"/>
                  <a:pt x="535956" y="680800"/>
                </a:cubicBezTo>
                <a:cubicBezTo>
                  <a:pt x="535956" y="664018"/>
                  <a:pt x="522250" y="650364"/>
                  <a:pt x="505404" y="650364"/>
                </a:cubicBezTo>
                <a:cubicBezTo>
                  <a:pt x="488557" y="650364"/>
                  <a:pt x="474851" y="664018"/>
                  <a:pt x="474851" y="680800"/>
                </a:cubicBezTo>
                <a:close/>
                <a:moveTo>
                  <a:pt x="593635" y="680800"/>
                </a:moveTo>
                <a:cubicBezTo>
                  <a:pt x="593635" y="697583"/>
                  <a:pt x="607341" y="711237"/>
                  <a:pt x="624188" y="711237"/>
                </a:cubicBezTo>
                <a:cubicBezTo>
                  <a:pt x="641035" y="711237"/>
                  <a:pt x="654740" y="697583"/>
                  <a:pt x="654740" y="680800"/>
                </a:cubicBezTo>
                <a:cubicBezTo>
                  <a:pt x="654740" y="664018"/>
                  <a:pt x="641035" y="650364"/>
                  <a:pt x="624188" y="650364"/>
                </a:cubicBezTo>
                <a:cubicBezTo>
                  <a:pt x="607341" y="650364"/>
                  <a:pt x="593635" y="664018"/>
                  <a:pt x="593635" y="680800"/>
                </a:cubicBezTo>
                <a:close/>
                <a:moveTo>
                  <a:pt x="652932" y="680800"/>
                </a:moveTo>
                <a:cubicBezTo>
                  <a:pt x="652932" y="697583"/>
                  <a:pt x="666638" y="711237"/>
                  <a:pt x="683485" y="711237"/>
                </a:cubicBezTo>
                <a:cubicBezTo>
                  <a:pt x="700332" y="711237"/>
                  <a:pt x="714037" y="697583"/>
                  <a:pt x="714037" y="680800"/>
                </a:cubicBezTo>
                <a:cubicBezTo>
                  <a:pt x="714037" y="664018"/>
                  <a:pt x="700332" y="650364"/>
                  <a:pt x="683485" y="650364"/>
                </a:cubicBezTo>
                <a:cubicBezTo>
                  <a:pt x="666638" y="650364"/>
                  <a:pt x="652932" y="664018"/>
                  <a:pt x="652932" y="680800"/>
                </a:cubicBezTo>
                <a:close/>
                <a:moveTo>
                  <a:pt x="712324" y="680800"/>
                </a:moveTo>
                <a:cubicBezTo>
                  <a:pt x="712324" y="697583"/>
                  <a:pt x="726030" y="711237"/>
                  <a:pt x="742877" y="711237"/>
                </a:cubicBezTo>
                <a:cubicBezTo>
                  <a:pt x="759724" y="711237"/>
                  <a:pt x="773429" y="697583"/>
                  <a:pt x="773429" y="680800"/>
                </a:cubicBezTo>
                <a:cubicBezTo>
                  <a:pt x="773429" y="664018"/>
                  <a:pt x="759724" y="650364"/>
                  <a:pt x="742877" y="650364"/>
                </a:cubicBezTo>
                <a:cubicBezTo>
                  <a:pt x="726030" y="650364"/>
                  <a:pt x="712324" y="664018"/>
                  <a:pt x="712324" y="680800"/>
                </a:cubicBezTo>
                <a:close/>
                <a:moveTo>
                  <a:pt x="831013" y="680800"/>
                </a:moveTo>
                <a:cubicBezTo>
                  <a:pt x="831013" y="697583"/>
                  <a:pt x="844719" y="711237"/>
                  <a:pt x="861566" y="711237"/>
                </a:cubicBezTo>
                <a:cubicBezTo>
                  <a:pt x="878413" y="711237"/>
                  <a:pt x="892118" y="697583"/>
                  <a:pt x="892118" y="680800"/>
                </a:cubicBezTo>
                <a:cubicBezTo>
                  <a:pt x="892118" y="664018"/>
                  <a:pt x="878413" y="650364"/>
                  <a:pt x="861566" y="650364"/>
                </a:cubicBezTo>
                <a:cubicBezTo>
                  <a:pt x="844719" y="650364"/>
                  <a:pt x="831013" y="664018"/>
                  <a:pt x="831013" y="680800"/>
                </a:cubicBezTo>
                <a:close/>
                <a:moveTo>
                  <a:pt x="949702" y="680800"/>
                </a:moveTo>
                <a:cubicBezTo>
                  <a:pt x="949702" y="697583"/>
                  <a:pt x="963408" y="711237"/>
                  <a:pt x="980255" y="711237"/>
                </a:cubicBezTo>
                <a:cubicBezTo>
                  <a:pt x="997101" y="711237"/>
                  <a:pt x="1010807" y="697583"/>
                  <a:pt x="1010807" y="680800"/>
                </a:cubicBezTo>
                <a:cubicBezTo>
                  <a:pt x="1010807" y="664018"/>
                  <a:pt x="997101" y="650364"/>
                  <a:pt x="980255" y="650364"/>
                </a:cubicBezTo>
                <a:cubicBezTo>
                  <a:pt x="963408" y="650364"/>
                  <a:pt x="949702" y="664018"/>
                  <a:pt x="949702" y="680800"/>
                </a:cubicBezTo>
                <a:close/>
                <a:moveTo>
                  <a:pt x="1068391" y="680800"/>
                </a:moveTo>
                <a:cubicBezTo>
                  <a:pt x="1068391" y="697583"/>
                  <a:pt x="1082097" y="711237"/>
                  <a:pt x="1098944" y="711237"/>
                </a:cubicBezTo>
                <a:cubicBezTo>
                  <a:pt x="1115790" y="711237"/>
                  <a:pt x="1129496" y="697583"/>
                  <a:pt x="1129496" y="680800"/>
                </a:cubicBezTo>
                <a:cubicBezTo>
                  <a:pt x="1129496" y="664018"/>
                  <a:pt x="1115790" y="650364"/>
                  <a:pt x="1098944" y="650364"/>
                </a:cubicBezTo>
                <a:cubicBezTo>
                  <a:pt x="1082097" y="650364"/>
                  <a:pt x="1068391" y="664018"/>
                  <a:pt x="1068391" y="680800"/>
                </a:cubicBezTo>
                <a:close/>
                <a:moveTo>
                  <a:pt x="1424553" y="680800"/>
                </a:moveTo>
                <a:cubicBezTo>
                  <a:pt x="1424553" y="697583"/>
                  <a:pt x="1438259" y="711237"/>
                  <a:pt x="1455106" y="711237"/>
                </a:cubicBezTo>
                <a:cubicBezTo>
                  <a:pt x="1471953" y="711237"/>
                  <a:pt x="1485658" y="697583"/>
                  <a:pt x="1485658" y="680800"/>
                </a:cubicBezTo>
                <a:cubicBezTo>
                  <a:pt x="1485658" y="664018"/>
                  <a:pt x="1471953" y="650364"/>
                  <a:pt x="1455106" y="650364"/>
                </a:cubicBezTo>
                <a:cubicBezTo>
                  <a:pt x="1438259" y="650364"/>
                  <a:pt x="1424553" y="664018"/>
                  <a:pt x="1424553" y="680800"/>
                </a:cubicBezTo>
                <a:close/>
                <a:moveTo>
                  <a:pt x="59392" y="739968"/>
                </a:moveTo>
                <a:cubicBezTo>
                  <a:pt x="59392" y="756751"/>
                  <a:pt x="73098" y="770404"/>
                  <a:pt x="89945" y="770404"/>
                </a:cubicBezTo>
                <a:cubicBezTo>
                  <a:pt x="106792" y="770404"/>
                  <a:pt x="120497" y="756751"/>
                  <a:pt x="120497" y="739968"/>
                </a:cubicBezTo>
                <a:cubicBezTo>
                  <a:pt x="120497" y="723185"/>
                  <a:pt x="106792" y="709531"/>
                  <a:pt x="89945" y="709531"/>
                </a:cubicBezTo>
                <a:cubicBezTo>
                  <a:pt x="73098" y="709531"/>
                  <a:pt x="59392" y="723185"/>
                  <a:pt x="59392" y="739968"/>
                </a:cubicBezTo>
                <a:close/>
                <a:moveTo>
                  <a:pt x="118784" y="739968"/>
                </a:moveTo>
                <a:cubicBezTo>
                  <a:pt x="118784" y="756751"/>
                  <a:pt x="132490" y="770404"/>
                  <a:pt x="149337" y="770404"/>
                </a:cubicBezTo>
                <a:cubicBezTo>
                  <a:pt x="166184" y="770404"/>
                  <a:pt x="179889" y="756751"/>
                  <a:pt x="179889" y="739968"/>
                </a:cubicBezTo>
                <a:cubicBezTo>
                  <a:pt x="179889" y="723185"/>
                  <a:pt x="166184" y="709531"/>
                  <a:pt x="149337" y="709531"/>
                </a:cubicBezTo>
                <a:cubicBezTo>
                  <a:pt x="132490" y="709531"/>
                  <a:pt x="118784" y="723185"/>
                  <a:pt x="118784" y="739968"/>
                </a:cubicBezTo>
                <a:close/>
                <a:moveTo>
                  <a:pt x="237473" y="739968"/>
                </a:moveTo>
                <a:cubicBezTo>
                  <a:pt x="237473" y="756751"/>
                  <a:pt x="251179" y="770404"/>
                  <a:pt x="268026" y="770404"/>
                </a:cubicBezTo>
                <a:cubicBezTo>
                  <a:pt x="284873" y="770404"/>
                  <a:pt x="298578" y="756751"/>
                  <a:pt x="298578" y="739968"/>
                </a:cubicBezTo>
                <a:cubicBezTo>
                  <a:pt x="298578" y="723185"/>
                  <a:pt x="284873" y="709531"/>
                  <a:pt x="268026" y="709531"/>
                </a:cubicBezTo>
                <a:cubicBezTo>
                  <a:pt x="251179" y="709531"/>
                  <a:pt x="237473" y="723185"/>
                  <a:pt x="237473" y="739968"/>
                </a:cubicBezTo>
                <a:close/>
                <a:moveTo>
                  <a:pt x="296865" y="739968"/>
                </a:moveTo>
                <a:cubicBezTo>
                  <a:pt x="296865" y="756751"/>
                  <a:pt x="310571" y="770404"/>
                  <a:pt x="327418" y="770404"/>
                </a:cubicBezTo>
                <a:cubicBezTo>
                  <a:pt x="344265" y="770404"/>
                  <a:pt x="357970" y="756751"/>
                  <a:pt x="357970" y="739968"/>
                </a:cubicBezTo>
                <a:cubicBezTo>
                  <a:pt x="357970" y="723185"/>
                  <a:pt x="344265" y="709531"/>
                  <a:pt x="327418" y="709531"/>
                </a:cubicBezTo>
                <a:cubicBezTo>
                  <a:pt x="310571" y="709531"/>
                  <a:pt x="296865" y="723185"/>
                  <a:pt x="296865" y="739968"/>
                </a:cubicBezTo>
                <a:close/>
                <a:moveTo>
                  <a:pt x="356162" y="739968"/>
                </a:moveTo>
                <a:cubicBezTo>
                  <a:pt x="356162" y="756751"/>
                  <a:pt x="369868" y="770404"/>
                  <a:pt x="386715" y="770404"/>
                </a:cubicBezTo>
                <a:cubicBezTo>
                  <a:pt x="403562" y="770404"/>
                  <a:pt x="417267" y="756751"/>
                  <a:pt x="417267" y="739968"/>
                </a:cubicBezTo>
                <a:cubicBezTo>
                  <a:pt x="417267" y="723185"/>
                  <a:pt x="403562" y="709531"/>
                  <a:pt x="386715" y="709531"/>
                </a:cubicBezTo>
                <a:cubicBezTo>
                  <a:pt x="369868" y="709531"/>
                  <a:pt x="356162" y="723185"/>
                  <a:pt x="356162" y="739968"/>
                </a:cubicBezTo>
                <a:close/>
                <a:moveTo>
                  <a:pt x="415554" y="739968"/>
                </a:moveTo>
                <a:cubicBezTo>
                  <a:pt x="415554" y="756751"/>
                  <a:pt x="429260" y="770404"/>
                  <a:pt x="446107" y="770404"/>
                </a:cubicBezTo>
                <a:cubicBezTo>
                  <a:pt x="462954" y="770404"/>
                  <a:pt x="476659" y="756751"/>
                  <a:pt x="476659" y="739968"/>
                </a:cubicBezTo>
                <a:cubicBezTo>
                  <a:pt x="476659" y="723185"/>
                  <a:pt x="462954" y="709531"/>
                  <a:pt x="446107" y="709531"/>
                </a:cubicBezTo>
                <a:cubicBezTo>
                  <a:pt x="429260" y="709531"/>
                  <a:pt x="415554" y="723185"/>
                  <a:pt x="415554" y="739968"/>
                </a:cubicBezTo>
                <a:close/>
                <a:moveTo>
                  <a:pt x="474851" y="739968"/>
                </a:moveTo>
                <a:cubicBezTo>
                  <a:pt x="474851" y="756751"/>
                  <a:pt x="488557" y="770404"/>
                  <a:pt x="505404" y="770404"/>
                </a:cubicBezTo>
                <a:cubicBezTo>
                  <a:pt x="522250" y="770404"/>
                  <a:pt x="535956" y="756751"/>
                  <a:pt x="535956" y="739968"/>
                </a:cubicBezTo>
                <a:cubicBezTo>
                  <a:pt x="535956" y="723185"/>
                  <a:pt x="522250" y="709531"/>
                  <a:pt x="505404" y="709531"/>
                </a:cubicBezTo>
                <a:cubicBezTo>
                  <a:pt x="488557" y="709531"/>
                  <a:pt x="474851" y="723185"/>
                  <a:pt x="474851" y="739968"/>
                </a:cubicBezTo>
                <a:close/>
                <a:moveTo>
                  <a:pt x="534243" y="739968"/>
                </a:moveTo>
                <a:cubicBezTo>
                  <a:pt x="534243" y="756751"/>
                  <a:pt x="547949" y="770404"/>
                  <a:pt x="564796" y="770404"/>
                </a:cubicBezTo>
                <a:cubicBezTo>
                  <a:pt x="581643" y="770404"/>
                  <a:pt x="595348" y="756751"/>
                  <a:pt x="595348" y="739968"/>
                </a:cubicBezTo>
                <a:cubicBezTo>
                  <a:pt x="595348" y="723185"/>
                  <a:pt x="581643" y="709531"/>
                  <a:pt x="564796" y="709531"/>
                </a:cubicBezTo>
                <a:cubicBezTo>
                  <a:pt x="547949" y="709531"/>
                  <a:pt x="534243" y="723185"/>
                  <a:pt x="534243" y="739968"/>
                </a:cubicBezTo>
                <a:close/>
                <a:moveTo>
                  <a:pt x="652932" y="739968"/>
                </a:moveTo>
                <a:cubicBezTo>
                  <a:pt x="652932" y="756751"/>
                  <a:pt x="666638" y="770404"/>
                  <a:pt x="683485" y="770404"/>
                </a:cubicBezTo>
                <a:cubicBezTo>
                  <a:pt x="700332" y="770404"/>
                  <a:pt x="714037" y="756751"/>
                  <a:pt x="714037" y="739968"/>
                </a:cubicBezTo>
                <a:cubicBezTo>
                  <a:pt x="714037" y="723185"/>
                  <a:pt x="700332" y="709531"/>
                  <a:pt x="683485" y="709531"/>
                </a:cubicBezTo>
                <a:cubicBezTo>
                  <a:pt x="666638" y="709531"/>
                  <a:pt x="652932" y="723185"/>
                  <a:pt x="652932" y="739968"/>
                </a:cubicBezTo>
                <a:close/>
                <a:moveTo>
                  <a:pt x="890310" y="739968"/>
                </a:moveTo>
                <a:cubicBezTo>
                  <a:pt x="890310" y="756751"/>
                  <a:pt x="904016" y="770404"/>
                  <a:pt x="920863" y="770404"/>
                </a:cubicBezTo>
                <a:cubicBezTo>
                  <a:pt x="937709" y="770404"/>
                  <a:pt x="951415" y="756751"/>
                  <a:pt x="951415" y="739968"/>
                </a:cubicBezTo>
                <a:cubicBezTo>
                  <a:pt x="951415" y="723185"/>
                  <a:pt x="937709" y="709531"/>
                  <a:pt x="920863" y="709531"/>
                </a:cubicBezTo>
                <a:cubicBezTo>
                  <a:pt x="904016" y="709531"/>
                  <a:pt x="890310" y="723185"/>
                  <a:pt x="890310" y="739968"/>
                </a:cubicBezTo>
                <a:close/>
                <a:moveTo>
                  <a:pt x="1009094" y="739968"/>
                </a:moveTo>
                <a:cubicBezTo>
                  <a:pt x="1009094" y="756751"/>
                  <a:pt x="1022800" y="770404"/>
                  <a:pt x="1039647" y="770404"/>
                </a:cubicBezTo>
                <a:cubicBezTo>
                  <a:pt x="1056494" y="770404"/>
                  <a:pt x="1070199" y="756751"/>
                  <a:pt x="1070199" y="739968"/>
                </a:cubicBezTo>
                <a:cubicBezTo>
                  <a:pt x="1070199" y="723185"/>
                  <a:pt x="1056494" y="709531"/>
                  <a:pt x="1039647" y="709531"/>
                </a:cubicBezTo>
                <a:cubicBezTo>
                  <a:pt x="1022800" y="709531"/>
                  <a:pt x="1009094" y="723185"/>
                  <a:pt x="1009094" y="739968"/>
                </a:cubicBezTo>
                <a:close/>
                <a:moveTo>
                  <a:pt x="1068391" y="739968"/>
                </a:moveTo>
                <a:cubicBezTo>
                  <a:pt x="1068391" y="756751"/>
                  <a:pt x="1082097" y="770404"/>
                  <a:pt x="1098944" y="770404"/>
                </a:cubicBezTo>
                <a:cubicBezTo>
                  <a:pt x="1115790" y="770404"/>
                  <a:pt x="1129496" y="756751"/>
                  <a:pt x="1129496" y="739968"/>
                </a:cubicBezTo>
                <a:cubicBezTo>
                  <a:pt x="1129496" y="723185"/>
                  <a:pt x="1115790" y="709531"/>
                  <a:pt x="1098944" y="709531"/>
                </a:cubicBezTo>
                <a:cubicBezTo>
                  <a:pt x="1082097" y="709531"/>
                  <a:pt x="1068391" y="723185"/>
                  <a:pt x="1068391" y="739968"/>
                </a:cubicBezTo>
                <a:close/>
                <a:moveTo>
                  <a:pt x="1127783" y="739968"/>
                </a:moveTo>
                <a:cubicBezTo>
                  <a:pt x="1127783" y="756751"/>
                  <a:pt x="1141489" y="770404"/>
                  <a:pt x="1158336" y="770404"/>
                </a:cubicBezTo>
                <a:cubicBezTo>
                  <a:pt x="1175183" y="770404"/>
                  <a:pt x="1188888" y="756751"/>
                  <a:pt x="1188888" y="739968"/>
                </a:cubicBezTo>
                <a:cubicBezTo>
                  <a:pt x="1188888" y="723185"/>
                  <a:pt x="1175183" y="709531"/>
                  <a:pt x="1158336" y="709531"/>
                </a:cubicBezTo>
                <a:cubicBezTo>
                  <a:pt x="1141489" y="709531"/>
                  <a:pt x="1127783" y="723185"/>
                  <a:pt x="1127783" y="739968"/>
                </a:cubicBezTo>
                <a:close/>
                <a:moveTo>
                  <a:pt x="1187080" y="739968"/>
                </a:moveTo>
                <a:cubicBezTo>
                  <a:pt x="1187080" y="756751"/>
                  <a:pt x="1200786" y="770404"/>
                  <a:pt x="1217633" y="770404"/>
                </a:cubicBezTo>
                <a:cubicBezTo>
                  <a:pt x="1234479" y="770404"/>
                  <a:pt x="1248185" y="756751"/>
                  <a:pt x="1248185" y="739968"/>
                </a:cubicBezTo>
                <a:cubicBezTo>
                  <a:pt x="1248185" y="723185"/>
                  <a:pt x="1234479" y="709531"/>
                  <a:pt x="1217633" y="709531"/>
                </a:cubicBezTo>
                <a:cubicBezTo>
                  <a:pt x="1200786" y="709531"/>
                  <a:pt x="1187080" y="723185"/>
                  <a:pt x="1187080" y="739968"/>
                </a:cubicBezTo>
                <a:close/>
                <a:moveTo>
                  <a:pt x="1305769" y="739968"/>
                </a:moveTo>
                <a:cubicBezTo>
                  <a:pt x="1305769" y="756751"/>
                  <a:pt x="1319475" y="770404"/>
                  <a:pt x="1336322" y="770404"/>
                </a:cubicBezTo>
                <a:cubicBezTo>
                  <a:pt x="1353168" y="770404"/>
                  <a:pt x="1366874" y="756751"/>
                  <a:pt x="1366874" y="739968"/>
                </a:cubicBezTo>
                <a:cubicBezTo>
                  <a:pt x="1366874" y="723185"/>
                  <a:pt x="1353168" y="709531"/>
                  <a:pt x="1336322" y="709531"/>
                </a:cubicBezTo>
                <a:cubicBezTo>
                  <a:pt x="1319475" y="709531"/>
                  <a:pt x="1305769" y="723185"/>
                  <a:pt x="1305769" y="739968"/>
                </a:cubicBezTo>
                <a:close/>
                <a:moveTo>
                  <a:pt x="1365161" y="739968"/>
                </a:moveTo>
                <a:cubicBezTo>
                  <a:pt x="1365161" y="756751"/>
                  <a:pt x="1378867" y="770404"/>
                  <a:pt x="1395714" y="770404"/>
                </a:cubicBezTo>
                <a:cubicBezTo>
                  <a:pt x="1412561" y="770404"/>
                  <a:pt x="1426266" y="756751"/>
                  <a:pt x="1426266" y="739968"/>
                </a:cubicBezTo>
                <a:cubicBezTo>
                  <a:pt x="1426266" y="723185"/>
                  <a:pt x="1412561" y="709531"/>
                  <a:pt x="1395714" y="709531"/>
                </a:cubicBezTo>
                <a:cubicBezTo>
                  <a:pt x="1378867" y="709531"/>
                  <a:pt x="1365161" y="723185"/>
                  <a:pt x="1365161" y="739968"/>
                </a:cubicBezTo>
                <a:close/>
                <a:moveTo>
                  <a:pt x="1424553" y="739968"/>
                </a:moveTo>
                <a:cubicBezTo>
                  <a:pt x="1424553" y="756751"/>
                  <a:pt x="1438259" y="770404"/>
                  <a:pt x="1455106" y="770404"/>
                </a:cubicBezTo>
                <a:cubicBezTo>
                  <a:pt x="1471953" y="770404"/>
                  <a:pt x="1485658" y="756751"/>
                  <a:pt x="1485658" y="739968"/>
                </a:cubicBezTo>
                <a:cubicBezTo>
                  <a:pt x="1485658" y="723185"/>
                  <a:pt x="1471953" y="709531"/>
                  <a:pt x="1455106" y="709531"/>
                </a:cubicBezTo>
                <a:cubicBezTo>
                  <a:pt x="1438259" y="709531"/>
                  <a:pt x="1424553" y="723185"/>
                  <a:pt x="1424553" y="739968"/>
                </a:cubicBezTo>
                <a:close/>
                <a:moveTo>
                  <a:pt x="95" y="799040"/>
                </a:moveTo>
                <a:cubicBezTo>
                  <a:pt x="95" y="815823"/>
                  <a:pt x="13801" y="829477"/>
                  <a:pt x="30648" y="829477"/>
                </a:cubicBezTo>
                <a:cubicBezTo>
                  <a:pt x="47495" y="829477"/>
                  <a:pt x="61200" y="815823"/>
                  <a:pt x="61200" y="799040"/>
                </a:cubicBezTo>
                <a:cubicBezTo>
                  <a:pt x="61200" y="782257"/>
                  <a:pt x="47495" y="768603"/>
                  <a:pt x="30648" y="768603"/>
                </a:cubicBezTo>
                <a:cubicBezTo>
                  <a:pt x="13801" y="768603"/>
                  <a:pt x="95" y="782257"/>
                  <a:pt x="95" y="799040"/>
                </a:cubicBezTo>
                <a:close/>
                <a:moveTo>
                  <a:pt x="118784" y="799040"/>
                </a:moveTo>
                <a:cubicBezTo>
                  <a:pt x="118784" y="815823"/>
                  <a:pt x="132490" y="829477"/>
                  <a:pt x="149337" y="829477"/>
                </a:cubicBezTo>
                <a:cubicBezTo>
                  <a:pt x="166184" y="829477"/>
                  <a:pt x="179889" y="815823"/>
                  <a:pt x="179889" y="799040"/>
                </a:cubicBezTo>
                <a:cubicBezTo>
                  <a:pt x="179889" y="782257"/>
                  <a:pt x="166184" y="768603"/>
                  <a:pt x="149337" y="768603"/>
                </a:cubicBezTo>
                <a:cubicBezTo>
                  <a:pt x="132490" y="768603"/>
                  <a:pt x="118784" y="782257"/>
                  <a:pt x="118784" y="799040"/>
                </a:cubicBezTo>
                <a:close/>
                <a:moveTo>
                  <a:pt x="178081" y="799040"/>
                </a:moveTo>
                <a:cubicBezTo>
                  <a:pt x="178081" y="815823"/>
                  <a:pt x="191787" y="829477"/>
                  <a:pt x="208634" y="829477"/>
                </a:cubicBezTo>
                <a:cubicBezTo>
                  <a:pt x="225480" y="829477"/>
                  <a:pt x="239186" y="815823"/>
                  <a:pt x="239186" y="799040"/>
                </a:cubicBezTo>
                <a:cubicBezTo>
                  <a:pt x="239186" y="782257"/>
                  <a:pt x="225480" y="768603"/>
                  <a:pt x="208634" y="768603"/>
                </a:cubicBezTo>
                <a:cubicBezTo>
                  <a:pt x="191787" y="768603"/>
                  <a:pt x="178081" y="782257"/>
                  <a:pt x="178081" y="799040"/>
                </a:cubicBezTo>
                <a:close/>
                <a:moveTo>
                  <a:pt x="237473" y="799040"/>
                </a:moveTo>
                <a:cubicBezTo>
                  <a:pt x="237473" y="815823"/>
                  <a:pt x="251179" y="829477"/>
                  <a:pt x="268026" y="829477"/>
                </a:cubicBezTo>
                <a:cubicBezTo>
                  <a:pt x="284873" y="829477"/>
                  <a:pt x="298578" y="815823"/>
                  <a:pt x="298578" y="799040"/>
                </a:cubicBezTo>
                <a:cubicBezTo>
                  <a:pt x="298578" y="782257"/>
                  <a:pt x="284873" y="768603"/>
                  <a:pt x="268026" y="768603"/>
                </a:cubicBezTo>
                <a:cubicBezTo>
                  <a:pt x="251179" y="768603"/>
                  <a:pt x="237473" y="782257"/>
                  <a:pt x="237473" y="799040"/>
                </a:cubicBezTo>
                <a:close/>
                <a:moveTo>
                  <a:pt x="415554" y="799040"/>
                </a:moveTo>
                <a:cubicBezTo>
                  <a:pt x="415554" y="815823"/>
                  <a:pt x="429260" y="829477"/>
                  <a:pt x="446107" y="829477"/>
                </a:cubicBezTo>
                <a:cubicBezTo>
                  <a:pt x="462954" y="829477"/>
                  <a:pt x="476659" y="815823"/>
                  <a:pt x="476659" y="799040"/>
                </a:cubicBezTo>
                <a:cubicBezTo>
                  <a:pt x="476659" y="782257"/>
                  <a:pt x="462954" y="768603"/>
                  <a:pt x="446107" y="768603"/>
                </a:cubicBezTo>
                <a:cubicBezTo>
                  <a:pt x="429260" y="768603"/>
                  <a:pt x="415554" y="782257"/>
                  <a:pt x="415554" y="799040"/>
                </a:cubicBezTo>
                <a:close/>
                <a:moveTo>
                  <a:pt x="474851" y="799040"/>
                </a:moveTo>
                <a:cubicBezTo>
                  <a:pt x="474851" y="815823"/>
                  <a:pt x="488557" y="829477"/>
                  <a:pt x="505404" y="829477"/>
                </a:cubicBezTo>
                <a:cubicBezTo>
                  <a:pt x="522250" y="829477"/>
                  <a:pt x="535956" y="815823"/>
                  <a:pt x="535956" y="799040"/>
                </a:cubicBezTo>
                <a:cubicBezTo>
                  <a:pt x="535956" y="782257"/>
                  <a:pt x="522250" y="768603"/>
                  <a:pt x="505404" y="768603"/>
                </a:cubicBezTo>
                <a:cubicBezTo>
                  <a:pt x="488557" y="768603"/>
                  <a:pt x="474851" y="782257"/>
                  <a:pt x="474851" y="799040"/>
                </a:cubicBezTo>
                <a:close/>
                <a:moveTo>
                  <a:pt x="534243" y="799040"/>
                </a:moveTo>
                <a:cubicBezTo>
                  <a:pt x="534243" y="815823"/>
                  <a:pt x="547949" y="829477"/>
                  <a:pt x="564796" y="829477"/>
                </a:cubicBezTo>
                <a:cubicBezTo>
                  <a:pt x="581643" y="829477"/>
                  <a:pt x="595348" y="815823"/>
                  <a:pt x="595348" y="799040"/>
                </a:cubicBezTo>
                <a:cubicBezTo>
                  <a:pt x="595348" y="782257"/>
                  <a:pt x="581643" y="768603"/>
                  <a:pt x="564796" y="768603"/>
                </a:cubicBezTo>
                <a:cubicBezTo>
                  <a:pt x="547949" y="768603"/>
                  <a:pt x="534243" y="782257"/>
                  <a:pt x="534243" y="799040"/>
                </a:cubicBezTo>
                <a:close/>
                <a:moveTo>
                  <a:pt x="593635" y="799040"/>
                </a:moveTo>
                <a:cubicBezTo>
                  <a:pt x="593635" y="815823"/>
                  <a:pt x="607341" y="829477"/>
                  <a:pt x="624188" y="829477"/>
                </a:cubicBezTo>
                <a:cubicBezTo>
                  <a:pt x="641035" y="829477"/>
                  <a:pt x="654740" y="815823"/>
                  <a:pt x="654740" y="799040"/>
                </a:cubicBezTo>
                <a:cubicBezTo>
                  <a:pt x="654740" y="782257"/>
                  <a:pt x="641035" y="768603"/>
                  <a:pt x="624188" y="768603"/>
                </a:cubicBezTo>
                <a:cubicBezTo>
                  <a:pt x="607341" y="768603"/>
                  <a:pt x="593635" y="782257"/>
                  <a:pt x="593635" y="799040"/>
                </a:cubicBezTo>
                <a:close/>
                <a:moveTo>
                  <a:pt x="712324" y="799040"/>
                </a:moveTo>
                <a:cubicBezTo>
                  <a:pt x="712324" y="815823"/>
                  <a:pt x="726030" y="829477"/>
                  <a:pt x="742877" y="829477"/>
                </a:cubicBezTo>
                <a:cubicBezTo>
                  <a:pt x="759724" y="829477"/>
                  <a:pt x="773429" y="815823"/>
                  <a:pt x="773429" y="799040"/>
                </a:cubicBezTo>
                <a:cubicBezTo>
                  <a:pt x="773429" y="782257"/>
                  <a:pt x="759724" y="768603"/>
                  <a:pt x="742877" y="768603"/>
                </a:cubicBezTo>
                <a:cubicBezTo>
                  <a:pt x="726030" y="768603"/>
                  <a:pt x="712324" y="782257"/>
                  <a:pt x="712324" y="799040"/>
                </a:cubicBezTo>
                <a:close/>
                <a:moveTo>
                  <a:pt x="771621" y="799040"/>
                </a:moveTo>
                <a:cubicBezTo>
                  <a:pt x="771621" y="815823"/>
                  <a:pt x="785327" y="829477"/>
                  <a:pt x="802174" y="829477"/>
                </a:cubicBezTo>
                <a:cubicBezTo>
                  <a:pt x="819021" y="829477"/>
                  <a:pt x="832726" y="815823"/>
                  <a:pt x="832726" y="799040"/>
                </a:cubicBezTo>
                <a:cubicBezTo>
                  <a:pt x="832726" y="782257"/>
                  <a:pt x="819021" y="768603"/>
                  <a:pt x="802174" y="768603"/>
                </a:cubicBezTo>
                <a:cubicBezTo>
                  <a:pt x="785327" y="768603"/>
                  <a:pt x="771621" y="782257"/>
                  <a:pt x="771621" y="799040"/>
                </a:cubicBezTo>
                <a:close/>
                <a:moveTo>
                  <a:pt x="949702" y="799040"/>
                </a:moveTo>
                <a:cubicBezTo>
                  <a:pt x="949702" y="815823"/>
                  <a:pt x="963408" y="829477"/>
                  <a:pt x="980255" y="829477"/>
                </a:cubicBezTo>
                <a:cubicBezTo>
                  <a:pt x="997101" y="829477"/>
                  <a:pt x="1010807" y="815823"/>
                  <a:pt x="1010807" y="799040"/>
                </a:cubicBezTo>
                <a:cubicBezTo>
                  <a:pt x="1010807" y="782257"/>
                  <a:pt x="997101" y="768603"/>
                  <a:pt x="980255" y="768603"/>
                </a:cubicBezTo>
                <a:cubicBezTo>
                  <a:pt x="963408" y="768603"/>
                  <a:pt x="949702" y="782257"/>
                  <a:pt x="949702" y="799040"/>
                </a:cubicBezTo>
                <a:close/>
                <a:moveTo>
                  <a:pt x="1009094" y="799040"/>
                </a:moveTo>
                <a:cubicBezTo>
                  <a:pt x="1009094" y="815823"/>
                  <a:pt x="1022800" y="829477"/>
                  <a:pt x="1039647" y="829477"/>
                </a:cubicBezTo>
                <a:cubicBezTo>
                  <a:pt x="1056494" y="829477"/>
                  <a:pt x="1070199" y="815823"/>
                  <a:pt x="1070199" y="799040"/>
                </a:cubicBezTo>
                <a:cubicBezTo>
                  <a:pt x="1070199" y="782257"/>
                  <a:pt x="1056494" y="768603"/>
                  <a:pt x="1039647" y="768603"/>
                </a:cubicBezTo>
                <a:cubicBezTo>
                  <a:pt x="1022800" y="768603"/>
                  <a:pt x="1009094" y="782257"/>
                  <a:pt x="1009094" y="799040"/>
                </a:cubicBezTo>
                <a:close/>
                <a:moveTo>
                  <a:pt x="1127783" y="799040"/>
                </a:moveTo>
                <a:cubicBezTo>
                  <a:pt x="1127783" y="815823"/>
                  <a:pt x="1141489" y="829477"/>
                  <a:pt x="1158336" y="829477"/>
                </a:cubicBezTo>
                <a:cubicBezTo>
                  <a:pt x="1175183" y="829477"/>
                  <a:pt x="1188888" y="815823"/>
                  <a:pt x="1188888" y="799040"/>
                </a:cubicBezTo>
                <a:cubicBezTo>
                  <a:pt x="1188888" y="782257"/>
                  <a:pt x="1175183" y="768603"/>
                  <a:pt x="1158336" y="768603"/>
                </a:cubicBezTo>
                <a:cubicBezTo>
                  <a:pt x="1141489" y="768603"/>
                  <a:pt x="1127783" y="782257"/>
                  <a:pt x="1127783" y="799040"/>
                </a:cubicBezTo>
                <a:close/>
                <a:moveTo>
                  <a:pt x="1246472" y="799040"/>
                </a:moveTo>
                <a:cubicBezTo>
                  <a:pt x="1246472" y="815823"/>
                  <a:pt x="1260178" y="829477"/>
                  <a:pt x="1277025" y="829477"/>
                </a:cubicBezTo>
                <a:cubicBezTo>
                  <a:pt x="1293872" y="829477"/>
                  <a:pt x="1307577" y="815823"/>
                  <a:pt x="1307577" y="799040"/>
                </a:cubicBezTo>
                <a:cubicBezTo>
                  <a:pt x="1307577" y="782257"/>
                  <a:pt x="1293872" y="768603"/>
                  <a:pt x="1277025" y="768603"/>
                </a:cubicBezTo>
                <a:cubicBezTo>
                  <a:pt x="1260178" y="768603"/>
                  <a:pt x="1246472" y="782257"/>
                  <a:pt x="1246472" y="799040"/>
                </a:cubicBezTo>
                <a:close/>
                <a:moveTo>
                  <a:pt x="1365161" y="799040"/>
                </a:moveTo>
                <a:cubicBezTo>
                  <a:pt x="1365161" y="815823"/>
                  <a:pt x="1378867" y="829477"/>
                  <a:pt x="1395714" y="829477"/>
                </a:cubicBezTo>
                <a:cubicBezTo>
                  <a:pt x="1412561" y="829477"/>
                  <a:pt x="1426266" y="815823"/>
                  <a:pt x="1426266" y="799040"/>
                </a:cubicBezTo>
                <a:cubicBezTo>
                  <a:pt x="1426266" y="782257"/>
                  <a:pt x="1412561" y="768603"/>
                  <a:pt x="1395714" y="768603"/>
                </a:cubicBezTo>
                <a:cubicBezTo>
                  <a:pt x="1378867" y="768603"/>
                  <a:pt x="1365161" y="782257"/>
                  <a:pt x="1365161" y="799040"/>
                </a:cubicBezTo>
                <a:close/>
                <a:moveTo>
                  <a:pt x="95" y="858207"/>
                </a:moveTo>
                <a:cubicBezTo>
                  <a:pt x="95" y="874990"/>
                  <a:pt x="13801" y="888644"/>
                  <a:pt x="30648" y="888644"/>
                </a:cubicBezTo>
                <a:cubicBezTo>
                  <a:pt x="47495" y="888644"/>
                  <a:pt x="61200" y="874990"/>
                  <a:pt x="61200" y="858207"/>
                </a:cubicBezTo>
                <a:cubicBezTo>
                  <a:pt x="61200" y="841424"/>
                  <a:pt x="47495" y="827770"/>
                  <a:pt x="30648" y="827770"/>
                </a:cubicBezTo>
                <a:cubicBezTo>
                  <a:pt x="13801" y="827770"/>
                  <a:pt x="95" y="841424"/>
                  <a:pt x="95" y="858207"/>
                </a:cubicBezTo>
                <a:close/>
                <a:moveTo>
                  <a:pt x="118784" y="858207"/>
                </a:moveTo>
                <a:cubicBezTo>
                  <a:pt x="118784" y="874990"/>
                  <a:pt x="132490" y="888644"/>
                  <a:pt x="149337" y="888644"/>
                </a:cubicBezTo>
                <a:cubicBezTo>
                  <a:pt x="166184" y="888644"/>
                  <a:pt x="179889" y="874990"/>
                  <a:pt x="179889" y="858207"/>
                </a:cubicBezTo>
                <a:cubicBezTo>
                  <a:pt x="179889" y="841424"/>
                  <a:pt x="166184" y="827770"/>
                  <a:pt x="149337" y="827770"/>
                </a:cubicBezTo>
                <a:cubicBezTo>
                  <a:pt x="132490" y="827770"/>
                  <a:pt x="118784" y="841424"/>
                  <a:pt x="118784" y="858207"/>
                </a:cubicBezTo>
                <a:close/>
                <a:moveTo>
                  <a:pt x="178081" y="858207"/>
                </a:moveTo>
                <a:cubicBezTo>
                  <a:pt x="178081" y="874990"/>
                  <a:pt x="191787" y="888644"/>
                  <a:pt x="208634" y="888644"/>
                </a:cubicBezTo>
                <a:cubicBezTo>
                  <a:pt x="225480" y="888644"/>
                  <a:pt x="239186" y="874990"/>
                  <a:pt x="239186" y="858207"/>
                </a:cubicBezTo>
                <a:cubicBezTo>
                  <a:pt x="239186" y="841424"/>
                  <a:pt x="225480" y="827770"/>
                  <a:pt x="208634" y="827770"/>
                </a:cubicBezTo>
                <a:cubicBezTo>
                  <a:pt x="191787" y="827770"/>
                  <a:pt x="178081" y="841424"/>
                  <a:pt x="178081" y="858207"/>
                </a:cubicBezTo>
                <a:close/>
                <a:moveTo>
                  <a:pt x="356162" y="858207"/>
                </a:moveTo>
                <a:cubicBezTo>
                  <a:pt x="356162" y="874990"/>
                  <a:pt x="369868" y="888644"/>
                  <a:pt x="386715" y="888644"/>
                </a:cubicBezTo>
                <a:cubicBezTo>
                  <a:pt x="403562" y="888644"/>
                  <a:pt x="417267" y="874990"/>
                  <a:pt x="417267" y="858207"/>
                </a:cubicBezTo>
                <a:cubicBezTo>
                  <a:pt x="417267" y="841424"/>
                  <a:pt x="403562" y="827770"/>
                  <a:pt x="386715" y="827770"/>
                </a:cubicBezTo>
                <a:cubicBezTo>
                  <a:pt x="369868" y="827770"/>
                  <a:pt x="356162" y="841424"/>
                  <a:pt x="356162" y="858207"/>
                </a:cubicBezTo>
                <a:close/>
                <a:moveTo>
                  <a:pt x="474851" y="858207"/>
                </a:moveTo>
                <a:cubicBezTo>
                  <a:pt x="474851" y="874990"/>
                  <a:pt x="488557" y="888644"/>
                  <a:pt x="505404" y="888644"/>
                </a:cubicBezTo>
                <a:cubicBezTo>
                  <a:pt x="522250" y="888644"/>
                  <a:pt x="535956" y="874990"/>
                  <a:pt x="535956" y="858207"/>
                </a:cubicBezTo>
                <a:cubicBezTo>
                  <a:pt x="535956" y="841424"/>
                  <a:pt x="522250" y="827770"/>
                  <a:pt x="505404" y="827770"/>
                </a:cubicBezTo>
                <a:cubicBezTo>
                  <a:pt x="488557" y="827770"/>
                  <a:pt x="474851" y="841424"/>
                  <a:pt x="474851" y="858207"/>
                </a:cubicBezTo>
                <a:close/>
                <a:moveTo>
                  <a:pt x="771621" y="858207"/>
                </a:moveTo>
                <a:cubicBezTo>
                  <a:pt x="771621" y="874990"/>
                  <a:pt x="785327" y="888644"/>
                  <a:pt x="802174" y="888644"/>
                </a:cubicBezTo>
                <a:cubicBezTo>
                  <a:pt x="819021" y="888644"/>
                  <a:pt x="832726" y="874990"/>
                  <a:pt x="832726" y="858207"/>
                </a:cubicBezTo>
                <a:cubicBezTo>
                  <a:pt x="832726" y="841424"/>
                  <a:pt x="819021" y="827770"/>
                  <a:pt x="802174" y="827770"/>
                </a:cubicBezTo>
                <a:cubicBezTo>
                  <a:pt x="785327" y="827770"/>
                  <a:pt x="771621" y="841424"/>
                  <a:pt x="771621" y="858207"/>
                </a:cubicBezTo>
                <a:close/>
                <a:moveTo>
                  <a:pt x="831013" y="858207"/>
                </a:moveTo>
                <a:cubicBezTo>
                  <a:pt x="831013" y="874990"/>
                  <a:pt x="844719" y="888644"/>
                  <a:pt x="861566" y="888644"/>
                </a:cubicBezTo>
                <a:cubicBezTo>
                  <a:pt x="878413" y="888644"/>
                  <a:pt x="892118" y="874990"/>
                  <a:pt x="892118" y="858207"/>
                </a:cubicBezTo>
                <a:cubicBezTo>
                  <a:pt x="892118" y="841424"/>
                  <a:pt x="878413" y="827770"/>
                  <a:pt x="861566" y="827770"/>
                </a:cubicBezTo>
                <a:cubicBezTo>
                  <a:pt x="844719" y="827770"/>
                  <a:pt x="831013" y="841424"/>
                  <a:pt x="831013" y="858207"/>
                </a:cubicBezTo>
                <a:close/>
                <a:moveTo>
                  <a:pt x="890310" y="858207"/>
                </a:moveTo>
                <a:cubicBezTo>
                  <a:pt x="890310" y="874990"/>
                  <a:pt x="904016" y="888644"/>
                  <a:pt x="920863" y="888644"/>
                </a:cubicBezTo>
                <a:cubicBezTo>
                  <a:pt x="937709" y="888644"/>
                  <a:pt x="951415" y="874990"/>
                  <a:pt x="951415" y="858207"/>
                </a:cubicBezTo>
                <a:cubicBezTo>
                  <a:pt x="951415" y="841424"/>
                  <a:pt x="937709" y="827770"/>
                  <a:pt x="920863" y="827770"/>
                </a:cubicBezTo>
                <a:cubicBezTo>
                  <a:pt x="904016" y="827770"/>
                  <a:pt x="890310" y="841424"/>
                  <a:pt x="890310" y="858207"/>
                </a:cubicBezTo>
                <a:close/>
                <a:moveTo>
                  <a:pt x="949702" y="858207"/>
                </a:moveTo>
                <a:cubicBezTo>
                  <a:pt x="949702" y="874990"/>
                  <a:pt x="963408" y="888644"/>
                  <a:pt x="980255" y="888644"/>
                </a:cubicBezTo>
                <a:cubicBezTo>
                  <a:pt x="997101" y="888644"/>
                  <a:pt x="1010807" y="874990"/>
                  <a:pt x="1010807" y="858207"/>
                </a:cubicBezTo>
                <a:cubicBezTo>
                  <a:pt x="1010807" y="841424"/>
                  <a:pt x="997101" y="827770"/>
                  <a:pt x="980255" y="827770"/>
                </a:cubicBezTo>
                <a:cubicBezTo>
                  <a:pt x="963408" y="827770"/>
                  <a:pt x="949702" y="841424"/>
                  <a:pt x="949702" y="858207"/>
                </a:cubicBezTo>
                <a:close/>
                <a:moveTo>
                  <a:pt x="1068391" y="858207"/>
                </a:moveTo>
                <a:cubicBezTo>
                  <a:pt x="1068391" y="874990"/>
                  <a:pt x="1082097" y="888644"/>
                  <a:pt x="1098944" y="888644"/>
                </a:cubicBezTo>
                <a:cubicBezTo>
                  <a:pt x="1115790" y="888644"/>
                  <a:pt x="1129496" y="874990"/>
                  <a:pt x="1129496" y="858207"/>
                </a:cubicBezTo>
                <a:cubicBezTo>
                  <a:pt x="1129496" y="841424"/>
                  <a:pt x="1115790" y="827770"/>
                  <a:pt x="1098944" y="827770"/>
                </a:cubicBezTo>
                <a:cubicBezTo>
                  <a:pt x="1082097" y="827770"/>
                  <a:pt x="1068391" y="841424"/>
                  <a:pt x="1068391" y="858207"/>
                </a:cubicBezTo>
                <a:close/>
                <a:moveTo>
                  <a:pt x="1127783" y="858207"/>
                </a:moveTo>
                <a:cubicBezTo>
                  <a:pt x="1127783" y="874990"/>
                  <a:pt x="1141489" y="888644"/>
                  <a:pt x="1158336" y="888644"/>
                </a:cubicBezTo>
                <a:cubicBezTo>
                  <a:pt x="1175183" y="888644"/>
                  <a:pt x="1188888" y="874990"/>
                  <a:pt x="1188888" y="858207"/>
                </a:cubicBezTo>
                <a:cubicBezTo>
                  <a:pt x="1188888" y="841424"/>
                  <a:pt x="1175183" y="827770"/>
                  <a:pt x="1158336" y="827770"/>
                </a:cubicBezTo>
                <a:cubicBezTo>
                  <a:pt x="1141489" y="827770"/>
                  <a:pt x="1127783" y="841424"/>
                  <a:pt x="1127783" y="858207"/>
                </a:cubicBezTo>
                <a:close/>
                <a:moveTo>
                  <a:pt x="1187080" y="858207"/>
                </a:moveTo>
                <a:cubicBezTo>
                  <a:pt x="1187080" y="874990"/>
                  <a:pt x="1200786" y="888644"/>
                  <a:pt x="1217633" y="888644"/>
                </a:cubicBezTo>
                <a:cubicBezTo>
                  <a:pt x="1234479" y="888644"/>
                  <a:pt x="1248185" y="874990"/>
                  <a:pt x="1248185" y="858207"/>
                </a:cubicBezTo>
                <a:cubicBezTo>
                  <a:pt x="1248185" y="841424"/>
                  <a:pt x="1234479" y="827770"/>
                  <a:pt x="1217633" y="827770"/>
                </a:cubicBezTo>
                <a:cubicBezTo>
                  <a:pt x="1200786" y="827770"/>
                  <a:pt x="1187080" y="841424"/>
                  <a:pt x="1187080" y="858207"/>
                </a:cubicBezTo>
                <a:close/>
                <a:moveTo>
                  <a:pt x="1246472" y="858207"/>
                </a:moveTo>
                <a:cubicBezTo>
                  <a:pt x="1246472" y="874990"/>
                  <a:pt x="1260178" y="888644"/>
                  <a:pt x="1277025" y="888644"/>
                </a:cubicBezTo>
                <a:cubicBezTo>
                  <a:pt x="1293872" y="888644"/>
                  <a:pt x="1307577" y="874990"/>
                  <a:pt x="1307577" y="858207"/>
                </a:cubicBezTo>
                <a:cubicBezTo>
                  <a:pt x="1307577" y="841424"/>
                  <a:pt x="1293872" y="827770"/>
                  <a:pt x="1277025" y="827770"/>
                </a:cubicBezTo>
                <a:cubicBezTo>
                  <a:pt x="1260178" y="827770"/>
                  <a:pt x="1246472" y="841424"/>
                  <a:pt x="1246472" y="858207"/>
                </a:cubicBezTo>
                <a:close/>
                <a:moveTo>
                  <a:pt x="1365161" y="858207"/>
                </a:moveTo>
                <a:cubicBezTo>
                  <a:pt x="1365161" y="874990"/>
                  <a:pt x="1378867" y="888644"/>
                  <a:pt x="1395714" y="888644"/>
                </a:cubicBezTo>
                <a:cubicBezTo>
                  <a:pt x="1412561" y="888644"/>
                  <a:pt x="1426266" y="874990"/>
                  <a:pt x="1426266" y="858207"/>
                </a:cubicBezTo>
                <a:cubicBezTo>
                  <a:pt x="1426266" y="841424"/>
                  <a:pt x="1412561" y="827770"/>
                  <a:pt x="1395714" y="827770"/>
                </a:cubicBezTo>
                <a:cubicBezTo>
                  <a:pt x="1378867" y="827770"/>
                  <a:pt x="1365161" y="841424"/>
                  <a:pt x="1365161" y="858207"/>
                </a:cubicBezTo>
                <a:close/>
                <a:moveTo>
                  <a:pt x="1424553" y="858207"/>
                </a:moveTo>
                <a:cubicBezTo>
                  <a:pt x="1424553" y="874990"/>
                  <a:pt x="1438259" y="888644"/>
                  <a:pt x="1455106" y="888644"/>
                </a:cubicBezTo>
                <a:cubicBezTo>
                  <a:pt x="1471953" y="888644"/>
                  <a:pt x="1485658" y="874990"/>
                  <a:pt x="1485658" y="858207"/>
                </a:cubicBezTo>
                <a:cubicBezTo>
                  <a:pt x="1485658" y="841424"/>
                  <a:pt x="1471953" y="827770"/>
                  <a:pt x="1455106" y="827770"/>
                </a:cubicBezTo>
                <a:cubicBezTo>
                  <a:pt x="1438259" y="827770"/>
                  <a:pt x="1424553" y="841424"/>
                  <a:pt x="1424553" y="858207"/>
                </a:cubicBezTo>
                <a:close/>
                <a:moveTo>
                  <a:pt x="95" y="917374"/>
                </a:moveTo>
                <a:cubicBezTo>
                  <a:pt x="95" y="934157"/>
                  <a:pt x="13801" y="947811"/>
                  <a:pt x="30648" y="947811"/>
                </a:cubicBezTo>
                <a:cubicBezTo>
                  <a:pt x="47495" y="947811"/>
                  <a:pt x="61200" y="934157"/>
                  <a:pt x="61200" y="917374"/>
                </a:cubicBezTo>
                <a:cubicBezTo>
                  <a:pt x="61200" y="900591"/>
                  <a:pt x="47495" y="886937"/>
                  <a:pt x="30648" y="886937"/>
                </a:cubicBezTo>
                <a:cubicBezTo>
                  <a:pt x="13801" y="886937"/>
                  <a:pt x="95" y="900591"/>
                  <a:pt x="95" y="917374"/>
                </a:cubicBezTo>
                <a:close/>
                <a:moveTo>
                  <a:pt x="593635" y="917374"/>
                </a:moveTo>
                <a:cubicBezTo>
                  <a:pt x="593635" y="934157"/>
                  <a:pt x="607341" y="947811"/>
                  <a:pt x="624188" y="947811"/>
                </a:cubicBezTo>
                <a:cubicBezTo>
                  <a:pt x="641035" y="947811"/>
                  <a:pt x="654740" y="934157"/>
                  <a:pt x="654740" y="917374"/>
                </a:cubicBezTo>
                <a:cubicBezTo>
                  <a:pt x="654740" y="900591"/>
                  <a:pt x="641035" y="886937"/>
                  <a:pt x="624188" y="886937"/>
                </a:cubicBezTo>
                <a:cubicBezTo>
                  <a:pt x="607341" y="886937"/>
                  <a:pt x="593635" y="900591"/>
                  <a:pt x="593635" y="917374"/>
                </a:cubicBezTo>
                <a:close/>
                <a:moveTo>
                  <a:pt x="712324" y="917374"/>
                </a:moveTo>
                <a:cubicBezTo>
                  <a:pt x="712324" y="934157"/>
                  <a:pt x="726030" y="947811"/>
                  <a:pt x="742877" y="947811"/>
                </a:cubicBezTo>
                <a:cubicBezTo>
                  <a:pt x="759724" y="947811"/>
                  <a:pt x="773429" y="934157"/>
                  <a:pt x="773429" y="917374"/>
                </a:cubicBezTo>
                <a:cubicBezTo>
                  <a:pt x="773429" y="900591"/>
                  <a:pt x="759724" y="886937"/>
                  <a:pt x="742877" y="886937"/>
                </a:cubicBezTo>
                <a:cubicBezTo>
                  <a:pt x="726030" y="886937"/>
                  <a:pt x="712324" y="900591"/>
                  <a:pt x="712324" y="917374"/>
                </a:cubicBezTo>
                <a:close/>
                <a:moveTo>
                  <a:pt x="771621" y="917374"/>
                </a:moveTo>
                <a:cubicBezTo>
                  <a:pt x="771621" y="934157"/>
                  <a:pt x="785327" y="947811"/>
                  <a:pt x="802174" y="947811"/>
                </a:cubicBezTo>
                <a:cubicBezTo>
                  <a:pt x="819021" y="947811"/>
                  <a:pt x="832726" y="934157"/>
                  <a:pt x="832726" y="917374"/>
                </a:cubicBezTo>
                <a:cubicBezTo>
                  <a:pt x="832726" y="900591"/>
                  <a:pt x="819021" y="886937"/>
                  <a:pt x="802174" y="886937"/>
                </a:cubicBezTo>
                <a:cubicBezTo>
                  <a:pt x="785327" y="886937"/>
                  <a:pt x="771621" y="900591"/>
                  <a:pt x="771621" y="917374"/>
                </a:cubicBezTo>
                <a:close/>
                <a:moveTo>
                  <a:pt x="890310" y="917374"/>
                </a:moveTo>
                <a:cubicBezTo>
                  <a:pt x="890310" y="934157"/>
                  <a:pt x="904016" y="947811"/>
                  <a:pt x="920863" y="947811"/>
                </a:cubicBezTo>
                <a:cubicBezTo>
                  <a:pt x="937709" y="947811"/>
                  <a:pt x="951415" y="934157"/>
                  <a:pt x="951415" y="917374"/>
                </a:cubicBezTo>
                <a:cubicBezTo>
                  <a:pt x="951415" y="900591"/>
                  <a:pt x="937709" y="886937"/>
                  <a:pt x="920863" y="886937"/>
                </a:cubicBezTo>
                <a:cubicBezTo>
                  <a:pt x="904016" y="886937"/>
                  <a:pt x="890310" y="900591"/>
                  <a:pt x="890310" y="917374"/>
                </a:cubicBezTo>
                <a:close/>
                <a:moveTo>
                  <a:pt x="949702" y="917374"/>
                </a:moveTo>
                <a:cubicBezTo>
                  <a:pt x="949702" y="934157"/>
                  <a:pt x="963408" y="947811"/>
                  <a:pt x="980255" y="947811"/>
                </a:cubicBezTo>
                <a:cubicBezTo>
                  <a:pt x="997101" y="947811"/>
                  <a:pt x="1010807" y="934157"/>
                  <a:pt x="1010807" y="917374"/>
                </a:cubicBezTo>
                <a:cubicBezTo>
                  <a:pt x="1010807" y="900591"/>
                  <a:pt x="997101" y="886937"/>
                  <a:pt x="980255" y="886937"/>
                </a:cubicBezTo>
                <a:cubicBezTo>
                  <a:pt x="963408" y="886937"/>
                  <a:pt x="949702" y="900591"/>
                  <a:pt x="949702" y="917374"/>
                </a:cubicBezTo>
                <a:close/>
                <a:moveTo>
                  <a:pt x="1127783" y="917374"/>
                </a:moveTo>
                <a:cubicBezTo>
                  <a:pt x="1127783" y="934157"/>
                  <a:pt x="1141489" y="947811"/>
                  <a:pt x="1158336" y="947811"/>
                </a:cubicBezTo>
                <a:cubicBezTo>
                  <a:pt x="1175183" y="947811"/>
                  <a:pt x="1188888" y="934157"/>
                  <a:pt x="1188888" y="917374"/>
                </a:cubicBezTo>
                <a:cubicBezTo>
                  <a:pt x="1188888" y="900591"/>
                  <a:pt x="1175183" y="886937"/>
                  <a:pt x="1158336" y="886937"/>
                </a:cubicBezTo>
                <a:cubicBezTo>
                  <a:pt x="1141489" y="886937"/>
                  <a:pt x="1127783" y="900591"/>
                  <a:pt x="1127783" y="917374"/>
                </a:cubicBezTo>
                <a:close/>
                <a:moveTo>
                  <a:pt x="1187080" y="917374"/>
                </a:moveTo>
                <a:cubicBezTo>
                  <a:pt x="1187080" y="934157"/>
                  <a:pt x="1200786" y="947811"/>
                  <a:pt x="1217633" y="947811"/>
                </a:cubicBezTo>
                <a:cubicBezTo>
                  <a:pt x="1234479" y="947811"/>
                  <a:pt x="1248185" y="934157"/>
                  <a:pt x="1248185" y="917374"/>
                </a:cubicBezTo>
                <a:cubicBezTo>
                  <a:pt x="1248185" y="900591"/>
                  <a:pt x="1234479" y="886937"/>
                  <a:pt x="1217633" y="886937"/>
                </a:cubicBezTo>
                <a:cubicBezTo>
                  <a:pt x="1200786" y="886937"/>
                  <a:pt x="1187080" y="900591"/>
                  <a:pt x="1187080" y="917374"/>
                </a:cubicBezTo>
                <a:close/>
                <a:moveTo>
                  <a:pt x="1424553" y="917374"/>
                </a:moveTo>
                <a:cubicBezTo>
                  <a:pt x="1424553" y="934157"/>
                  <a:pt x="1438259" y="947811"/>
                  <a:pt x="1455106" y="947811"/>
                </a:cubicBezTo>
                <a:cubicBezTo>
                  <a:pt x="1471953" y="947811"/>
                  <a:pt x="1485658" y="934157"/>
                  <a:pt x="1485658" y="917374"/>
                </a:cubicBezTo>
                <a:cubicBezTo>
                  <a:pt x="1485658" y="900591"/>
                  <a:pt x="1471953" y="886937"/>
                  <a:pt x="1455106" y="886937"/>
                </a:cubicBezTo>
                <a:cubicBezTo>
                  <a:pt x="1438259" y="886937"/>
                  <a:pt x="1424553" y="900591"/>
                  <a:pt x="1424553" y="917374"/>
                </a:cubicBezTo>
                <a:close/>
                <a:moveTo>
                  <a:pt x="95" y="976446"/>
                </a:moveTo>
                <a:cubicBezTo>
                  <a:pt x="95" y="993229"/>
                  <a:pt x="13801" y="1006883"/>
                  <a:pt x="30648" y="1006883"/>
                </a:cubicBezTo>
                <a:cubicBezTo>
                  <a:pt x="47495" y="1006883"/>
                  <a:pt x="61200" y="993229"/>
                  <a:pt x="61200" y="976446"/>
                </a:cubicBezTo>
                <a:cubicBezTo>
                  <a:pt x="61200" y="959663"/>
                  <a:pt x="47495" y="946009"/>
                  <a:pt x="30648" y="946009"/>
                </a:cubicBezTo>
                <a:cubicBezTo>
                  <a:pt x="13801" y="946009"/>
                  <a:pt x="95" y="959663"/>
                  <a:pt x="95" y="976446"/>
                </a:cubicBezTo>
                <a:close/>
                <a:moveTo>
                  <a:pt x="178081" y="976446"/>
                </a:moveTo>
                <a:cubicBezTo>
                  <a:pt x="178081" y="993229"/>
                  <a:pt x="191787" y="1006883"/>
                  <a:pt x="208634" y="1006883"/>
                </a:cubicBezTo>
                <a:cubicBezTo>
                  <a:pt x="225480" y="1006883"/>
                  <a:pt x="239186" y="993229"/>
                  <a:pt x="239186" y="976446"/>
                </a:cubicBezTo>
                <a:cubicBezTo>
                  <a:pt x="239186" y="959663"/>
                  <a:pt x="225480" y="946009"/>
                  <a:pt x="208634" y="946009"/>
                </a:cubicBezTo>
                <a:cubicBezTo>
                  <a:pt x="191787" y="946009"/>
                  <a:pt x="178081" y="959663"/>
                  <a:pt x="178081" y="976446"/>
                </a:cubicBezTo>
                <a:close/>
                <a:moveTo>
                  <a:pt x="356162" y="976446"/>
                </a:moveTo>
                <a:cubicBezTo>
                  <a:pt x="356162" y="993229"/>
                  <a:pt x="369868" y="1006883"/>
                  <a:pt x="386715" y="1006883"/>
                </a:cubicBezTo>
                <a:cubicBezTo>
                  <a:pt x="403562" y="1006883"/>
                  <a:pt x="417267" y="993229"/>
                  <a:pt x="417267" y="976446"/>
                </a:cubicBezTo>
                <a:cubicBezTo>
                  <a:pt x="417267" y="959663"/>
                  <a:pt x="403562" y="946009"/>
                  <a:pt x="386715" y="946009"/>
                </a:cubicBezTo>
                <a:cubicBezTo>
                  <a:pt x="369868" y="946009"/>
                  <a:pt x="356162" y="959663"/>
                  <a:pt x="356162" y="976446"/>
                </a:cubicBezTo>
                <a:close/>
                <a:moveTo>
                  <a:pt x="415554" y="976446"/>
                </a:moveTo>
                <a:cubicBezTo>
                  <a:pt x="415554" y="993229"/>
                  <a:pt x="429260" y="1006883"/>
                  <a:pt x="446107" y="1006883"/>
                </a:cubicBezTo>
                <a:cubicBezTo>
                  <a:pt x="462954" y="1006883"/>
                  <a:pt x="476659" y="993229"/>
                  <a:pt x="476659" y="976446"/>
                </a:cubicBezTo>
                <a:cubicBezTo>
                  <a:pt x="476659" y="959663"/>
                  <a:pt x="462954" y="946009"/>
                  <a:pt x="446107" y="946009"/>
                </a:cubicBezTo>
                <a:cubicBezTo>
                  <a:pt x="429260" y="946009"/>
                  <a:pt x="415554" y="959663"/>
                  <a:pt x="415554" y="976446"/>
                </a:cubicBezTo>
                <a:close/>
                <a:moveTo>
                  <a:pt x="534243" y="976446"/>
                </a:moveTo>
                <a:cubicBezTo>
                  <a:pt x="534243" y="993229"/>
                  <a:pt x="547949" y="1006883"/>
                  <a:pt x="564796" y="1006883"/>
                </a:cubicBezTo>
                <a:cubicBezTo>
                  <a:pt x="581643" y="1006883"/>
                  <a:pt x="595348" y="993229"/>
                  <a:pt x="595348" y="976446"/>
                </a:cubicBezTo>
                <a:cubicBezTo>
                  <a:pt x="595348" y="959663"/>
                  <a:pt x="581643" y="946009"/>
                  <a:pt x="564796" y="946009"/>
                </a:cubicBezTo>
                <a:cubicBezTo>
                  <a:pt x="547949" y="946009"/>
                  <a:pt x="534243" y="959663"/>
                  <a:pt x="534243" y="976446"/>
                </a:cubicBezTo>
                <a:close/>
                <a:moveTo>
                  <a:pt x="593635" y="976446"/>
                </a:moveTo>
                <a:cubicBezTo>
                  <a:pt x="593635" y="993229"/>
                  <a:pt x="607341" y="1006883"/>
                  <a:pt x="624188" y="1006883"/>
                </a:cubicBezTo>
                <a:cubicBezTo>
                  <a:pt x="641035" y="1006883"/>
                  <a:pt x="654740" y="993229"/>
                  <a:pt x="654740" y="976446"/>
                </a:cubicBezTo>
                <a:cubicBezTo>
                  <a:pt x="654740" y="959663"/>
                  <a:pt x="641035" y="946009"/>
                  <a:pt x="624188" y="946009"/>
                </a:cubicBezTo>
                <a:cubicBezTo>
                  <a:pt x="607341" y="946009"/>
                  <a:pt x="593635" y="959663"/>
                  <a:pt x="593635" y="976446"/>
                </a:cubicBezTo>
                <a:close/>
                <a:moveTo>
                  <a:pt x="712324" y="976446"/>
                </a:moveTo>
                <a:cubicBezTo>
                  <a:pt x="712324" y="993229"/>
                  <a:pt x="726030" y="1006883"/>
                  <a:pt x="742877" y="1006883"/>
                </a:cubicBezTo>
                <a:cubicBezTo>
                  <a:pt x="759724" y="1006883"/>
                  <a:pt x="773429" y="993229"/>
                  <a:pt x="773429" y="976446"/>
                </a:cubicBezTo>
                <a:cubicBezTo>
                  <a:pt x="773429" y="959663"/>
                  <a:pt x="759724" y="946009"/>
                  <a:pt x="742877" y="946009"/>
                </a:cubicBezTo>
                <a:cubicBezTo>
                  <a:pt x="726030" y="946009"/>
                  <a:pt x="712324" y="959663"/>
                  <a:pt x="712324" y="976446"/>
                </a:cubicBezTo>
                <a:close/>
                <a:moveTo>
                  <a:pt x="831013" y="976446"/>
                </a:moveTo>
                <a:cubicBezTo>
                  <a:pt x="831013" y="993229"/>
                  <a:pt x="844719" y="1006883"/>
                  <a:pt x="861566" y="1006883"/>
                </a:cubicBezTo>
                <a:cubicBezTo>
                  <a:pt x="878413" y="1006883"/>
                  <a:pt x="892118" y="993229"/>
                  <a:pt x="892118" y="976446"/>
                </a:cubicBezTo>
                <a:cubicBezTo>
                  <a:pt x="892118" y="959663"/>
                  <a:pt x="878413" y="946009"/>
                  <a:pt x="861566" y="946009"/>
                </a:cubicBezTo>
                <a:cubicBezTo>
                  <a:pt x="844719" y="946009"/>
                  <a:pt x="831013" y="959663"/>
                  <a:pt x="831013" y="976446"/>
                </a:cubicBezTo>
                <a:close/>
                <a:moveTo>
                  <a:pt x="890310" y="976446"/>
                </a:moveTo>
                <a:cubicBezTo>
                  <a:pt x="890310" y="993229"/>
                  <a:pt x="904016" y="1006883"/>
                  <a:pt x="920863" y="1006883"/>
                </a:cubicBezTo>
                <a:cubicBezTo>
                  <a:pt x="937709" y="1006883"/>
                  <a:pt x="951415" y="993229"/>
                  <a:pt x="951415" y="976446"/>
                </a:cubicBezTo>
                <a:cubicBezTo>
                  <a:pt x="951415" y="959663"/>
                  <a:pt x="937709" y="946009"/>
                  <a:pt x="920863" y="946009"/>
                </a:cubicBezTo>
                <a:cubicBezTo>
                  <a:pt x="904016" y="946009"/>
                  <a:pt x="890310" y="959663"/>
                  <a:pt x="890310" y="976446"/>
                </a:cubicBezTo>
                <a:close/>
                <a:moveTo>
                  <a:pt x="949702" y="976446"/>
                </a:moveTo>
                <a:cubicBezTo>
                  <a:pt x="949702" y="993229"/>
                  <a:pt x="963408" y="1006883"/>
                  <a:pt x="980255" y="1006883"/>
                </a:cubicBezTo>
                <a:cubicBezTo>
                  <a:pt x="997101" y="1006883"/>
                  <a:pt x="1010807" y="993229"/>
                  <a:pt x="1010807" y="976446"/>
                </a:cubicBezTo>
                <a:cubicBezTo>
                  <a:pt x="1010807" y="959663"/>
                  <a:pt x="997101" y="946009"/>
                  <a:pt x="980255" y="946009"/>
                </a:cubicBezTo>
                <a:cubicBezTo>
                  <a:pt x="963408" y="946009"/>
                  <a:pt x="949702" y="959663"/>
                  <a:pt x="949702" y="976446"/>
                </a:cubicBezTo>
                <a:close/>
                <a:moveTo>
                  <a:pt x="1009094" y="976446"/>
                </a:moveTo>
                <a:cubicBezTo>
                  <a:pt x="1009094" y="993229"/>
                  <a:pt x="1022800" y="1006883"/>
                  <a:pt x="1039647" y="1006883"/>
                </a:cubicBezTo>
                <a:cubicBezTo>
                  <a:pt x="1056494" y="1006883"/>
                  <a:pt x="1070199" y="993229"/>
                  <a:pt x="1070199" y="976446"/>
                </a:cubicBezTo>
                <a:cubicBezTo>
                  <a:pt x="1070199" y="959663"/>
                  <a:pt x="1056494" y="946009"/>
                  <a:pt x="1039647" y="946009"/>
                </a:cubicBezTo>
                <a:cubicBezTo>
                  <a:pt x="1022800" y="946009"/>
                  <a:pt x="1009094" y="959663"/>
                  <a:pt x="1009094" y="976446"/>
                </a:cubicBezTo>
                <a:close/>
                <a:moveTo>
                  <a:pt x="1068391" y="976446"/>
                </a:moveTo>
                <a:cubicBezTo>
                  <a:pt x="1068391" y="993229"/>
                  <a:pt x="1082097" y="1006883"/>
                  <a:pt x="1098944" y="1006883"/>
                </a:cubicBezTo>
                <a:cubicBezTo>
                  <a:pt x="1115790" y="1006883"/>
                  <a:pt x="1129496" y="993229"/>
                  <a:pt x="1129496" y="976446"/>
                </a:cubicBezTo>
                <a:cubicBezTo>
                  <a:pt x="1129496" y="959663"/>
                  <a:pt x="1115790" y="946009"/>
                  <a:pt x="1098944" y="946009"/>
                </a:cubicBezTo>
                <a:cubicBezTo>
                  <a:pt x="1082097" y="946009"/>
                  <a:pt x="1068391" y="959663"/>
                  <a:pt x="1068391" y="976446"/>
                </a:cubicBezTo>
                <a:close/>
                <a:moveTo>
                  <a:pt x="1127783" y="976446"/>
                </a:moveTo>
                <a:cubicBezTo>
                  <a:pt x="1127783" y="993229"/>
                  <a:pt x="1141489" y="1006883"/>
                  <a:pt x="1158336" y="1006883"/>
                </a:cubicBezTo>
                <a:cubicBezTo>
                  <a:pt x="1175183" y="1006883"/>
                  <a:pt x="1188888" y="993229"/>
                  <a:pt x="1188888" y="976446"/>
                </a:cubicBezTo>
                <a:cubicBezTo>
                  <a:pt x="1188888" y="959663"/>
                  <a:pt x="1175183" y="946009"/>
                  <a:pt x="1158336" y="946009"/>
                </a:cubicBezTo>
                <a:cubicBezTo>
                  <a:pt x="1141489" y="946009"/>
                  <a:pt x="1127783" y="959663"/>
                  <a:pt x="1127783" y="976446"/>
                </a:cubicBezTo>
                <a:close/>
                <a:moveTo>
                  <a:pt x="1187080" y="976446"/>
                </a:moveTo>
                <a:cubicBezTo>
                  <a:pt x="1187080" y="993229"/>
                  <a:pt x="1200786" y="1006883"/>
                  <a:pt x="1217633" y="1006883"/>
                </a:cubicBezTo>
                <a:cubicBezTo>
                  <a:pt x="1234479" y="1006883"/>
                  <a:pt x="1248185" y="993229"/>
                  <a:pt x="1248185" y="976446"/>
                </a:cubicBezTo>
                <a:cubicBezTo>
                  <a:pt x="1248185" y="959663"/>
                  <a:pt x="1234479" y="946009"/>
                  <a:pt x="1217633" y="946009"/>
                </a:cubicBezTo>
                <a:cubicBezTo>
                  <a:pt x="1200786" y="946009"/>
                  <a:pt x="1187080" y="959663"/>
                  <a:pt x="1187080" y="976446"/>
                </a:cubicBezTo>
                <a:close/>
                <a:moveTo>
                  <a:pt x="1305769" y="976446"/>
                </a:moveTo>
                <a:cubicBezTo>
                  <a:pt x="1305769" y="993229"/>
                  <a:pt x="1319475" y="1006883"/>
                  <a:pt x="1336322" y="1006883"/>
                </a:cubicBezTo>
                <a:cubicBezTo>
                  <a:pt x="1353168" y="1006883"/>
                  <a:pt x="1366874" y="993229"/>
                  <a:pt x="1366874" y="976446"/>
                </a:cubicBezTo>
                <a:cubicBezTo>
                  <a:pt x="1366874" y="959663"/>
                  <a:pt x="1353168" y="946009"/>
                  <a:pt x="1336322" y="946009"/>
                </a:cubicBezTo>
                <a:cubicBezTo>
                  <a:pt x="1319475" y="946009"/>
                  <a:pt x="1305769" y="959663"/>
                  <a:pt x="1305769" y="976446"/>
                </a:cubicBezTo>
                <a:close/>
                <a:moveTo>
                  <a:pt x="474851" y="1035613"/>
                </a:moveTo>
                <a:cubicBezTo>
                  <a:pt x="474851" y="1052396"/>
                  <a:pt x="488557" y="1066050"/>
                  <a:pt x="505404" y="1066050"/>
                </a:cubicBezTo>
                <a:cubicBezTo>
                  <a:pt x="522250" y="1066050"/>
                  <a:pt x="535956" y="1052396"/>
                  <a:pt x="535956" y="1035613"/>
                </a:cubicBezTo>
                <a:cubicBezTo>
                  <a:pt x="535956" y="1018830"/>
                  <a:pt x="522250" y="1005176"/>
                  <a:pt x="505404" y="1005176"/>
                </a:cubicBezTo>
                <a:cubicBezTo>
                  <a:pt x="488557" y="1005176"/>
                  <a:pt x="474851" y="1018830"/>
                  <a:pt x="474851" y="1035613"/>
                </a:cubicBezTo>
                <a:close/>
                <a:moveTo>
                  <a:pt x="534243" y="1035613"/>
                </a:moveTo>
                <a:cubicBezTo>
                  <a:pt x="534243" y="1052396"/>
                  <a:pt x="547949" y="1066050"/>
                  <a:pt x="564796" y="1066050"/>
                </a:cubicBezTo>
                <a:cubicBezTo>
                  <a:pt x="581643" y="1066050"/>
                  <a:pt x="595348" y="1052396"/>
                  <a:pt x="595348" y="1035613"/>
                </a:cubicBezTo>
                <a:cubicBezTo>
                  <a:pt x="595348" y="1018830"/>
                  <a:pt x="581643" y="1005176"/>
                  <a:pt x="564796" y="1005176"/>
                </a:cubicBezTo>
                <a:cubicBezTo>
                  <a:pt x="547949" y="1005176"/>
                  <a:pt x="534243" y="1018830"/>
                  <a:pt x="534243" y="1035613"/>
                </a:cubicBezTo>
                <a:close/>
                <a:moveTo>
                  <a:pt x="593635" y="1035613"/>
                </a:moveTo>
                <a:cubicBezTo>
                  <a:pt x="593635" y="1052396"/>
                  <a:pt x="607341" y="1066050"/>
                  <a:pt x="624188" y="1066050"/>
                </a:cubicBezTo>
                <a:cubicBezTo>
                  <a:pt x="641035" y="1066050"/>
                  <a:pt x="654740" y="1052396"/>
                  <a:pt x="654740" y="1035613"/>
                </a:cubicBezTo>
                <a:cubicBezTo>
                  <a:pt x="654740" y="1018830"/>
                  <a:pt x="641035" y="1005176"/>
                  <a:pt x="624188" y="1005176"/>
                </a:cubicBezTo>
                <a:cubicBezTo>
                  <a:pt x="607341" y="1005176"/>
                  <a:pt x="593635" y="1018830"/>
                  <a:pt x="593635" y="1035613"/>
                </a:cubicBezTo>
                <a:close/>
                <a:moveTo>
                  <a:pt x="890310" y="1035613"/>
                </a:moveTo>
                <a:cubicBezTo>
                  <a:pt x="890310" y="1052396"/>
                  <a:pt x="904016" y="1066050"/>
                  <a:pt x="920863" y="1066050"/>
                </a:cubicBezTo>
                <a:cubicBezTo>
                  <a:pt x="937709" y="1066050"/>
                  <a:pt x="951415" y="1052396"/>
                  <a:pt x="951415" y="1035613"/>
                </a:cubicBezTo>
                <a:cubicBezTo>
                  <a:pt x="951415" y="1018830"/>
                  <a:pt x="937709" y="1005176"/>
                  <a:pt x="920863" y="1005176"/>
                </a:cubicBezTo>
                <a:cubicBezTo>
                  <a:pt x="904016" y="1005176"/>
                  <a:pt x="890310" y="1018830"/>
                  <a:pt x="890310" y="1035613"/>
                </a:cubicBezTo>
                <a:close/>
                <a:moveTo>
                  <a:pt x="949702" y="1035613"/>
                </a:moveTo>
                <a:cubicBezTo>
                  <a:pt x="949702" y="1052396"/>
                  <a:pt x="963408" y="1066050"/>
                  <a:pt x="980255" y="1066050"/>
                </a:cubicBezTo>
                <a:cubicBezTo>
                  <a:pt x="997101" y="1066050"/>
                  <a:pt x="1010807" y="1052396"/>
                  <a:pt x="1010807" y="1035613"/>
                </a:cubicBezTo>
                <a:cubicBezTo>
                  <a:pt x="1010807" y="1018830"/>
                  <a:pt x="997101" y="1005176"/>
                  <a:pt x="980255" y="1005176"/>
                </a:cubicBezTo>
                <a:cubicBezTo>
                  <a:pt x="963408" y="1005176"/>
                  <a:pt x="949702" y="1018830"/>
                  <a:pt x="949702" y="1035613"/>
                </a:cubicBezTo>
                <a:close/>
                <a:moveTo>
                  <a:pt x="1187080" y="1035613"/>
                </a:moveTo>
                <a:cubicBezTo>
                  <a:pt x="1187080" y="1052396"/>
                  <a:pt x="1200786" y="1066050"/>
                  <a:pt x="1217633" y="1066050"/>
                </a:cubicBezTo>
                <a:cubicBezTo>
                  <a:pt x="1234479" y="1066050"/>
                  <a:pt x="1248185" y="1052396"/>
                  <a:pt x="1248185" y="1035613"/>
                </a:cubicBezTo>
                <a:cubicBezTo>
                  <a:pt x="1248185" y="1018830"/>
                  <a:pt x="1234479" y="1005176"/>
                  <a:pt x="1217633" y="1005176"/>
                </a:cubicBezTo>
                <a:cubicBezTo>
                  <a:pt x="1200786" y="1005176"/>
                  <a:pt x="1187080" y="1018830"/>
                  <a:pt x="1187080" y="1035613"/>
                </a:cubicBezTo>
                <a:close/>
                <a:moveTo>
                  <a:pt x="1246472" y="1035613"/>
                </a:moveTo>
                <a:cubicBezTo>
                  <a:pt x="1246472" y="1052396"/>
                  <a:pt x="1260178" y="1066050"/>
                  <a:pt x="1277025" y="1066050"/>
                </a:cubicBezTo>
                <a:cubicBezTo>
                  <a:pt x="1293872" y="1066050"/>
                  <a:pt x="1307577" y="1052396"/>
                  <a:pt x="1307577" y="1035613"/>
                </a:cubicBezTo>
                <a:cubicBezTo>
                  <a:pt x="1307577" y="1018830"/>
                  <a:pt x="1293872" y="1005176"/>
                  <a:pt x="1277025" y="1005176"/>
                </a:cubicBezTo>
                <a:cubicBezTo>
                  <a:pt x="1260178" y="1005176"/>
                  <a:pt x="1246472" y="1018830"/>
                  <a:pt x="1246472" y="1035613"/>
                </a:cubicBezTo>
                <a:close/>
                <a:moveTo>
                  <a:pt x="652932" y="1094685"/>
                </a:moveTo>
                <a:cubicBezTo>
                  <a:pt x="652932" y="1111468"/>
                  <a:pt x="666638" y="1125122"/>
                  <a:pt x="683485" y="1125122"/>
                </a:cubicBezTo>
                <a:cubicBezTo>
                  <a:pt x="700332" y="1125122"/>
                  <a:pt x="714037" y="1111468"/>
                  <a:pt x="714037" y="1094685"/>
                </a:cubicBezTo>
                <a:cubicBezTo>
                  <a:pt x="714037" y="1077902"/>
                  <a:pt x="700332" y="1064249"/>
                  <a:pt x="683485" y="1064249"/>
                </a:cubicBezTo>
                <a:cubicBezTo>
                  <a:pt x="666638" y="1064249"/>
                  <a:pt x="652932" y="1077902"/>
                  <a:pt x="652932" y="1094685"/>
                </a:cubicBezTo>
                <a:close/>
                <a:moveTo>
                  <a:pt x="712324" y="1094685"/>
                </a:moveTo>
                <a:cubicBezTo>
                  <a:pt x="712324" y="1111468"/>
                  <a:pt x="726030" y="1125122"/>
                  <a:pt x="742877" y="1125122"/>
                </a:cubicBezTo>
                <a:cubicBezTo>
                  <a:pt x="759724" y="1125122"/>
                  <a:pt x="773429" y="1111468"/>
                  <a:pt x="773429" y="1094685"/>
                </a:cubicBezTo>
                <a:cubicBezTo>
                  <a:pt x="773429" y="1077902"/>
                  <a:pt x="759724" y="1064249"/>
                  <a:pt x="742877" y="1064249"/>
                </a:cubicBezTo>
                <a:cubicBezTo>
                  <a:pt x="726030" y="1064249"/>
                  <a:pt x="712324" y="1077902"/>
                  <a:pt x="712324" y="1094685"/>
                </a:cubicBezTo>
                <a:close/>
                <a:moveTo>
                  <a:pt x="949702" y="1094685"/>
                </a:moveTo>
                <a:cubicBezTo>
                  <a:pt x="949702" y="1111468"/>
                  <a:pt x="963408" y="1125122"/>
                  <a:pt x="980255" y="1125122"/>
                </a:cubicBezTo>
                <a:cubicBezTo>
                  <a:pt x="997101" y="1125122"/>
                  <a:pt x="1010807" y="1111468"/>
                  <a:pt x="1010807" y="1094685"/>
                </a:cubicBezTo>
                <a:cubicBezTo>
                  <a:pt x="1010807" y="1077902"/>
                  <a:pt x="997101" y="1064249"/>
                  <a:pt x="980255" y="1064249"/>
                </a:cubicBezTo>
                <a:cubicBezTo>
                  <a:pt x="963408" y="1064249"/>
                  <a:pt x="949702" y="1077902"/>
                  <a:pt x="949702" y="1094685"/>
                </a:cubicBezTo>
                <a:close/>
                <a:moveTo>
                  <a:pt x="1068391" y="1094685"/>
                </a:moveTo>
                <a:cubicBezTo>
                  <a:pt x="1068391" y="1111468"/>
                  <a:pt x="1082097" y="1125122"/>
                  <a:pt x="1098944" y="1125122"/>
                </a:cubicBezTo>
                <a:cubicBezTo>
                  <a:pt x="1115790" y="1125122"/>
                  <a:pt x="1129496" y="1111468"/>
                  <a:pt x="1129496" y="1094685"/>
                </a:cubicBezTo>
                <a:cubicBezTo>
                  <a:pt x="1129496" y="1077902"/>
                  <a:pt x="1115790" y="1064249"/>
                  <a:pt x="1098944" y="1064249"/>
                </a:cubicBezTo>
                <a:cubicBezTo>
                  <a:pt x="1082097" y="1064249"/>
                  <a:pt x="1068391" y="1077902"/>
                  <a:pt x="1068391" y="1094685"/>
                </a:cubicBezTo>
                <a:close/>
                <a:moveTo>
                  <a:pt x="1187080" y="1094685"/>
                </a:moveTo>
                <a:cubicBezTo>
                  <a:pt x="1187080" y="1111468"/>
                  <a:pt x="1200786" y="1125122"/>
                  <a:pt x="1217633" y="1125122"/>
                </a:cubicBezTo>
                <a:cubicBezTo>
                  <a:pt x="1234479" y="1125122"/>
                  <a:pt x="1248185" y="1111468"/>
                  <a:pt x="1248185" y="1094685"/>
                </a:cubicBezTo>
                <a:cubicBezTo>
                  <a:pt x="1248185" y="1077902"/>
                  <a:pt x="1234479" y="1064249"/>
                  <a:pt x="1217633" y="1064249"/>
                </a:cubicBezTo>
                <a:cubicBezTo>
                  <a:pt x="1200786" y="1064249"/>
                  <a:pt x="1187080" y="1077902"/>
                  <a:pt x="1187080" y="1094685"/>
                </a:cubicBezTo>
                <a:close/>
                <a:moveTo>
                  <a:pt x="1305769" y="1094685"/>
                </a:moveTo>
                <a:cubicBezTo>
                  <a:pt x="1305769" y="1111468"/>
                  <a:pt x="1319475" y="1125122"/>
                  <a:pt x="1336322" y="1125122"/>
                </a:cubicBezTo>
                <a:cubicBezTo>
                  <a:pt x="1353168" y="1125122"/>
                  <a:pt x="1366874" y="1111468"/>
                  <a:pt x="1366874" y="1094685"/>
                </a:cubicBezTo>
                <a:cubicBezTo>
                  <a:pt x="1366874" y="1077902"/>
                  <a:pt x="1353168" y="1064249"/>
                  <a:pt x="1336322" y="1064249"/>
                </a:cubicBezTo>
                <a:cubicBezTo>
                  <a:pt x="1319475" y="1064249"/>
                  <a:pt x="1305769" y="1077902"/>
                  <a:pt x="1305769" y="1094685"/>
                </a:cubicBezTo>
                <a:close/>
                <a:moveTo>
                  <a:pt x="1365161" y="1094685"/>
                </a:moveTo>
                <a:cubicBezTo>
                  <a:pt x="1365161" y="1111468"/>
                  <a:pt x="1378867" y="1125122"/>
                  <a:pt x="1395714" y="1125122"/>
                </a:cubicBezTo>
                <a:cubicBezTo>
                  <a:pt x="1412561" y="1125122"/>
                  <a:pt x="1426266" y="1111468"/>
                  <a:pt x="1426266" y="1094685"/>
                </a:cubicBezTo>
                <a:cubicBezTo>
                  <a:pt x="1426266" y="1077902"/>
                  <a:pt x="1412561" y="1064249"/>
                  <a:pt x="1395714" y="1064249"/>
                </a:cubicBezTo>
                <a:cubicBezTo>
                  <a:pt x="1378867" y="1064249"/>
                  <a:pt x="1365161" y="1077902"/>
                  <a:pt x="1365161" y="1094685"/>
                </a:cubicBezTo>
                <a:close/>
                <a:moveTo>
                  <a:pt x="1424553" y="1094685"/>
                </a:moveTo>
                <a:cubicBezTo>
                  <a:pt x="1424553" y="1111468"/>
                  <a:pt x="1438259" y="1125122"/>
                  <a:pt x="1455106" y="1125122"/>
                </a:cubicBezTo>
                <a:cubicBezTo>
                  <a:pt x="1471953" y="1125122"/>
                  <a:pt x="1485658" y="1111468"/>
                  <a:pt x="1485658" y="1094685"/>
                </a:cubicBezTo>
                <a:cubicBezTo>
                  <a:pt x="1485658" y="1077902"/>
                  <a:pt x="1471953" y="1064249"/>
                  <a:pt x="1455106" y="1064249"/>
                </a:cubicBezTo>
                <a:cubicBezTo>
                  <a:pt x="1438259" y="1064249"/>
                  <a:pt x="1424553" y="1077902"/>
                  <a:pt x="1424553" y="1094685"/>
                </a:cubicBezTo>
                <a:close/>
                <a:moveTo>
                  <a:pt x="474851" y="1153853"/>
                </a:moveTo>
                <a:cubicBezTo>
                  <a:pt x="474851" y="1170635"/>
                  <a:pt x="488557" y="1184289"/>
                  <a:pt x="505404" y="1184289"/>
                </a:cubicBezTo>
                <a:cubicBezTo>
                  <a:pt x="522250" y="1184289"/>
                  <a:pt x="535956" y="1170635"/>
                  <a:pt x="535956" y="1153853"/>
                </a:cubicBezTo>
                <a:cubicBezTo>
                  <a:pt x="535956" y="1137070"/>
                  <a:pt x="522250" y="1123416"/>
                  <a:pt x="505404" y="1123416"/>
                </a:cubicBezTo>
                <a:cubicBezTo>
                  <a:pt x="488557" y="1123416"/>
                  <a:pt x="474851" y="1137070"/>
                  <a:pt x="474851" y="1153853"/>
                </a:cubicBezTo>
                <a:close/>
                <a:moveTo>
                  <a:pt x="593635" y="1153853"/>
                </a:moveTo>
                <a:cubicBezTo>
                  <a:pt x="593635" y="1170635"/>
                  <a:pt x="607341" y="1184289"/>
                  <a:pt x="624188" y="1184289"/>
                </a:cubicBezTo>
                <a:cubicBezTo>
                  <a:pt x="641035" y="1184289"/>
                  <a:pt x="654740" y="1170635"/>
                  <a:pt x="654740" y="1153853"/>
                </a:cubicBezTo>
                <a:cubicBezTo>
                  <a:pt x="654740" y="1137070"/>
                  <a:pt x="641035" y="1123416"/>
                  <a:pt x="624188" y="1123416"/>
                </a:cubicBezTo>
                <a:cubicBezTo>
                  <a:pt x="607341" y="1123416"/>
                  <a:pt x="593635" y="1137070"/>
                  <a:pt x="593635" y="1153853"/>
                </a:cubicBezTo>
                <a:close/>
                <a:moveTo>
                  <a:pt x="652932" y="1153853"/>
                </a:moveTo>
                <a:cubicBezTo>
                  <a:pt x="652932" y="1170635"/>
                  <a:pt x="666638" y="1184289"/>
                  <a:pt x="683485" y="1184289"/>
                </a:cubicBezTo>
                <a:cubicBezTo>
                  <a:pt x="700332" y="1184289"/>
                  <a:pt x="714037" y="1170635"/>
                  <a:pt x="714037" y="1153853"/>
                </a:cubicBezTo>
                <a:cubicBezTo>
                  <a:pt x="714037" y="1137070"/>
                  <a:pt x="700332" y="1123416"/>
                  <a:pt x="683485" y="1123416"/>
                </a:cubicBezTo>
                <a:cubicBezTo>
                  <a:pt x="666638" y="1123416"/>
                  <a:pt x="652932" y="1137070"/>
                  <a:pt x="652932" y="1153853"/>
                </a:cubicBezTo>
                <a:close/>
                <a:moveTo>
                  <a:pt x="831013" y="1153853"/>
                </a:moveTo>
                <a:cubicBezTo>
                  <a:pt x="831013" y="1170635"/>
                  <a:pt x="844719" y="1184289"/>
                  <a:pt x="861566" y="1184289"/>
                </a:cubicBezTo>
                <a:cubicBezTo>
                  <a:pt x="878413" y="1184289"/>
                  <a:pt x="892118" y="1170635"/>
                  <a:pt x="892118" y="1153853"/>
                </a:cubicBezTo>
                <a:cubicBezTo>
                  <a:pt x="892118" y="1137070"/>
                  <a:pt x="878413" y="1123416"/>
                  <a:pt x="861566" y="1123416"/>
                </a:cubicBezTo>
                <a:cubicBezTo>
                  <a:pt x="844719" y="1123416"/>
                  <a:pt x="831013" y="1137070"/>
                  <a:pt x="831013" y="1153853"/>
                </a:cubicBezTo>
                <a:close/>
                <a:moveTo>
                  <a:pt x="949702" y="1153853"/>
                </a:moveTo>
                <a:cubicBezTo>
                  <a:pt x="949702" y="1170635"/>
                  <a:pt x="963408" y="1184289"/>
                  <a:pt x="980255" y="1184289"/>
                </a:cubicBezTo>
                <a:cubicBezTo>
                  <a:pt x="997101" y="1184289"/>
                  <a:pt x="1010807" y="1170635"/>
                  <a:pt x="1010807" y="1153853"/>
                </a:cubicBezTo>
                <a:cubicBezTo>
                  <a:pt x="1010807" y="1137070"/>
                  <a:pt x="997101" y="1123416"/>
                  <a:pt x="980255" y="1123416"/>
                </a:cubicBezTo>
                <a:cubicBezTo>
                  <a:pt x="963408" y="1123416"/>
                  <a:pt x="949702" y="1137070"/>
                  <a:pt x="949702" y="1153853"/>
                </a:cubicBezTo>
                <a:close/>
                <a:moveTo>
                  <a:pt x="1187080" y="1153853"/>
                </a:moveTo>
                <a:cubicBezTo>
                  <a:pt x="1187080" y="1170635"/>
                  <a:pt x="1200786" y="1184289"/>
                  <a:pt x="1217633" y="1184289"/>
                </a:cubicBezTo>
                <a:cubicBezTo>
                  <a:pt x="1234479" y="1184289"/>
                  <a:pt x="1248185" y="1170635"/>
                  <a:pt x="1248185" y="1153853"/>
                </a:cubicBezTo>
                <a:cubicBezTo>
                  <a:pt x="1248185" y="1137070"/>
                  <a:pt x="1234479" y="1123416"/>
                  <a:pt x="1217633" y="1123416"/>
                </a:cubicBezTo>
                <a:cubicBezTo>
                  <a:pt x="1200786" y="1123416"/>
                  <a:pt x="1187080" y="1137070"/>
                  <a:pt x="1187080" y="1153853"/>
                </a:cubicBezTo>
                <a:close/>
                <a:moveTo>
                  <a:pt x="1246472" y="1153853"/>
                </a:moveTo>
                <a:cubicBezTo>
                  <a:pt x="1246472" y="1170635"/>
                  <a:pt x="1260178" y="1184289"/>
                  <a:pt x="1277025" y="1184289"/>
                </a:cubicBezTo>
                <a:cubicBezTo>
                  <a:pt x="1293872" y="1184289"/>
                  <a:pt x="1307577" y="1170635"/>
                  <a:pt x="1307577" y="1153853"/>
                </a:cubicBezTo>
                <a:cubicBezTo>
                  <a:pt x="1307577" y="1137070"/>
                  <a:pt x="1293872" y="1123416"/>
                  <a:pt x="1277025" y="1123416"/>
                </a:cubicBezTo>
                <a:cubicBezTo>
                  <a:pt x="1260178" y="1123416"/>
                  <a:pt x="1246472" y="1137070"/>
                  <a:pt x="1246472" y="1153853"/>
                </a:cubicBezTo>
                <a:close/>
                <a:moveTo>
                  <a:pt x="1424553" y="1153853"/>
                </a:moveTo>
                <a:cubicBezTo>
                  <a:pt x="1424553" y="1170635"/>
                  <a:pt x="1438259" y="1184289"/>
                  <a:pt x="1455106" y="1184289"/>
                </a:cubicBezTo>
                <a:cubicBezTo>
                  <a:pt x="1471953" y="1184289"/>
                  <a:pt x="1485658" y="1170635"/>
                  <a:pt x="1485658" y="1153853"/>
                </a:cubicBezTo>
                <a:cubicBezTo>
                  <a:pt x="1485658" y="1137070"/>
                  <a:pt x="1471953" y="1123416"/>
                  <a:pt x="1455106" y="1123416"/>
                </a:cubicBezTo>
                <a:cubicBezTo>
                  <a:pt x="1438259" y="1123416"/>
                  <a:pt x="1424553" y="1137070"/>
                  <a:pt x="1424553" y="1153853"/>
                </a:cubicBezTo>
                <a:close/>
                <a:moveTo>
                  <a:pt x="474851" y="1212925"/>
                </a:moveTo>
                <a:cubicBezTo>
                  <a:pt x="474851" y="1229708"/>
                  <a:pt x="488557" y="1243362"/>
                  <a:pt x="505404" y="1243362"/>
                </a:cubicBezTo>
                <a:cubicBezTo>
                  <a:pt x="522250" y="1243362"/>
                  <a:pt x="535956" y="1229708"/>
                  <a:pt x="535956" y="1212925"/>
                </a:cubicBezTo>
                <a:cubicBezTo>
                  <a:pt x="535956" y="1196142"/>
                  <a:pt x="522250" y="1182488"/>
                  <a:pt x="505404" y="1182488"/>
                </a:cubicBezTo>
                <a:cubicBezTo>
                  <a:pt x="488557" y="1182488"/>
                  <a:pt x="474851" y="1196142"/>
                  <a:pt x="474851" y="1212925"/>
                </a:cubicBezTo>
                <a:close/>
                <a:moveTo>
                  <a:pt x="534243" y="1212925"/>
                </a:moveTo>
                <a:cubicBezTo>
                  <a:pt x="534243" y="1229708"/>
                  <a:pt x="547949" y="1243362"/>
                  <a:pt x="564796" y="1243362"/>
                </a:cubicBezTo>
                <a:cubicBezTo>
                  <a:pt x="581643" y="1243362"/>
                  <a:pt x="595348" y="1229708"/>
                  <a:pt x="595348" y="1212925"/>
                </a:cubicBezTo>
                <a:cubicBezTo>
                  <a:pt x="595348" y="1196142"/>
                  <a:pt x="581643" y="1182488"/>
                  <a:pt x="564796" y="1182488"/>
                </a:cubicBezTo>
                <a:cubicBezTo>
                  <a:pt x="547949" y="1182488"/>
                  <a:pt x="534243" y="1196142"/>
                  <a:pt x="534243" y="1212925"/>
                </a:cubicBezTo>
                <a:close/>
                <a:moveTo>
                  <a:pt x="652932" y="1212925"/>
                </a:moveTo>
                <a:cubicBezTo>
                  <a:pt x="652932" y="1229708"/>
                  <a:pt x="666638" y="1243362"/>
                  <a:pt x="683485" y="1243362"/>
                </a:cubicBezTo>
                <a:cubicBezTo>
                  <a:pt x="700332" y="1243362"/>
                  <a:pt x="714037" y="1229708"/>
                  <a:pt x="714037" y="1212925"/>
                </a:cubicBezTo>
                <a:cubicBezTo>
                  <a:pt x="714037" y="1196142"/>
                  <a:pt x="700332" y="1182488"/>
                  <a:pt x="683485" y="1182488"/>
                </a:cubicBezTo>
                <a:cubicBezTo>
                  <a:pt x="666638" y="1182488"/>
                  <a:pt x="652932" y="1196142"/>
                  <a:pt x="652932" y="1212925"/>
                </a:cubicBezTo>
                <a:close/>
                <a:moveTo>
                  <a:pt x="890310" y="1212925"/>
                </a:moveTo>
                <a:cubicBezTo>
                  <a:pt x="890310" y="1229708"/>
                  <a:pt x="904016" y="1243362"/>
                  <a:pt x="920863" y="1243362"/>
                </a:cubicBezTo>
                <a:cubicBezTo>
                  <a:pt x="937709" y="1243362"/>
                  <a:pt x="951415" y="1229708"/>
                  <a:pt x="951415" y="1212925"/>
                </a:cubicBezTo>
                <a:cubicBezTo>
                  <a:pt x="951415" y="1196142"/>
                  <a:pt x="937709" y="1182488"/>
                  <a:pt x="920863" y="1182488"/>
                </a:cubicBezTo>
                <a:cubicBezTo>
                  <a:pt x="904016" y="1182488"/>
                  <a:pt x="890310" y="1196142"/>
                  <a:pt x="890310" y="1212925"/>
                </a:cubicBezTo>
                <a:close/>
                <a:moveTo>
                  <a:pt x="949702" y="1212925"/>
                </a:moveTo>
                <a:cubicBezTo>
                  <a:pt x="949702" y="1229708"/>
                  <a:pt x="963408" y="1243362"/>
                  <a:pt x="980255" y="1243362"/>
                </a:cubicBezTo>
                <a:cubicBezTo>
                  <a:pt x="997101" y="1243362"/>
                  <a:pt x="1010807" y="1229708"/>
                  <a:pt x="1010807" y="1212925"/>
                </a:cubicBezTo>
                <a:cubicBezTo>
                  <a:pt x="1010807" y="1196142"/>
                  <a:pt x="997101" y="1182488"/>
                  <a:pt x="980255" y="1182488"/>
                </a:cubicBezTo>
                <a:cubicBezTo>
                  <a:pt x="963408" y="1182488"/>
                  <a:pt x="949702" y="1196142"/>
                  <a:pt x="949702" y="1212925"/>
                </a:cubicBezTo>
                <a:close/>
                <a:moveTo>
                  <a:pt x="1009094" y="1212925"/>
                </a:moveTo>
                <a:cubicBezTo>
                  <a:pt x="1009094" y="1229708"/>
                  <a:pt x="1022800" y="1243362"/>
                  <a:pt x="1039647" y="1243362"/>
                </a:cubicBezTo>
                <a:cubicBezTo>
                  <a:pt x="1056494" y="1243362"/>
                  <a:pt x="1070199" y="1229708"/>
                  <a:pt x="1070199" y="1212925"/>
                </a:cubicBezTo>
                <a:cubicBezTo>
                  <a:pt x="1070199" y="1196142"/>
                  <a:pt x="1056494" y="1182488"/>
                  <a:pt x="1039647" y="1182488"/>
                </a:cubicBezTo>
                <a:cubicBezTo>
                  <a:pt x="1022800" y="1182488"/>
                  <a:pt x="1009094" y="1196142"/>
                  <a:pt x="1009094" y="1212925"/>
                </a:cubicBezTo>
                <a:close/>
                <a:moveTo>
                  <a:pt x="1068391" y="1212925"/>
                </a:moveTo>
                <a:cubicBezTo>
                  <a:pt x="1068391" y="1229708"/>
                  <a:pt x="1082097" y="1243362"/>
                  <a:pt x="1098944" y="1243362"/>
                </a:cubicBezTo>
                <a:cubicBezTo>
                  <a:pt x="1115790" y="1243362"/>
                  <a:pt x="1129496" y="1229708"/>
                  <a:pt x="1129496" y="1212925"/>
                </a:cubicBezTo>
                <a:cubicBezTo>
                  <a:pt x="1129496" y="1196142"/>
                  <a:pt x="1115790" y="1182488"/>
                  <a:pt x="1098944" y="1182488"/>
                </a:cubicBezTo>
                <a:cubicBezTo>
                  <a:pt x="1082097" y="1182488"/>
                  <a:pt x="1068391" y="1196142"/>
                  <a:pt x="1068391" y="1212925"/>
                </a:cubicBezTo>
                <a:close/>
                <a:moveTo>
                  <a:pt x="1127783" y="1212925"/>
                </a:moveTo>
                <a:cubicBezTo>
                  <a:pt x="1127783" y="1229708"/>
                  <a:pt x="1141489" y="1243362"/>
                  <a:pt x="1158336" y="1243362"/>
                </a:cubicBezTo>
                <a:cubicBezTo>
                  <a:pt x="1175183" y="1243362"/>
                  <a:pt x="1188888" y="1229708"/>
                  <a:pt x="1188888" y="1212925"/>
                </a:cubicBezTo>
                <a:cubicBezTo>
                  <a:pt x="1188888" y="1196142"/>
                  <a:pt x="1175183" y="1182488"/>
                  <a:pt x="1158336" y="1182488"/>
                </a:cubicBezTo>
                <a:cubicBezTo>
                  <a:pt x="1141489" y="1182488"/>
                  <a:pt x="1127783" y="1196142"/>
                  <a:pt x="1127783" y="1212925"/>
                </a:cubicBezTo>
                <a:close/>
                <a:moveTo>
                  <a:pt x="1187080" y="1212925"/>
                </a:moveTo>
                <a:cubicBezTo>
                  <a:pt x="1187080" y="1229708"/>
                  <a:pt x="1200786" y="1243362"/>
                  <a:pt x="1217633" y="1243362"/>
                </a:cubicBezTo>
                <a:cubicBezTo>
                  <a:pt x="1234479" y="1243362"/>
                  <a:pt x="1248185" y="1229708"/>
                  <a:pt x="1248185" y="1212925"/>
                </a:cubicBezTo>
                <a:cubicBezTo>
                  <a:pt x="1248185" y="1196142"/>
                  <a:pt x="1234479" y="1182488"/>
                  <a:pt x="1217633" y="1182488"/>
                </a:cubicBezTo>
                <a:cubicBezTo>
                  <a:pt x="1200786" y="1182488"/>
                  <a:pt x="1187080" y="1196142"/>
                  <a:pt x="1187080" y="1212925"/>
                </a:cubicBezTo>
                <a:close/>
                <a:moveTo>
                  <a:pt x="1305769" y="1212925"/>
                </a:moveTo>
                <a:cubicBezTo>
                  <a:pt x="1305769" y="1229708"/>
                  <a:pt x="1319475" y="1243362"/>
                  <a:pt x="1336322" y="1243362"/>
                </a:cubicBezTo>
                <a:cubicBezTo>
                  <a:pt x="1353168" y="1243362"/>
                  <a:pt x="1366874" y="1229708"/>
                  <a:pt x="1366874" y="1212925"/>
                </a:cubicBezTo>
                <a:cubicBezTo>
                  <a:pt x="1366874" y="1196142"/>
                  <a:pt x="1353168" y="1182488"/>
                  <a:pt x="1336322" y="1182488"/>
                </a:cubicBezTo>
                <a:cubicBezTo>
                  <a:pt x="1319475" y="1182488"/>
                  <a:pt x="1305769" y="1196142"/>
                  <a:pt x="1305769" y="1212925"/>
                </a:cubicBezTo>
                <a:close/>
                <a:moveTo>
                  <a:pt x="1365161" y="1212925"/>
                </a:moveTo>
                <a:cubicBezTo>
                  <a:pt x="1365161" y="1229708"/>
                  <a:pt x="1378867" y="1243362"/>
                  <a:pt x="1395714" y="1243362"/>
                </a:cubicBezTo>
                <a:cubicBezTo>
                  <a:pt x="1412561" y="1243362"/>
                  <a:pt x="1426266" y="1229708"/>
                  <a:pt x="1426266" y="1212925"/>
                </a:cubicBezTo>
                <a:cubicBezTo>
                  <a:pt x="1426266" y="1196142"/>
                  <a:pt x="1412561" y="1182488"/>
                  <a:pt x="1395714" y="1182488"/>
                </a:cubicBezTo>
                <a:cubicBezTo>
                  <a:pt x="1378867" y="1182488"/>
                  <a:pt x="1365161" y="1196142"/>
                  <a:pt x="1365161" y="1212925"/>
                </a:cubicBezTo>
                <a:close/>
                <a:moveTo>
                  <a:pt x="1424553" y="1212925"/>
                </a:moveTo>
                <a:cubicBezTo>
                  <a:pt x="1424553" y="1229708"/>
                  <a:pt x="1438259" y="1243362"/>
                  <a:pt x="1455106" y="1243362"/>
                </a:cubicBezTo>
                <a:cubicBezTo>
                  <a:pt x="1471953" y="1243362"/>
                  <a:pt x="1485658" y="1229708"/>
                  <a:pt x="1485658" y="1212925"/>
                </a:cubicBezTo>
                <a:cubicBezTo>
                  <a:pt x="1485658" y="1196142"/>
                  <a:pt x="1471953" y="1182488"/>
                  <a:pt x="1455106" y="1182488"/>
                </a:cubicBezTo>
                <a:cubicBezTo>
                  <a:pt x="1438259" y="1182488"/>
                  <a:pt x="1424553" y="1196142"/>
                  <a:pt x="1424553" y="1212925"/>
                </a:cubicBezTo>
                <a:close/>
                <a:moveTo>
                  <a:pt x="474851" y="1272092"/>
                </a:moveTo>
                <a:cubicBezTo>
                  <a:pt x="474851" y="1288875"/>
                  <a:pt x="488557" y="1302529"/>
                  <a:pt x="505404" y="1302529"/>
                </a:cubicBezTo>
                <a:cubicBezTo>
                  <a:pt x="522250" y="1302529"/>
                  <a:pt x="535956" y="1288875"/>
                  <a:pt x="535956" y="1272092"/>
                </a:cubicBezTo>
                <a:cubicBezTo>
                  <a:pt x="535956" y="1255309"/>
                  <a:pt x="522250" y="1241655"/>
                  <a:pt x="505404" y="1241655"/>
                </a:cubicBezTo>
                <a:cubicBezTo>
                  <a:pt x="488557" y="1241655"/>
                  <a:pt x="474851" y="1255309"/>
                  <a:pt x="474851" y="1272092"/>
                </a:cubicBezTo>
                <a:close/>
                <a:moveTo>
                  <a:pt x="534243" y="1272092"/>
                </a:moveTo>
                <a:cubicBezTo>
                  <a:pt x="534243" y="1288875"/>
                  <a:pt x="547949" y="1302529"/>
                  <a:pt x="564796" y="1302529"/>
                </a:cubicBezTo>
                <a:cubicBezTo>
                  <a:pt x="581643" y="1302529"/>
                  <a:pt x="595348" y="1288875"/>
                  <a:pt x="595348" y="1272092"/>
                </a:cubicBezTo>
                <a:cubicBezTo>
                  <a:pt x="595348" y="1255309"/>
                  <a:pt x="581643" y="1241655"/>
                  <a:pt x="564796" y="1241655"/>
                </a:cubicBezTo>
                <a:cubicBezTo>
                  <a:pt x="547949" y="1241655"/>
                  <a:pt x="534243" y="1255309"/>
                  <a:pt x="534243" y="1272092"/>
                </a:cubicBezTo>
                <a:close/>
                <a:moveTo>
                  <a:pt x="712324" y="1272092"/>
                </a:moveTo>
                <a:cubicBezTo>
                  <a:pt x="712324" y="1288875"/>
                  <a:pt x="726030" y="1302529"/>
                  <a:pt x="742877" y="1302529"/>
                </a:cubicBezTo>
                <a:cubicBezTo>
                  <a:pt x="759724" y="1302529"/>
                  <a:pt x="773429" y="1288875"/>
                  <a:pt x="773429" y="1272092"/>
                </a:cubicBezTo>
                <a:cubicBezTo>
                  <a:pt x="773429" y="1255309"/>
                  <a:pt x="759724" y="1241655"/>
                  <a:pt x="742877" y="1241655"/>
                </a:cubicBezTo>
                <a:cubicBezTo>
                  <a:pt x="726030" y="1241655"/>
                  <a:pt x="712324" y="1255309"/>
                  <a:pt x="712324" y="1272092"/>
                </a:cubicBezTo>
                <a:close/>
                <a:moveTo>
                  <a:pt x="771621" y="1272092"/>
                </a:moveTo>
                <a:cubicBezTo>
                  <a:pt x="771621" y="1288875"/>
                  <a:pt x="785327" y="1302529"/>
                  <a:pt x="802174" y="1302529"/>
                </a:cubicBezTo>
                <a:cubicBezTo>
                  <a:pt x="819021" y="1302529"/>
                  <a:pt x="832726" y="1288875"/>
                  <a:pt x="832726" y="1272092"/>
                </a:cubicBezTo>
                <a:cubicBezTo>
                  <a:pt x="832726" y="1255309"/>
                  <a:pt x="819021" y="1241655"/>
                  <a:pt x="802174" y="1241655"/>
                </a:cubicBezTo>
                <a:cubicBezTo>
                  <a:pt x="785327" y="1241655"/>
                  <a:pt x="771621" y="1255309"/>
                  <a:pt x="771621" y="1272092"/>
                </a:cubicBezTo>
                <a:close/>
                <a:moveTo>
                  <a:pt x="831013" y="1272092"/>
                </a:moveTo>
                <a:cubicBezTo>
                  <a:pt x="831013" y="1288875"/>
                  <a:pt x="844719" y="1302529"/>
                  <a:pt x="861566" y="1302529"/>
                </a:cubicBezTo>
                <a:cubicBezTo>
                  <a:pt x="878413" y="1302529"/>
                  <a:pt x="892118" y="1288875"/>
                  <a:pt x="892118" y="1272092"/>
                </a:cubicBezTo>
                <a:cubicBezTo>
                  <a:pt x="892118" y="1255309"/>
                  <a:pt x="878413" y="1241655"/>
                  <a:pt x="861566" y="1241655"/>
                </a:cubicBezTo>
                <a:cubicBezTo>
                  <a:pt x="844719" y="1241655"/>
                  <a:pt x="831013" y="1255309"/>
                  <a:pt x="831013" y="1272092"/>
                </a:cubicBezTo>
                <a:close/>
                <a:moveTo>
                  <a:pt x="890310" y="1272092"/>
                </a:moveTo>
                <a:cubicBezTo>
                  <a:pt x="890310" y="1288875"/>
                  <a:pt x="904016" y="1302529"/>
                  <a:pt x="920863" y="1302529"/>
                </a:cubicBezTo>
                <a:cubicBezTo>
                  <a:pt x="937709" y="1302529"/>
                  <a:pt x="951415" y="1288875"/>
                  <a:pt x="951415" y="1272092"/>
                </a:cubicBezTo>
                <a:cubicBezTo>
                  <a:pt x="951415" y="1255309"/>
                  <a:pt x="937709" y="1241655"/>
                  <a:pt x="920863" y="1241655"/>
                </a:cubicBezTo>
                <a:cubicBezTo>
                  <a:pt x="904016" y="1241655"/>
                  <a:pt x="890310" y="1255309"/>
                  <a:pt x="890310" y="1272092"/>
                </a:cubicBezTo>
                <a:close/>
                <a:moveTo>
                  <a:pt x="1009094" y="1272092"/>
                </a:moveTo>
                <a:cubicBezTo>
                  <a:pt x="1009094" y="1288875"/>
                  <a:pt x="1022800" y="1302529"/>
                  <a:pt x="1039647" y="1302529"/>
                </a:cubicBezTo>
                <a:cubicBezTo>
                  <a:pt x="1056494" y="1302529"/>
                  <a:pt x="1070199" y="1288875"/>
                  <a:pt x="1070199" y="1272092"/>
                </a:cubicBezTo>
                <a:cubicBezTo>
                  <a:pt x="1070199" y="1255309"/>
                  <a:pt x="1056494" y="1241655"/>
                  <a:pt x="1039647" y="1241655"/>
                </a:cubicBezTo>
                <a:cubicBezTo>
                  <a:pt x="1022800" y="1241655"/>
                  <a:pt x="1009094" y="1255309"/>
                  <a:pt x="1009094" y="1272092"/>
                </a:cubicBezTo>
                <a:close/>
                <a:moveTo>
                  <a:pt x="1068391" y="1272092"/>
                </a:moveTo>
                <a:cubicBezTo>
                  <a:pt x="1068391" y="1288875"/>
                  <a:pt x="1082097" y="1302529"/>
                  <a:pt x="1098944" y="1302529"/>
                </a:cubicBezTo>
                <a:cubicBezTo>
                  <a:pt x="1115790" y="1302529"/>
                  <a:pt x="1129496" y="1288875"/>
                  <a:pt x="1129496" y="1272092"/>
                </a:cubicBezTo>
                <a:cubicBezTo>
                  <a:pt x="1129496" y="1255309"/>
                  <a:pt x="1115790" y="1241655"/>
                  <a:pt x="1098944" y="1241655"/>
                </a:cubicBezTo>
                <a:cubicBezTo>
                  <a:pt x="1082097" y="1241655"/>
                  <a:pt x="1068391" y="1255309"/>
                  <a:pt x="1068391" y="1272092"/>
                </a:cubicBezTo>
                <a:close/>
                <a:moveTo>
                  <a:pt x="1187080" y="1272092"/>
                </a:moveTo>
                <a:cubicBezTo>
                  <a:pt x="1187080" y="1288875"/>
                  <a:pt x="1200786" y="1302529"/>
                  <a:pt x="1217633" y="1302529"/>
                </a:cubicBezTo>
                <a:cubicBezTo>
                  <a:pt x="1234479" y="1302529"/>
                  <a:pt x="1248185" y="1288875"/>
                  <a:pt x="1248185" y="1272092"/>
                </a:cubicBezTo>
                <a:cubicBezTo>
                  <a:pt x="1248185" y="1255309"/>
                  <a:pt x="1234479" y="1241655"/>
                  <a:pt x="1217633" y="1241655"/>
                </a:cubicBezTo>
                <a:cubicBezTo>
                  <a:pt x="1200786" y="1241655"/>
                  <a:pt x="1187080" y="1255309"/>
                  <a:pt x="1187080" y="1272092"/>
                </a:cubicBezTo>
                <a:close/>
                <a:moveTo>
                  <a:pt x="1246472" y="1272092"/>
                </a:moveTo>
                <a:cubicBezTo>
                  <a:pt x="1246472" y="1288875"/>
                  <a:pt x="1260178" y="1302529"/>
                  <a:pt x="1277025" y="1302529"/>
                </a:cubicBezTo>
                <a:cubicBezTo>
                  <a:pt x="1293872" y="1302529"/>
                  <a:pt x="1307577" y="1288875"/>
                  <a:pt x="1307577" y="1272092"/>
                </a:cubicBezTo>
                <a:cubicBezTo>
                  <a:pt x="1307577" y="1255309"/>
                  <a:pt x="1293872" y="1241655"/>
                  <a:pt x="1277025" y="1241655"/>
                </a:cubicBezTo>
                <a:cubicBezTo>
                  <a:pt x="1260178" y="1241655"/>
                  <a:pt x="1246472" y="1255309"/>
                  <a:pt x="1246472" y="1272092"/>
                </a:cubicBezTo>
                <a:close/>
                <a:moveTo>
                  <a:pt x="1305769" y="1272092"/>
                </a:moveTo>
                <a:cubicBezTo>
                  <a:pt x="1305769" y="1288875"/>
                  <a:pt x="1319475" y="1302529"/>
                  <a:pt x="1336322" y="1302529"/>
                </a:cubicBezTo>
                <a:cubicBezTo>
                  <a:pt x="1353168" y="1302529"/>
                  <a:pt x="1366874" y="1288875"/>
                  <a:pt x="1366874" y="1272092"/>
                </a:cubicBezTo>
                <a:cubicBezTo>
                  <a:pt x="1366874" y="1255309"/>
                  <a:pt x="1353168" y="1241655"/>
                  <a:pt x="1336322" y="1241655"/>
                </a:cubicBezTo>
                <a:cubicBezTo>
                  <a:pt x="1319475" y="1241655"/>
                  <a:pt x="1305769" y="1255309"/>
                  <a:pt x="1305769" y="1272092"/>
                </a:cubicBezTo>
                <a:close/>
                <a:moveTo>
                  <a:pt x="1365161" y="1272092"/>
                </a:moveTo>
                <a:cubicBezTo>
                  <a:pt x="1365161" y="1288875"/>
                  <a:pt x="1378867" y="1302529"/>
                  <a:pt x="1395714" y="1302529"/>
                </a:cubicBezTo>
                <a:cubicBezTo>
                  <a:pt x="1412561" y="1302529"/>
                  <a:pt x="1426266" y="1288875"/>
                  <a:pt x="1426266" y="1272092"/>
                </a:cubicBezTo>
                <a:cubicBezTo>
                  <a:pt x="1426266" y="1255309"/>
                  <a:pt x="1412561" y="1241655"/>
                  <a:pt x="1395714" y="1241655"/>
                </a:cubicBezTo>
                <a:cubicBezTo>
                  <a:pt x="1378867" y="1241655"/>
                  <a:pt x="1365161" y="1255309"/>
                  <a:pt x="1365161" y="1272092"/>
                </a:cubicBezTo>
                <a:close/>
                <a:moveTo>
                  <a:pt x="1424553" y="1272092"/>
                </a:moveTo>
                <a:cubicBezTo>
                  <a:pt x="1424553" y="1288875"/>
                  <a:pt x="1438259" y="1302529"/>
                  <a:pt x="1455106" y="1302529"/>
                </a:cubicBezTo>
                <a:cubicBezTo>
                  <a:pt x="1471953" y="1302529"/>
                  <a:pt x="1485658" y="1288875"/>
                  <a:pt x="1485658" y="1272092"/>
                </a:cubicBezTo>
                <a:cubicBezTo>
                  <a:pt x="1485658" y="1255309"/>
                  <a:pt x="1471953" y="1241655"/>
                  <a:pt x="1455106" y="1241655"/>
                </a:cubicBezTo>
                <a:cubicBezTo>
                  <a:pt x="1438259" y="1241655"/>
                  <a:pt x="1424553" y="1255309"/>
                  <a:pt x="1424553" y="1272092"/>
                </a:cubicBezTo>
                <a:close/>
                <a:moveTo>
                  <a:pt x="474851" y="1331259"/>
                </a:moveTo>
                <a:cubicBezTo>
                  <a:pt x="474851" y="1348042"/>
                  <a:pt x="488557" y="1361696"/>
                  <a:pt x="505404" y="1361696"/>
                </a:cubicBezTo>
                <a:cubicBezTo>
                  <a:pt x="522250" y="1361696"/>
                  <a:pt x="535956" y="1348042"/>
                  <a:pt x="535956" y="1331259"/>
                </a:cubicBezTo>
                <a:cubicBezTo>
                  <a:pt x="535956" y="1314476"/>
                  <a:pt x="522250" y="1300822"/>
                  <a:pt x="505404" y="1300822"/>
                </a:cubicBezTo>
                <a:cubicBezTo>
                  <a:pt x="488557" y="1300822"/>
                  <a:pt x="474851" y="1314476"/>
                  <a:pt x="474851" y="1331259"/>
                </a:cubicBezTo>
                <a:close/>
                <a:moveTo>
                  <a:pt x="593635" y="1331259"/>
                </a:moveTo>
                <a:cubicBezTo>
                  <a:pt x="593635" y="1348042"/>
                  <a:pt x="607341" y="1361696"/>
                  <a:pt x="624188" y="1361696"/>
                </a:cubicBezTo>
                <a:cubicBezTo>
                  <a:pt x="641035" y="1361696"/>
                  <a:pt x="654740" y="1348042"/>
                  <a:pt x="654740" y="1331259"/>
                </a:cubicBezTo>
                <a:cubicBezTo>
                  <a:pt x="654740" y="1314476"/>
                  <a:pt x="641035" y="1300822"/>
                  <a:pt x="624188" y="1300822"/>
                </a:cubicBezTo>
                <a:cubicBezTo>
                  <a:pt x="607341" y="1300822"/>
                  <a:pt x="593635" y="1314476"/>
                  <a:pt x="593635" y="1331259"/>
                </a:cubicBezTo>
                <a:close/>
                <a:moveTo>
                  <a:pt x="771621" y="1331259"/>
                </a:moveTo>
                <a:cubicBezTo>
                  <a:pt x="771621" y="1348042"/>
                  <a:pt x="785327" y="1361696"/>
                  <a:pt x="802174" y="1361696"/>
                </a:cubicBezTo>
                <a:cubicBezTo>
                  <a:pt x="819021" y="1361696"/>
                  <a:pt x="832726" y="1348042"/>
                  <a:pt x="832726" y="1331259"/>
                </a:cubicBezTo>
                <a:cubicBezTo>
                  <a:pt x="832726" y="1314476"/>
                  <a:pt x="819021" y="1300822"/>
                  <a:pt x="802174" y="1300822"/>
                </a:cubicBezTo>
                <a:cubicBezTo>
                  <a:pt x="785327" y="1300822"/>
                  <a:pt x="771621" y="1314476"/>
                  <a:pt x="771621" y="1331259"/>
                </a:cubicBezTo>
                <a:close/>
                <a:moveTo>
                  <a:pt x="831013" y="1331259"/>
                </a:moveTo>
                <a:cubicBezTo>
                  <a:pt x="831013" y="1348042"/>
                  <a:pt x="844719" y="1361696"/>
                  <a:pt x="861566" y="1361696"/>
                </a:cubicBezTo>
                <a:cubicBezTo>
                  <a:pt x="878413" y="1361696"/>
                  <a:pt x="892118" y="1348042"/>
                  <a:pt x="892118" y="1331259"/>
                </a:cubicBezTo>
                <a:cubicBezTo>
                  <a:pt x="892118" y="1314476"/>
                  <a:pt x="878413" y="1300822"/>
                  <a:pt x="861566" y="1300822"/>
                </a:cubicBezTo>
                <a:cubicBezTo>
                  <a:pt x="844719" y="1300822"/>
                  <a:pt x="831013" y="1314476"/>
                  <a:pt x="831013" y="1331259"/>
                </a:cubicBezTo>
                <a:close/>
                <a:moveTo>
                  <a:pt x="1246472" y="1331259"/>
                </a:moveTo>
                <a:cubicBezTo>
                  <a:pt x="1246472" y="1348042"/>
                  <a:pt x="1260178" y="1361696"/>
                  <a:pt x="1277025" y="1361696"/>
                </a:cubicBezTo>
                <a:cubicBezTo>
                  <a:pt x="1293872" y="1361696"/>
                  <a:pt x="1307577" y="1348042"/>
                  <a:pt x="1307577" y="1331259"/>
                </a:cubicBezTo>
                <a:cubicBezTo>
                  <a:pt x="1307577" y="1314476"/>
                  <a:pt x="1293872" y="1300822"/>
                  <a:pt x="1277025" y="1300822"/>
                </a:cubicBezTo>
                <a:cubicBezTo>
                  <a:pt x="1260178" y="1300822"/>
                  <a:pt x="1246472" y="1314476"/>
                  <a:pt x="1246472" y="1331259"/>
                </a:cubicBezTo>
                <a:close/>
                <a:moveTo>
                  <a:pt x="1305769" y="1331259"/>
                </a:moveTo>
                <a:cubicBezTo>
                  <a:pt x="1305769" y="1348042"/>
                  <a:pt x="1319475" y="1361696"/>
                  <a:pt x="1336322" y="1361696"/>
                </a:cubicBezTo>
                <a:cubicBezTo>
                  <a:pt x="1353168" y="1361696"/>
                  <a:pt x="1366874" y="1348042"/>
                  <a:pt x="1366874" y="1331259"/>
                </a:cubicBezTo>
                <a:cubicBezTo>
                  <a:pt x="1366874" y="1314476"/>
                  <a:pt x="1353168" y="1300822"/>
                  <a:pt x="1336322" y="1300822"/>
                </a:cubicBezTo>
                <a:cubicBezTo>
                  <a:pt x="1319475" y="1300822"/>
                  <a:pt x="1305769" y="1314476"/>
                  <a:pt x="1305769" y="1331259"/>
                </a:cubicBezTo>
                <a:close/>
                <a:moveTo>
                  <a:pt x="1424553" y="1331259"/>
                </a:moveTo>
                <a:cubicBezTo>
                  <a:pt x="1424553" y="1348042"/>
                  <a:pt x="1438259" y="1361696"/>
                  <a:pt x="1455106" y="1361696"/>
                </a:cubicBezTo>
                <a:cubicBezTo>
                  <a:pt x="1471953" y="1361696"/>
                  <a:pt x="1485658" y="1348042"/>
                  <a:pt x="1485658" y="1331259"/>
                </a:cubicBezTo>
                <a:cubicBezTo>
                  <a:pt x="1485658" y="1314476"/>
                  <a:pt x="1471953" y="1300822"/>
                  <a:pt x="1455106" y="1300822"/>
                </a:cubicBezTo>
                <a:cubicBezTo>
                  <a:pt x="1438259" y="1300822"/>
                  <a:pt x="1424553" y="1314476"/>
                  <a:pt x="1424553" y="1331259"/>
                </a:cubicBezTo>
                <a:close/>
                <a:moveTo>
                  <a:pt x="712324" y="1390331"/>
                </a:moveTo>
                <a:cubicBezTo>
                  <a:pt x="712324" y="1407114"/>
                  <a:pt x="726030" y="1420768"/>
                  <a:pt x="742877" y="1420768"/>
                </a:cubicBezTo>
                <a:cubicBezTo>
                  <a:pt x="759724" y="1420768"/>
                  <a:pt x="773429" y="1407114"/>
                  <a:pt x="773429" y="1390331"/>
                </a:cubicBezTo>
                <a:cubicBezTo>
                  <a:pt x="773429" y="1373548"/>
                  <a:pt x="759724" y="1359894"/>
                  <a:pt x="742877" y="1359894"/>
                </a:cubicBezTo>
                <a:cubicBezTo>
                  <a:pt x="726030" y="1359894"/>
                  <a:pt x="712324" y="1373548"/>
                  <a:pt x="712324" y="1390331"/>
                </a:cubicBezTo>
                <a:close/>
                <a:moveTo>
                  <a:pt x="771621" y="1390331"/>
                </a:moveTo>
                <a:cubicBezTo>
                  <a:pt x="771621" y="1407114"/>
                  <a:pt x="785327" y="1420768"/>
                  <a:pt x="802174" y="1420768"/>
                </a:cubicBezTo>
                <a:cubicBezTo>
                  <a:pt x="819021" y="1420768"/>
                  <a:pt x="832726" y="1407114"/>
                  <a:pt x="832726" y="1390331"/>
                </a:cubicBezTo>
                <a:cubicBezTo>
                  <a:pt x="832726" y="1373548"/>
                  <a:pt x="819021" y="1359894"/>
                  <a:pt x="802174" y="1359894"/>
                </a:cubicBezTo>
                <a:cubicBezTo>
                  <a:pt x="785327" y="1359894"/>
                  <a:pt x="771621" y="1373548"/>
                  <a:pt x="771621" y="1390331"/>
                </a:cubicBezTo>
                <a:close/>
                <a:moveTo>
                  <a:pt x="949702" y="1390331"/>
                </a:moveTo>
                <a:cubicBezTo>
                  <a:pt x="949702" y="1407114"/>
                  <a:pt x="963408" y="1420768"/>
                  <a:pt x="980255" y="1420768"/>
                </a:cubicBezTo>
                <a:cubicBezTo>
                  <a:pt x="997101" y="1420768"/>
                  <a:pt x="1010807" y="1407114"/>
                  <a:pt x="1010807" y="1390331"/>
                </a:cubicBezTo>
                <a:cubicBezTo>
                  <a:pt x="1010807" y="1373548"/>
                  <a:pt x="997101" y="1359894"/>
                  <a:pt x="980255" y="1359894"/>
                </a:cubicBezTo>
                <a:cubicBezTo>
                  <a:pt x="963408" y="1359894"/>
                  <a:pt x="949702" y="1373548"/>
                  <a:pt x="949702" y="1390331"/>
                </a:cubicBezTo>
                <a:close/>
                <a:moveTo>
                  <a:pt x="1068391" y="1390331"/>
                </a:moveTo>
                <a:cubicBezTo>
                  <a:pt x="1068391" y="1407114"/>
                  <a:pt x="1082097" y="1420768"/>
                  <a:pt x="1098944" y="1420768"/>
                </a:cubicBezTo>
                <a:cubicBezTo>
                  <a:pt x="1115790" y="1420768"/>
                  <a:pt x="1129496" y="1407114"/>
                  <a:pt x="1129496" y="1390331"/>
                </a:cubicBezTo>
                <a:cubicBezTo>
                  <a:pt x="1129496" y="1373548"/>
                  <a:pt x="1115790" y="1359894"/>
                  <a:pt x="1098944" y="1359894"/>
                </a:cubicBezTo>
                <a:cubicBezTo>
                  <a:pt x="1082097" y="1359894"/>
                  <a:pt x="1068391" y="1373548"/>
                  <a:pt x="1068391" y="1390331"/>
                </a:cubicBezTo>
                <a:close/>
                <a:moveTo>
                  <a:pt x="1127783" y="1390331"/>
                </a:moveTo>
                <a:cubicBezTo>
                  <a:pt x="1127783" y="1407114"/>
                  <a:pt x="1141489" y="1420768"/>
                  <a:pt x="1158336" y="1420768"/>
                </a:cubicBezTo>
                <a:cubicBezTo>
                  <a:pt x="1175183" y="1420768"/>
                  <a:pt x="1188888" y="1407114"/>
                  <a:pt x="1188888" y="1390331"/>
                </a:cubicBezTo>
                <a:cubicBezTo>
                  <a:pt x="1188888" y="1373548"/>
                  <a:pt x="1175183" y="1359894"/>
                  <a:pt x="1158336" y="1359894"/>
                </a:cubicBezTo>
                <a:cubicBezTo>
                  <a:pt x="1141489" y="1359894"/>
                  <a:pt x="1127783" y="1373548"/>
                  <a:pt x="1127783" y="1390331"/>
                </a:cubicBezTo>
                <a:close/>
                <a:moveTo>
                  <a:pt x="1187080" y="1390331"/>
                </a:moveTo>
                <a:cubicBezTo>
                  <a:pt x="1187080" y="1407114"/>
                  <a:pt x="1200786" y="1420768"/>
                  <a:pt x="1217633" y="1420768"/>
                </a:cubicBezTo>
                <a:cubicBezTo>
                  <a:pt x="1234479" y="1420768"/>
                  <a:pt x="1248185" y="1407114"/>
                  <a:pt x="1248185" y="1390331"/>
                </a:cubicBezTo>
                <a:cubicBezTo>
                  <a:pt x="1248185" y="1373548"/>
                  <a:pt x="1234479" y="1359894"/>
                  <a:pt x="1217633" y="1359894"/>
                </a:cubicBezTo>
                <a:cubicBezTo>
                  <a:pt x="1200786" y="1359894"/>
                  <a:pt x="1187080" y="1373548"/>
                  <a:pt x="1187080" y="1390331"/>
                </a:cubicBezTo>
                <a:close/>
                <a:moveTo>
                  <a:pt x="1246472" y="1390331"/>
                </a:moveTo>
                <a:cubicBezTo>
                  <a:pt x="1246472" y="1407114"/>
                  <a:pt x="1260178" y="1420768"/>
                  <a:pt x="1277025" y="1420768"/>
                </a:cubicBezTo>
                <a:cubicBezTo>
                  <a:pt x="1293872" y="1420768"/>
                  <a:pt x="1307577" y="1407114"/>
                  <a:pt x="1307577" y="1390331"/>
                </a:cubicBezTo>
                <a:cubicBezTo>
                  <a:pt x="1307577" y="1373548"/>
                  <a:pt x="1293872" y="1359894"/>
                  <a:pt x="1277025" y="1359894"/>
                </a:cubicBezTo>
                <a:cubicBezTo>
                  <a:pt x="1260178" y="1359894"/>
                  <a:pt x="1246472" y="1373548"/>
                  <a:pt x="1246472" y="1390331"/>
                </a:cubicBezTo>
                <a:close/>
                <a:moveTo>
                  <a:pt x="1424553" y="1390331"/>
                </a:moveTo>
                <a:cubicBezTo>
                  <a:pt x="1424553" y="1407114"/>
                  <a:pt x="1438259" y="1420768"/>
                  <a:pt x="1455106" y="1420768"/>
                </a:cubicBezTo>
                <a:cubicBezTo>
                  <a:pt x="1471953" y="1420768"/>
                  <a:pt x="1485658" y="1407114"/>
                  <a:pt x="1485658" y="1390331"/>
                </a:cubicBezTo>
                <a:cubicBezTo>
                  <a:pt x="1485658" y="1373548"/>
                  <a:pt x="1471953" y="1359894"/>
                  <a:pt x="1455106" y="1359894"/>
                </a:cubicBezTo>
                <a:cubicBezTo>
                  <a:pt x="1438259" y="1359894"/>
                  <a:pt x="1424553" y="1373548"/>
                  <a:pt x="1424553" y="1390331"/>
                </a:cubicBezTo>
                <a:close/>
                <a:moveTo>
                  <a:pt x="474851" y="1449498"/>
                </a:moveTo>
                <a:cubicBezTo>
                  <a:pt x="474851" y="1466281"/>
                  <a:pt x="488557" y="1479935"/>
                  <a:pt x="505404" y="1479935"/>
                </a:cubicBezTo>
                <a:cubicBezTo>
                  <a:pt x="522250" y="1479935"/>
                  <a:pt x="535956" y="1466281"/>
                  <a:pt x="535956" y="1449498"/>
                </a:cubicBezTo>
                <a:cubicBezTo>
                  <a:pt x="535956" y="1432715"/>
                  <a:pt x="522250" y="1419061"/>
                  <a:pt x="505404" y="1419061"/>
                </a:cubicBezTo>
                <a:cubicBezTo>
                  <a:pt x="488557" y="1419061"/>
                  <a:pt x="474851" y="1432715"/>
                  <a:pt x="474851" y="1449498"/>
                </a:cubicBezTo>
                <a:close/>
                <a:moveTo>
                  <a:pt x="593635" y="1449498"/>
                </a:moveTo>
                <a:cubicBezTo>
                  <a:pt x="593635" y="1466281"/>
                  <a:pt x="607341" y="1479935"/>
                  <a:pt x="624188" y="1479935"/>
                </a:cubicBezTo>
                <a:cubicBezTo>
                  <a:pt x="641035" y="1479935"/>
                  <a:pt x="654740" y="1466281"/>
                  <a:pt x="654740" y="1449498"/>
                </a:cubicBezTo>
                <a:cubicBezTo>
                  <a:pt x="654740" y="1432715"/>
                  <a:pt x="641035" y="1419061"/>
                  <a:pt x="624188" y="1419061"/>
                </a:cubicBezTo>
                <a:cubicBezTo>
                  <a:pt x="607341" y="1419061"/>
                  <a:pt x="593635" y="1432715"/>
                  <a:pt x="593635" y="1449498"/>
                </a:cubicBezTo>
                <a:close/>
                <a:moveTo>
                  <a:pt x="712324" y="1449498"/>
                </a:moveTo>
                <a:cubicBezTo>
                  <a:pt x="712324" y="1466281"/>
                  <a:pt x="726030" y="1479935"/>
                  <a:pt x="742877" y="1479935"/>
                </a:cubicBezTo>
                <a:cubicBezTo>
                  <a:pt x="759724" y="1479935"/>
                  <a:pt x="773429" y="1466281"/>
                  <a:pt x="773429" y="1449498"/>
                </a:cubicBezTo>
                <a:cubicBezTo>
                  <a:pt x="773429" y="1432715"/>
                  <a:pt x="759724" y="1419061"/>
                  <a:pt x="742877" y="1419061"/>
                </a:cubicBezTo>
                <a:cubicBezTo>
                  <a:pt x="726030" y="1419061"/>
                  <a:pt x="712324" y="1432715"/>
                  <a:pt x="712324" y="1449498"/>
                </a:cubicBezTo>
                <a:close/>
                <a:moveTo>
                  <a:pt x="831013" y="1449498"/>
                </a:moveTo>
                <a:cubicBezTo>
                  <a:pt x="831013" y="1466281"/>
                  <a:pt x="844719" y="1479935"/>
                  <a:pt x="861566" y="1479935"/>
                </a:cubicBezTo>
                <a:cubicBezTo>
                  <a:pt x="878413" y="1479935"/>
                  <a:pt x="892118" y="1466281"/>
                  <a:pt x="892118" y="1449498"/>
                </a:cubicBezTo>
                <a:cubicBezTo>
                  <a:pt x="892118" y="1432715"/>
                  <a:pt x="878413" y="1419061"/>
                  <a:pt x="861566" y="1419061"/>
                </a:cubicBezTo>
                <a:cubicBezTo>
                  <a:pt x="844719" y="1419061"/>
                  <a:pt x="831013" y="1432715"/>
                  <a:pt x="831013" y="1449498"/>
                </a:cubicBezTo>
                <a:close/>
                <a:moveTo>
                  <a:pt x="1009094" y="1449498"/>
                </a:moveTo>
                <a:cubicBezTo>
                  <a:pt x="1009094" y="1466281"/>
                  <a:pt x="1022800" y="1479935"/>
                  <a:pt x="1039647" y="1479935"/>
                </a:cubicBezTo>
                <a:cubicBezTo>
                  <a:pt x="1056494" y="1479935"/>
                  <a:pt x="1070199" y="1466281"/>
                  <a:pt x="1070199" y="1449498"/>
                </a:cubicBezTo>
                <a:cubicBezTo>
                  <a:pt x="1070199" y="1432715"/>
                  <a:pt x="1056494" y="1419061"/>
                  <a:pt x="1039647" y="1419061"/>
                </a:cubicBezTo>
                <a:cubicBezTo>
                  <a:pt x="1022800" y="1419061"/>
                  <a:pt x="1009094" y="1432715"/>
                  <a:pt x="1009094" y="1449498"/>
                </a:cubicBezTo>
                <a:close/>
                <a:moveTo>
                  <a:pt x="1068391" y="1449498"/>
                </a:moveTo>
                <a:cubicBezTo>
                  <a:pt x="1068391" y="1466281"/>
                  <a:pt x="1082097" y="1479935"/>
                  <a:pt x="1098944" y="1479935"/>
                </a:cubicBezTo>
                <a:cubicBezTo>
                  <a:pt x="1115790" y="1479935"/>
                  <a:pt x="1129496" y="1466281"/>
                  <a:pt x="1129496" y="1449498"/>
                </a:cubicBezTo>
                <a:cubicBezTo>
                  <a:pt x="1129496" y="1432715"/>
                  <a:pt x="1115790" y="1419061"/>
                  <a:pt x="1098944" y="1419061"/>
                </a:cubicBezTo>
                <a:cubicBezTo>
                  <a:pt x="1082097" y="1419061"/>
                  <a:pt x="1068391" y="1432715"/>
                  <a:pt x="1068391" y="1449498"/>
                </a:cubicBezTo>
                <a:close/>
                <a:moveTo>
                  <a:pt x="1127783" y="1449498"/>
                </a:moveTo>
                <a:cubicBezTo>
                  <a:pt x="1127783" y="1466281"/>
                  <a:pt x="1141489" y="1479935"/>
                  <a:pt x="1158336" y="1479935"/>
                </a:cubicBezTo>
                <a:cubicBezTo>
                  <a:pt x="1175183" y="1479935"/>
                  <a:pt x="1188888" y="1466281"/>
                  <a:pt x="1188888" y="1449498"/>
                </a:cubicBezTo>
                <a:cubicBezTo>
                  <a:pt x="1188888" y="1432715"/>
                  <a:pt x="1175183" y="1419061"/>
                  <a:pt x="1158336" y="1419061"/>
                </a:cubicBezTo>
                <a:cubicBezTo>
                  <a:pt x="1141489" y="1419061"/>
                  <a:pt x="1127783" y="1432715"/>
                  <a:pt x="1127783" y="1449498"/>
                </a:cubicBezTo>
                <a:close/>
                <a:moveTo>
                  <a:pt x="1187080" y="1449498"/>
                </a:moveTo>
                <a:cubicBezTo>
                  <a:pt x="1187080" y="1466281"/>
                  <a:pt x="1200786" y="1479935"/>
                  <a:pt x="1217633" y="1479935"/>
                </a:cubicBezTo>
                <a:cubicBezTo>
                  <a:pt x="1234479" y="1479935"/>
                  <a:pt x="1248185" y="1466281"/>
                  <a:pt x="1248185" y="1449498"/>
                </a:cubicBezTo>
                <a:cubicBezTo>
                  <a:pt x="1248185" y="1432715"/>
                  <a:pt x="1234479" y="1419061"/>
                  <a:pt x="1217633" y="1419061"/>
                </a:cubicBezTo>
                <a:cubicBezTo>
                  <a:pt x="1200786" y="1419061"/>
                  <a:pt x="1187080" y="1432715"/>
                  <a:pt x="1187080" y="1449498"/>
                </a:cubicBezTo>
                <a:close/>
                <a:moveTo>
                  <a:pt x="1246472" y="1449498"/>
                </a:moveTo>
                <a:cubicBezTo>
                  <a:pt x="1246472" y="1466281"/>
                  <a:pt x="1260178" y="1479935"/>
                  <a:pt x="1277025" y="1479935"/>
                </a:cubicBezTo>
                <a:cubicBezTo>
                  <a:pt x="1293872" y="1479935"/>
                  <a:pt x="1307577" y="1466281"/>
                  <a:pt x="1307577" y="1449498"/>
                </a:cubicBezTo>
                <a:cubicBezTo>
                  <a:pt x="1307577" y="1432715"/>
                  <a:pt x="1293872" y="1419061"/>
                  <a:pt x="1277025" y="1419061"/>
                </a:cubicBezTo>
                <a:cubicBezTo>
                  <a:pt x="1260178" y="1419061"/>
                  <a:pt x="1246472" y="1432715"/>
                  <a:pt x="1246472" y="1449498"/>
                </a:cubicBezTo>
                <a:close/>
                <a:moveTo>
                  <a:pt x="1305769" y="1449498"/>
                </a:moveTo>
                <a:cubicBezTo>
                  <a:pt x="1305769" y="1466281"/>
                  <a:pt x="1319475" y="1479935"/>
                  <a:pt x="1336322" y="1479935"/>
                </a:cubicBezTo>
                <a:cubicBezTo>
                  <a:pt x="1353168" y="1479935"/>
                  <a:pt x="1366874" y="1466281"/>
                  <a:pt x="1366874" y="1449498"/>
                </a:cubicBezTo>
                <a:cubicBezTo>
                  <a:pt x="1366874" y="1432715"/>
                  <a:pt x="1353168" y="1419061"/>
                  <a:pt x="1336322" y="1419061"/>
                </a:cubicBezTo>
                <a:cubicBezTo>
                  <a:pt x="1319475" y="1419061"/>
                  <a:pt x="1305769" y="1432715"/>
                  <a:pt x="1305769" y="1449498"/>
                </a:cubicBezTo>
                <a:close/>
                <a:moveTo>
                  <a:pt x="1365161" y="1449498"/>
                </a:moveTo>
                <a:cubicBezTo>
                  <a:pt x="1365161" y="1466281"/>
                  <a:pt x="1378867" y="1479935"/>
                  <a:pt x="1395714" y="1479935"/>
                </a:cubicBezTo>
                <a:cubicBezTo>
                  <a:pt x="1412561" y="1479935"/>
                  <a:pt x="1426266" y="1466281"/>
                  <a:pt x="1426266" y="1449498"/>
                </a:cubicBezTo>
                <a:cubicBezTo>
                  <a:pt x="1426266" y="1432715"/>
                  <a:pt x="1412561" y="1419061"/>
                  <a:pt x="1395714" y="1419061"/>
                </a:cubicBezTo>
                <a:cubicBezTo>
                  <a:pt x="1378867" y="1419061"/>
                  <a:pt x="1365161" y="1432715"/>
                  <a:pt x="1365161" y="1449498"/>
                </a:cubicBezTo>
                <a:close/>
                <a:moveTo>
                  <a:pt x="1424553" y="1449498"/>
                </a:moveTo>
                <a:cubicBezTo>
                  <a:pt x="1424553" y="1466281"/>
                  <a:pt x="1438259" y="1479935"/>
                  <a:pt x="1455106" y="1479935"/>
                </a:cubicBezTo>
                <a:cubicBezTo>
                  <a:pt x="1471953" y="1479935"/>
                  <a:pt x="1485658" y="1466281"/>
                  <a:pt x="1485658" y="1449498"/>
                </a:cubicBezTo>
                <a:cubicBezTo>
                  <a:pt x="1485658" y="1432715"/>
                  <a:pt x="1471953" y="1419061"/>
                  <a:pt x="1455106" y="1419061"/>
                </a:cubicBezTo>
                <a:cubicBezTo>
                  <a:pt x="1438259" y="1419061"/>
                  <a:pt x="1424553" y="1432715"/>
                  <a:pt x="1424553" y="1449498"/>
                </a:cubicBezTo>
                <a:close/>
                <a:moveTo>
                  <a:pt x="207777" y="0"/>
                </a:moveTo>
                <a:lnTo>
                  <a:pt x="207777" y="0"/>
                </a:lnTo>
                <a:cubicBezTo>
                  <a:pt x="323515" y="0"/>
                  <a:pt x="415554" y="91690"/>
                  <a:pt x="415554" y="206990"/>
                </a:cubicBezTo>
                <a:lnTo>
                  <a:pt x="415554" y="206990"/>
                </a:lnTo>
                <a:cubicBezTo>
                  <a:pt x="415554" y="322290"/>
                  <a:pt x="323515" y="413980"/>
                  <a:pt x="207777" y="413980"/>
                </a:cubicBezTo>
                <a:lnTo>
                  <a:pt x="207777" y="413980"/>
                </a:lnTo>
                <a:cubicBezTo>
                  <a:pt x="92039" y="413980"/>
                  <a:pt x="0" y="322290"/>
                  <a:pt x="0" y="206990"/>
                </a:cubicBezTo>
                <a:lnTo>
                  <a:pt x="0" y="206990"/>
                </a:lnTo>
                <a:cubicBezTo>
                  <a:pt x="0" y="91690"/>
                  <a:pt x="92039" y="0"/>
                  <a:pt x="207777" y="0"/>
                </a:cubicBezTo>
                <a:close/>
                <a:moveTo>
                  <a:pt x="356162" y="206895"/>
                </a:moveTo>
                <a:lnTo>
                  <a:pt x="356162" y="206895"/>
                </a:lnTo>
                <a:cubicBezTo>
                  <a:pt x="356162" y="124118"/>
                  <a:pt x="290869" y="59072"/>
                  <a:pt x="207777" y="59072"/>
                </a:cubicBezTo>
                <a:lnTo>
                  <a:pt x="207777" y="59072"/>
                </a:lnTo>
                <a:cubicBezTo>
                  <a:pt x="124685" y="59072"/>
                  <a:pt x="59392" y="124118"/>
                  <a:pt x="59392" y="206895"/>
                </a:cubicBezTo>
                <a:lnTo>
                  <a:pt x="59392" y="206895"/>
                </a:lnTo>
                <a:cubicBezTo>
                  <a:pt x="59392" y="289672"/>
                  <a:pt x="124685" y="354718"/>
                  <a:pt x="207777" y="354718"/>
                </a:cubicBezTo>
                <a:lnTo>
                  <a:pt x="207777" y="354718"/>
                </a:lnTo>
                <a:cubicBezTo>
                  <a:pt x="290869" y="354718"/>
                  <a:pt x="356162" y="289672"/>
                  <a:pt x="356162" y="206895"/>
                </a:cubicBezTo>
                <a:close/>
                <a:moveTo>
                  <a:pt x="1276168" y="0"/>
                </a:moveTo>
                <a:lnTo>
                  <a:pt x="1276168" y="0"/>
                </a:lnTo>
                <a:cubicBezTo>
                  <a:pt x="1391907" y="0"/>
                  <a:pt x="1483945" y="91690"/>
                  <a:pt x="1483945" y="206990"/>
                </a:cubicBezTo>
                <a:lnTo>
                  <a:pt x="1483945" y="206990"/>
                </a:lnTo>
                <a:cubicBezTo>
                  <a:pt x="1483945" y="322290"/>
                  <a:pt x="1391907" y="413980"/>
                  <a:pt x="1276168" y="413980"/>
                </a:cubicBezTo>
                <a:lnTo>
                  <a:pt x="1276168" y="413980"/>
                </a:lnTo>
                <a:cubicBezTo>
                  <a:pt x="1160430" y="413980"/>
                  <a:pt x="1068391" y="322290"/>
                  <a:pt x="1068391" y="206990"/>
                </a:cubicBezTo>
                <a:lnTo>
                  <a:pt x="1068391" y="206990"/>
                </a:lnTo>
                <a:cubicBezTo>
                  <a:pt x="1068391" y="91690"/>
                  <a:pt x="1160430" y="0"/>
                  <a:pt x="1276168" y="0"/>
                </a:cubicBezTo>
                <a:close/>
                <a:moveTo>
                  <a:pt x="1424553" y="206895"/>
                </a:moveTo>
                <a:lnTo>
                  <a:pt x="1424553" y="206895"/>
                </a:lnTo>
                <a:cubicBezTo>
                  <a:pt x="1424553" y="124118"/>
                  <a:pt x="1359260" y="59072"/>
                  <a:pt x="1276168" y="59072"/>
                </a:cubicBezTo>
                <a:lnTo>
                  <a:pt x="1276168" y="59072"/>
                </a:lnTo>
                <a:cubicBezTo>
                  <a:pt x="1193076" y="59072"/>
                  <a:pt x="1127783" y="124118"/>
                  <a:pt x="1127783" y="206895"/>
                </a:cubicBezTo>
                <a:lnTo>
                  <a:pt x="1127783" y="206895"/>
                </a:lnTo>
                <a:cubicBezTo>
                  <a:pt x="1127783" y="289672"/>
                  <a:pt x="1193076" y="354718"/>
                  <a:pt x="1276168" y="354718"/>
                </a:cubicBezTo>
                <a:lnTo>
                  <a:pt x="1276168" y="354718"/>
                </a:lnTo>
                <a:cubicBezTo>
                  <a:pt x="1359260" y="354718"/>
                  <a:pt x="1424553" y="289672"/>
                  <a:pt x="1424553" y="206895"/>
                </a:cubicBezTo>
                <a:close/>
                <a:moveTo>
                  <a:pt x="207777" y="1064249"/>
                </a:moveTo>
                <a:lnTo>
                  <a:pt x="207777" y="1064249"/>
                </a:lnTo>
                <a:cubicBezTo>
                  <a:pt x="323515" y="1064249"/>
                  <a:pt x="415554" y="1155938"/>
                  <a:pt x="415554" y="1271238"/>
                </a:cubicBezTo>
                <a:lnTo>
                  <a:pt x="415554" y="1271238"/>
                </a:lnTo>
                <a:cubicBezTo>
                  <a:pt x="415554" y="1386538"/>
                  <a:pt x="323515" y="1478228"/>
                  <a:pt x="207777" y="1478228"/>
                </a:cubicBezTo>
                <a:lnTo>
                  <a:pt x="207777" y="1478228"/>
                </a:lnTo>
                <a:cubicBezTo>
                  <a:pt x="92039" y="1478228"/>
                  <a:pt x="0" y="1386538"/>
                  <a:pt x="0" y="1271238"/>
                </a:cubicBezTo>
                <a:lnTo>
                  <a:pt x="0" y="1271238"/>
                </a:lnTo>
                <a:cubicBezTo>
                  <a:pt x="0" y="1155938"/>
                  <a:pt x="92039" y="1064249"/>
                  <a:pt x="207777" y="1064249"/>
                </a:cubicBezTo>
                <a:close/>
                <a:moveTo>
                  <a:pt x="356162" y="1271238"/>
                </a:moveTo>
                <a:lnTo>
                  <a:pt x="356162" y="1271238"/>
                </a:lnTo>
                <a:cubicBezTo>
                  <a:pt x="356162" y="1188461"/>
                  <a:pt x="290869" y="1123416"/>
                  <a:pt x="207777" y="1123416"/>
                </a:cubicBezTo>
                <a:lnTo>
                  <a:pt x="207777" y="1123416"/>
                </a:lnTo>
                <a:cubicBezTo>
                  <a:pt x="124685" y="1123416"/>
                  <a:pt x="59392" y="1188461"/>
                  <a:pt x="59392" y="1271238"/>
                </a:cubicBezTo>
                <a:lnTo>
                  <a:pt x="59392" y="1271238"/>
                </a:lnTo>
                <a:cubicBezTo>
                  <a:pt x="59392" y="1354016"/>
                  <a:pt x="124685" y="1419061"/>
                  <a:pt x="207777" y="1419061"/>
                </a:cubicBezTo>
                <a:lnTo>
                  <a:pt x="207777" y="1419061"/>
                </a:lnTo>
                <a:cubicBezTo>
                  <a:pt x="290869" y="1419061"/>
                  <a:pt x="356162" y="1354016"/>
                  <a:pt x="356162" y="1271238"/>
                </a:cubicBezTo>
                <a:close/>
                <a:moveTo>
                  <a:pt x="118784" y="206895"/>
                </a:moveTo>
                <a:cubicBezTo>
                  <a:pt x="118784" y="255916"/>
                  <a:pt x="158664" y="295551"/>
                  <a:pt x="207777" y="295551"/>
                </a:cubicBezTo>
                <a:cubicBezTo>
                  <a:pt x="256890" y="295551"/>
                  <a:pt x="296770" y="255822"/>
                  <a:pt x="296770" y="206895"/>
                </a:cubicBezTo>
                <a:cubicBezTo>
                  <a:pt x="296770" y="157968"/>
                  <a:pt x="256890" y="118239"/>
                  <a:pt x="207777" y="118239"/>
                </a:cubicBezTo>
                <a:cubicBezTo>
                  <a:pt x="158664" y="118239"/>
                  <a:pt x="118784" y="157968"/>
                  <a:pt x="118784" y="206895"/>
                </a:cubicBezTo>
                <a:close/>
                <a:moveTo>
                  <a:pt x="1187080" y="206895"/>
                </a:moveTo>
                <a:cubicBezTo>
                  <a:pt x="1187080" y="255916"/>
                  <a:pt x="1226960" y="295551"/>
                  <a:pt x="1276073" y="295551"/>
                </a:cubicBezTo>
                <a:cubicBezTo>
                  <a:pt x="1325186" y="295551"/>
                  <a:pt x="1365066" y="255822"/>
                  <a:pt x="1365066" y="206895"/>
                </a:cubicBezTo>
                <a:cubicBezTo>
                  <a:pt x="1365066" y="157968"/>
                  <a:pt x="1325186" y="118239"/>
                  <a:pt x="1276073" y="118239"/>
                </a:cubicBezTo>
                <a:cubicBezTo>
                  <a:pt x="1226960" y="118239"/>
                  <a:pt x="1187080" y="157968"/>
                  <a:pt x="1187080" y="206895"/>
                </a:cubicBezTo>
                <a:close/>
                <a:moveTo>
                  <a:pt x="118784" y="1271238"/>
                </a:moveTo>
                <a:cubicBezTo>
                  <a:pt x="118784" y="1320260"/>
                  <a:pt x="158664" y="1359894"/>
                  <a:pt x="207777" y="1359894"/>
                </a:cubicBezTo>
                <a:cubicBezTo>
                  <a:pt x="256890" y="1359894"/>
                  <a:pt x="296770" y="1320165"/>
                  <a:pt x="296770" y="1271238"/>
                </a:cubicBezTo>
                <a:cubicBezTo>
                  <a:pt x="296770" y="1222312"/>
                  <a:pt x="256890" y="1182583"/>
                  <a:pt x="207777" y="1182583"/>
                </a:cubicBezTo>
                <a:cubicBezTo>
                  <a:pt x="158664" y="1182583"/>
                  <a:pt x="118784" y="1222312"/>
                  <a:pt x="118784" y="1271238"/>
                </a:cubicBezTo>
                <a:close/>
              </a:path>
            </a:pathLst>
          </a:custGeom>
          <a:solidFill>
            <a:schemeClr val="bg1"/>
          </a:solidFill>
          <a:ln w="950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526" name="Рисунок 5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8631" y="24275"/>
            <a:ext cx="8843643" cy="683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6786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cent_bottom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848" imgH="851" progId="TCLayout.ActiveDocument.1">
                  <p:embed/>
                </p:oleObj>
              </mc:Choice>
              <mc:Fallback>
                <p:oleObj name="Слайд think-cell" r:id="rId3" imgW="848" imgH="851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Прямоугольник 19"/>
          <p:cNvSpPr>
            <a:spLocks/>
          </p:cNvSpPr>
          <p:nvPr/>
        </p:nvSpPr>
        <p:spPr>
          <a:xfrm>
            <a:off x="0" y="5156200"/>
            <a:ext cx="12192000" cy="1700213"/>
          </a:xfrm>
          <a:prstGeom prst="rect">
            <a:avLst/>
          </a:prstGeom>
          <a:solidFill>
            <a:srgbClr val="0B18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51664"/>
            <a:ext cx="1128990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7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6" name="Текст 38"/>
          <p:cNvSpPr>
            <a:spLocks noGrp="1"/>
          </p:cNvSpPr>
          <p:nvPr>
            <p:ph type="body" sz="quarter" idx="21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2" name="Текст 38">
            <a:extLst>
              <a:ext uri="{FF2B5EF4-FFF2-40B4-BE49-F238E27FC236}">
                <a16:creationId xmlns:a16="http://schemas.microsoft.com/office/drawing/2014/main" id="{315FF90D-F2B0-3149-E8BB-A06500F5BC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460E4700-B57C-1B03-4613-5678684BFEE6}"/>
              </a:ext>
            </a:extLst>
          </p:cNvPr>
          <p:cNvSpPr/>
          <p:nvPr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423E46-B7A0-4744-B3E1-320992BDBEC7}" type="slidenum">
              <a:rPr kumimoji="0" lang="ru-RU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7DB17AEE-98FD-F471-3702-3B562CD1902E}"/>
              </a:ext>
            </a:extLst>
          </p:cNvPr>
          <p:cNvGrpSpPr/>
          <p:nvPr/>
        </p:nvGrpSpPr>
        <p:grpSpPr>
          <a:xfrm>
            <a:off x="11324361" y="6517061"/>
            <a:ext cx="424728" cy="184669"/>
            <a:chOff x="6626594" y="3238091"/>
            <a:chExt cx="3421274" cy="1487547"/>
          </a:xfrm>
        </p:grpSpPr>
        <p:grpSp>
          <p:nvGrpSpPr>
            <p:cNvPr id="14" name="Рисунок 48">
              <a:extLst>
                <a:ext uri="{FF2B5EF4-FFF2-40B4-BE49-F238E27FC236}">
                  <a16:creationId xmlns:a16="http://schemas.microsoft.com/office/drawing/2014/main" id="{1B2FFAAD-4879-E8A8-3A1B-2F2655DBA16B}"/>
                </a:ext>
              </a:extLst>
            </p:cNvPr>
            <p:cNvGrpSpPr/>
            <p:nvPr/>
          </p:nvGrpSpPr>
          <p:grpSpPr>
            <a:xfrm>
              <a:off x="6626594" y="3238091"/>
              <a:ext cx="2540911" cy="1487547"/>
              <a:chOff x="6626594" y="3238091"/>
              <a:chExt cx="2540911" cy="1487547"/>
            </a:xfrm>
            <a:solidFill>
              <a:srgbClr val="171523"/>
            </a:solidFill>
          </p:grpSpPr>
          <p:sp>
            <p:nvSpPr>
              <p:cNvPr id="17" name="Полилиния 18">
                <a:extLst>
                  <a:ext uri="{FF2B5EF4-FFF2-40B4-BE49-F238E27FC236}">
                    <a16:creationId xmlns:a16="http://schemas.microsoft.com/office/drawing/2014/main" id="{74D78183-A4FF-B6EC-FDCC-681B2E510ECE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8" name="Полилиния 19">
                <a:extLst>
                  <a:ext uri="{FF2B5EF4-FFF2-40B4-BE49-F238E27FC236}">
                    <a16:creationId xmlns:a16="http://schemas.microsoft.com/office/drawing/2014/main" id="{11A8732F-32BD-FCBF-602E-523904DC33CD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15" name="Полилиния 17">
              <a:extLst>
                <a:ext uri="{FF2B5EF4-FFF2-40B4-BE49-F238E27FC236}">
                  <a16:creationId xmlns:a16="http://schemas.microsoft.com/office/drawing/2014/main" id="{73CEF082-4DA7-3CD9-DE92-03C3017D7ED7}"/>
                </a:ext>
              </a:extLst>
            </p:cNvPr>
            <p:cNvSpPr/>
            <p:nvPr/>
          </p:nvSpPr>
          <p:spPr>
            <a:xfrm>
              <a:off x="9196128" y="3261224"/>
              <a:ext cx="851740" cy="1441279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4574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42">
          <p15:clr>
            <a:srgbClr val="FBAE40"/>
          </p15:clr>
        </p15:guide>
        <p15:guide id="2" pos="2137">
          <p15:clr>
            <a:srgbClr val="FBAE40"/>
          </p15:clr>
        </p15:guide>
        <p15:guide id="3" pos="3701">
          <p15:clr>
            <a:srgbClr val="FBAE40"/>
          </p15:clr>
        </p15:guide>
        <p15:guide id="4" pos="3987">
          <p15:clr>
            <a:srgbClr val="FBAE40"/>
          </p15:clr>
        </p15:guide>
        <p15:guide id="5" pos="5552">
          <p15:clr>
            <a:srgbClr val="FBAE40"/>
          </p15:clr>
        </p15:guide>
        <p15:guide id="6" pos="582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cent_bottom-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848" imgH="851" progId="TCLayout.ActiveDocument.1">
                  <p:embed/>
                </p:oleObj>
              </mc:Choice>
              <mc:Fallback>
                <p:oleObj name="Слайд think-cell" r:id="rId3" imgW="848" imgH="851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Прямоугольник 19"/>
          <p:cNvSpPr>
            <a:spLocks/>
          </p:cNvSpPr>
          <p:nvPr/>
        </p:nvSpPr>
        <p:spPr>
          <a:xfrm>
            <a:off x="0" y="5156200"/>
            <a:ext cx="12192000" cy="17002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51664"/>
            <a:ext cx="1128990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7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6" name="Текст 38"/>
          <p:cNvSpPr>
            <a:spLocks noGrp="1"/>
          </p:cNvSpPr>
          <p:nvPr>
            <p:ph type="body" sz="quarter" idx="21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2" name="Текст 38">
            <a:extLst>
              <a:ext uri="{FF2B5EF4-FFF2-40B4-BE49-F238E27FC236}">
                <a16:creationId xmlns:a16="http://schemas.microsoft.com/office/drawing/2014/main" id="{315FF90D-F2B0-3149-E8BB-A06500F5BC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" name="Rectangle 12">
            <a:extLst>
              <a:ext uri="{FF2B5EF4-FFF2-40B4-BE49-F238E27FC236}">
                <a16:creationId xmlns:a16="http://schemas.microsoft.com/office/drawing/2014/main" id="{CB7892BA-7AA9-B1CC-1CAB-E9F67E521CA7}"/>
              </a:ext>
            </a:extLst>
          </p:cNvPr>
          <p:cNvSpPr/>
          <p:nvPr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B0C6BCA6-E26E-B49E-8899-94A3A3666627}"/>
              </a:ext>
            </a:extLst>
          </p:cNvPr>
          <p:cNvGrpSpPr/>
          <p:nvPr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8" name="Рисунок 48">
              <a:extLst>
                <a:ext uri="{FF2B5EF4-FFF2-40B4-BE49-F238E27FC236}">
                  <a16:creationId xmlns:a16="http://schemas.microsoft.com/office/drawing/2014/main" id="{EC0479C5-3EB3-1D97-9809-11CE1657F300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10" name="Полилиния 13">
                <a:extLst>
                  <a:ext uri="{FF2B5EF4-FFF2-40B4-BE49-F238E27FC236}">
                    <a16:creationId xmlns:a16="http://schemas.microsoft.com/office/drawing/2014/main" id="{55E7991F-C4BD-E18A-9218-2C2D8022EC9C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9" name="Полилиния 14">
                <a:extLst>
                  <a:ext uri="{FF2B5EF4-FFF2-40B4-BE49-F238E27FC236}">
                    <a16:creationId xmlns:a16="http://schemas.microsoft.com/office/drawing/2014/main" id="{5E5CD9A6-CCBD-227B-60C6-0B3415B6816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9" name="Полилиния 12">
              <a:extLst>
                <a:ext uri="{FF2B5EF4-FFF2-40B4-BE49-F238E27FC236}">
                  <a16:creationId xmlns:a16="http://schemas.microsoft.com/office/drawing/2014/main" id="{ADD47A10-F71C-E82C-4992-0DC78B24903C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721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42">
          <p15:clr>
            <a:srgbClr val="FBAE40"/>
          </p15:clr>
        </p15:guide>
        <p15:guide id="2" pos="2137">
          <p15:clr>
            <a:srgbClr val="FBAE40"/>
          </p15:clr>
        </p15:guide>
        <p15:guide id="3" pos="3701">
          <p15:clr>
            <a:srgbClr val="FBAE40"/>
          </p15:clr>
        </p15:guide>
        <p15:guide id="4" pos="3987">
          <p15:clr>
            <a:srgbClr val="FBAE40"/>
          </p15:clr>
        </p15:guide>
        <p15:guide id="5" pos="5552">
          <p15:clr>
            <a:srgbClr val="FBAE40"/>
          </p15:clr>
        </p15:guide>
        <p15:guide id="6" pos="5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hibi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Текст 38"/>
          <p:cNvSpPr>
            <a:spLocks noGrp="1"/>
          </p:cNvSpPr>
          <p:nvPr>
            <p:ph type="body" sz="quarter" idx="13" hasCustomPrompt="1"/>
          </p:nvPr>
        </p:nvSpPr>
        <p:spPr>
          <a:xfrm>
            <a:off x="444295" y="6273800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0" name="Текст 38"/>
          <p:cNvSpPr>
            <a:spLocks noGrp="1"/>
          </p:cNvSpPr>
          <p:nvPr>
            <p:ph type="body" sz="quarter" idx="14" hasCustomPrompt="1"/>
          </p:nvPr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4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7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2913" y="451664"/>
            <a:ext cx="1130204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Полилиния 10">
            <a:extLst>
              <a:ext uri="{FF2B5EF4-FFF2-40B4-BE49-F238E27FC236}">
                <a16:creationId xmlns:a16="http://schemas.microsoft.com/office/drawing/2014/main" id="{426C0A8D-D200-9B5E-DE81-63CCB23992C3}"/>
              </a:ext>
            </a:extLst>
          </p:cNvPr>
          <p:cNvSpPr/>
          <p:nvPr/>
        </p:nvSpPr>
        <p:spPr>
          <a:xfrm>
            <a:off x="11643351" y="6519933"/>
            <a:ext cx="105738" cy="178925"/>
          </a:xfrm>
          <a:custGeom>
            <a:avLst/>
            <a:gdLst>
              <a:gd name="connsiteX0" fmla="*/ 851741 w 851740"/>
              <a:gd name="connsiteY0" fmla="*/ 0 h 1441279"/>
              <a:gd name="connsiteX1" fmla="*/ 161146 w 851740"/>
              <a:gd name="connsiteY1" fmla="*/ 1441280 h 1441279"/>
              <a:gd name="connsiteX2" fmla="*/ 0 w 851740"/>
              <a:gd name="connsiteY2" fmla="*/ 1441280 h 1441279"/>
              <a:gd name="connsiteX3" fmla="*/ 690595 w 851740"/>
              <a:gd name="connsiteY3" fmla="*/ 0 h 1441279"/>
              <a:gd name="connsiteX4" fmla="*/ 851741 w 851740"/>
              <a:gd name="connsiteY4" fmla="*/ 0 h 1441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740" h="1441279">
                <a:moveTo>
                  <a:pt x="851741" y="0"/>
                </a:moveTo>
                <a:lnTo>
                  <a:pt x="161146" y="1441280"/>
                </a:lnTo>
                <a:lnTo>
                  <a:pt x="0" y="1441280"/>
                </a:lnTo>
                <a:lnTo>
                  <a:pt x="690595" y="0"/>
                </a:lnTo>
                <a:lnTo>
                  <a:pt x="851741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3705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Текст 38"/>
          <p:cNvSpPr>
            <a:spLocks noGrp="1"/>
          </p:cNvSpPr>
          <p:nvPr>
            <p:ph type="body" sz="quarter" idx="13" hasCustomPrompt="1"/>
          </p:nvPr>
        </p:nvSpPr>
        <p:spPr>
          <a:xfrm>
            <a:off x="449413" y="6273800"/>
            <a:ext cx="11289600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0" name="Текст 38"/>
          <p:cNvSpPr>
            <a:spLocks noGrp="1"/>
          </p:cNvSpPr>
          <p:nvPr>
            <p:ph type="body" sz="quarter" idx="14" hasCustomPrompt="1"/>
          </p:nvPr>
        </p:nvSpPr>
        <p:spPr>
          <a:xfrm>
            <a:off x="449413" y="6522684"/>
            <a:ext cx="9203927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4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49413" y="171095"/>
            <a:ext cx="11289908" cy="238902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7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49413" y="429686"/>
            <a:ext cx="1128990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00715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1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23.xml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34.xml"/><Relationship Id="rId10" Type="http://schemas.openxmlformats.org/officeDocument/2006/relationships/oleObject" Target="../embeddings/oleObject19.bin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3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0.xml"/><Relationship Id="rId9" Type="http://schemas.openxmlformats.org/officeDocument/2006/relationships/oleObject" Target="../embeddings/oleObject7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oleObject" Target="../embeddings/oleObject21.bin"/><Relationship Id="rId5" Type="http://schemas.openxmlformats.org/officeDocument/2006/relationships/slideLayout" Target="../slideLayouts/slideLayout47.xml"/><Relationship Id="rId10" Type="http://schemas.openxmlformats.org/officeDocument/2006/relationships/tags" Target="../tags/tag48.xml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oleObject" Target="../embeddings/oleObject21.bin"/><Relationship Id="rId5" Type="http://schemas.openxmlformats.org/officeDocument/2006/relationships/slideLayout" Target="../slideLayouts/slideLayout55.xml"/><Relationship Id="rId10" Type="http://schemas.openxmlformats.org/officeDocument/2006/relationships/tags" Target="../tags/tag57.xml"/><Relationship Id="rId4" Type="http://schemas.openxmlformats.org/officeDocument/2006/relationships/slideLayout" Target="../slideLayouts/slideLayout54.xml"/><Relationship Id="rId9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425" imgH="426" progId="TCLayout.ActiveDocument.1">
                  <p:embed/>
                </p:oleObj>
              </mc:Choice>
              <mc:Fallback>
                <p:oleObj name="Слайд think-cell" r:id="rId1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196975"/>
            <a:ext cx="11306176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  <a:endParaRPr lang="en-US" dirty="0"/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42913" y="451664"/>
            <a:ext cx="1130617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Вывод слайда</a:t>
            </a:r>
          </a:p>
        </p:txBody>
      </p:sp>
      <p:sp>
        <p:nvSpPr>
          <p:cNvPr id="10" name="Rectangle 12"/>
          <p:cNvSpPr/>
          <p:nvPr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12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14" name="Полилиния 13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5" name="Полилиния 14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8975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SB Sans Text Semibold" panose="020B0703040504020204" pitchFamily="34" charset="-52"/>
          <a:sym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>
            <a:lumMod val="75000"/>
          </a:schemeClr>
        </a:buClr>
        <a:buFont typeface="Courier New" panose="02070309020205020404" pitchFamily="49" charset="0"/>
        <a:buNone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1pPr>
      <a:lvl2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2pPr>
      <a:lvl3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3pPr>
      <a:lvl4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4pPr>
      <a:lvl5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8">
          <p15:clr>
            <a:srgbClr val="F26B43"/>
          </p15:clr>
        </p15:guide>
        <p15:guide id="2" pos="7401">
          <p15:clr>
            <a:srgbClr val="F26B43"/>
          </p15:clr>
        </p15:guide>
        <p15:guide id="3" orient="horz" pos="283">
          <p15:clr>
            <a:srgbClr val="F26B43"/>
          </p15:clr>
        </p15:guide>
        <p15:guide id="4" orient="horz" pos="3884">
          <p15:clr>
            <a:srgbClr val="F26B43"/>
          </p15:clr>
        </p15:guide>
        <p15:guide id="6" orient="horz" pos="754">
          <p15:clr>
            <a:srgbClr val="F26B43"/>
          </p15:clr>
        </p15:guide>
        <p15:guide id="7" orient="horz" pos="3952">
          <p15:clr>
            <a:srgbClr val="F26B43"/>
          </p15:clr>
        </p15:guide>
        <p15:guide id="8" orient="horz" pos="107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91545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425" imgH="426" progId="TCLayout.ActiveDocument.1">
                  <p:embed/>
                </p:oleObj>
              </mc:Choice>
              <mc:Fallback>
                <p:oleObj name="Слайд think-cell" r:id="rId13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42913" y="449263"/>
            <a:ext cx="1130617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Вывод слайда</a:t>
            </a:r>
          </a:p>
        </p:txBody>
      </p:sp>
      <p:sp>
        <p:nvSpPr>
          <p:cNvPr id="10" name="Rectangle 12"/>
          <p:cNvSpPr/>
          <p:nvPr userDrawn="1"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12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14" name="Полилиния 13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5" name="Полилиния 14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442913" y="1196975"/>
            <a:ext cx="11306176" cy="13696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  <a:endParaRPr lang="en-US" dirty="0"/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327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9" r:id="rId6"/>
    <p:sldLayoutId id="2147483680" r:id="rId7"/>
    <p:sldLayoutId id="2147483681" r:id="rId8"/>
    <p:sldLayoutId id="2147483684" r:id="rId9"/>
    <p:sldLayoutId id="2147483686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SB Sans Text Semibold" panose="020B0703040504020204" pitchFamily="34" charset="-52"/>
          <a:sym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accent2">
            <a:lumMod val="75000"/>
          </a:schemeClr>
        </a:buClr>
        <a:buFont typeface="Courier New" panose="02070309020205020404" pitchFamily="49" charset="0"/>
        <a:buNone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1pPr>
      <a:lvl2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2pPr>
      <a:lvl3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3pPr>
      <a:lvl4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4pPr>
      <a:lvl5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orient="horz" pos="283">
          <p15:clr>
            <a:srgbClr val="F26B43"/>
          </p15:clr>
        </p15:guide>
        <p15:guide id="4" orient="horz" pos="3884">
          <p15:clr>
            <a:srgbClr val="F26B43"/>
          </p15:clr>
        </p15:guide>
        <p15:guide id="6" orient="horz" pos="754">
          <p15:clr>
            <a:srgbClr val="F26B43"/>
          </p15:clr>
        </p15:guide>
        <p15:guide id="7" orient="horz" pos="3952">
          <p15:clr>
            <a:srgbClr val="F26B43"/>
          </p15:clr>
        </p15:guide>
        <p15:guide id="8" orient="horz" pos="1071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9302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2" imgW="425" imgH="426" progId="TCLayout.ActiveDocument.1">
                  <p:embed/>
                </p:oleObj>
              </mc:Choice>
              <mc:Fallback>
                <p:oleObj name="Слайд think-cell" r:id="rId12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196975"/>
            <a:ext cx="11306176" cy="13696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  <a:endParaRPr lang="en-US" dirty="0"/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42913" y="449263"/>
            <a:ext cx="1130617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Вывод слайда</a:t>
            </a:r>
          </a:p>
        </p:txBody>
      </p:sp>
      <p:sp>
        <p:nvSpPr>
          <p:cNvPr id="10" name="Rectangle 12"/>
          <p:cNvSpPr/>
          <p:nvPr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11324361" y="6517061"/>
            <a:ext cx="424728" cy="184669"/>
            <a:chOff x="6626594" y="3238091"/>
            <a:chExt cx="3421274" cy="1487547"/>
          </a:xfrm>
        </p:grpSpPr>
        <p:grpSp>
          <p:nvGrpSpPr>
            <p:cNvPr id="17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6626594" y="3238091"/>
              <a:ext cx="2540911" cy="1487547"/>
              <a:chOff x="6626594" y="3238091"/>
              <a:chExt cx="2540911" cy="1487547"/>
            </a:xfrm>
            <a:solidFill>
              <a:srgbClr val="171523"/>
            </a:solidFill>
          </p:grpSpPr>
          <p:sp>
            <p:nvSpPr>
              <p:cNvPr id="19" name="Полилиния 18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20" name="Полилиния 19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9196128" y="3261224"/>
              <a:ext cx="851740" cy="1441279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31209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SB Sans Text Semibold" panose="020B0703040504020204" pitchFamily="34" charset="-52"/>
          <a:sym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accent2">
            <a:lumMod val="75000"/>
          </a:schemeClr>
        </a:buClr>
        <a:buFont typeface="Courier New" panose="02070309020205020404" pitchFamily="49" charset="0"/>
        <a:buNone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1pPr>
      <a:lvl2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2pPr>
      <a:lvl3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3pPr>
      <a:lvl4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4pPr>
      <a:lvl5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orient="horz" pos="3884">
          <p15:clr>
            <a:srgbClr val="F26B43"/>
          </p15:clr>
        </p15:guide>
        <p15:guide id="6" orient="horz" pos="754">
          <p15:clr>
            <a:srgbClr val="F26B43"/>
          </p15:clr>
        </p15:guide>
        <p15:guide id="7" orient="horz" pos="3952">
          <p15:clr>
            <a:srgbClr val="F26B43"/>
          </p15:clr>
        </p15:guide>
        <p15:guide id="8" orient="horz" pos="1071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8662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0" imgW="425" imgH="426" progId="TCLayout.ActiveDocument.1">
                  <p:embed/>
                </p:oleObj>
              </mc:Choice>
              <mc:Fallback>
                <p:oleObj name="Слайд think-cell" r:id="rId10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196975"/>
            <a:ext cx="11306176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  <a:endParaRPr lang="en-US" dirty="0"/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42913" y="451664"/>
            <a:ext cx="1130617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Вывод слайда</a:t>
            </a:r>
          </a:p>
        </p:txBody>
      </p:sp>
      <p:sp>
        <p:nvSpPr>
          <p:cNvPr id="10" name="Rectangle 12"/>
          <p:cNvSpPr/>
          <p:nvPr userDrawn="1"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12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14" name="Полилиния 13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5" name="Полилиния 14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8510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SB Sans Text Semibold" panose="020B0703040504020204" pitchFamily="34" charset="-52"/>
          <a:sym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>
            <a:lumMod val="75000"/>
          </a:schemeClr>
        </a:buClr>
        <a:buFont typeface="Courier New" panose="02070309020205020404" pitchFamily="49" charset="0"/>
        <a:buNone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1pPr>
      <a:lvl2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2pPr>
      <a:lvl3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3pPr>
      <a:lvl4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4pPr>
      <a:lvl5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8">
          <p15:clr>
            <a:srgbClr val="F26B43"/>
          </p15:clr>
        </p15:guide>
        <p15:guide id="2" pos="7401">
          <p15:clr>
            <a:srgbClr val="F26B43"/>
          </p15:clr>
        </p15:guide>
        <p15:guide id="3" orient="horz" pos="283">
          <p15:clr>
            <a:srgbClr val="F26B43"/>
          </p15:clr>
        </p15:guide>
        <p15:guide id="4" orient="horz" pos="3884">
          <p15:clr>
            <a:srgbClr val="F26B43"/>
          </p15:clr>
        </p15:guide>
        <p15:guide id="6" orient="horz" pos="754">
          <p15:clr>
            <a:srgbClr val="F26B43"/>
          </p15:clr>
        </p15:guide>
        <p15:guide id="7" orient="horz" pos="3952">
          <p15:clr>
            <a:srgbClr val="F26B43"/>
          </p15:clr>
        </p15:guide>
        <p15:guide id="8" orient="horz" pos="1071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977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9" imgW="425" imgH="426" progId="TCLayout.ActiveDocument.1">
                  <p:embed/>
                </p:oleObj>
              </mc:Choice>
              <mc:Fallback>
                <p:oleObj name="Слайд think-cell" r:id="rId9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42913" y="449263"/>
            <a:ext cx="1130617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Вывод слайда</a:t>
            </a:r>
          </a:p>
        </p:txBody>
      </p:sp>
      <p:sp>
        <p:nvSpPr>
          <p:cNvPr id="10" name="Rectangle 12"/>
          <p:cNvSpPr/>
          <p:nvPr userDrawn="1"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11324361" y="6517061"/>
            <a:ext cx="424728" cy="184669"/>
            <a:chOff x="11324361" y="6517061"/>
            <a:chExt cx="424728" cy="184669"/>
          </a:xfrm>
        </p:grpSpPr>
        <p:grpSp>
          <p:nvGrpSpPr>
            <p:cNvPr id="12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11324361" y="6517061"/>
              <a:ext cx="315437" cy="184669"/>
              <a:chOff x="6626594" y="3238091"/>
              <a:chExt cx="2540911" cy="1487547"/>
            </a:xfrm>
            <a:solidFill>
              <a:schemeClr val="tx1"/>
            </a:solidFill>
          </p:grpSpPr>
          <p:sp>
            <p:nvSpPr>
              <p:cNvPr id="14" name="Полилиния 13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5" name="Полилиния 14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11643351" y="6519933"/>
              <a:ext cx="105738" cy="178925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442913" y="1196975"/>
            <a:ext cx="11306176" cy="13696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  <a:endParaRPr lang="en-US" dirty="0"/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48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3" r:id="rId5"/>
    <p:sldLayoutId id="214748371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SB Sans Text Semibold" panose="020B0703040504020204" pitchFamily="34" charset="-52"/>
          <a:sym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accent2">
            <a:lumMod val="75000"/>
          </a:schemeClr>
        </a:buClr>
        <a:buFont typeface="Courier New" panose="02070309020205020404" pitchFamily="49" charset="0"/>
        <a:buNone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1pPr>
      <a:lvl2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2pPr>
      <a:lvl3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3pPr>
      <a:lvl4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4pPr>
      <a:lvl5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orient="horz" pos="283">
          <p15:clr>
            <a:srgbClr val="F26B43"/>
          </p15:clr>
        </p15:guide>
        <p15:guide id="4" orient="horz" pos="3884">
          <p15:clr>
            <a:srgbClr val="F26B43"/>
          </p15:clr>
        </p15:guide>
        <p15:guide id="6" orient="horz" pos="754">
          <p15:clr>
            <a:srgbClr val="F26B43"/>
          </p15:clr>
        </p15:guide>
        <p15:guide id="7" orient="horz" pos="3952">
          <p15:clr>
            <a:srgbClr val="F26B43"/>
          </p15:clr>
        </p15:guide>
        <p15:guide id="8" orient="horz" pos="1071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367019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1" imgW="425" imgH="426" progId="TCLayout.ActiveDocument.1">
                  <p:embed/>
                </p:oleObj>
              </mc:Choice>
              <mc:Fallback>
                <p:oleObj name="Слайд think-cell" r:id="rId11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196975"/>
            <a:ext cx="11306176" cy="13696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  <a:endParaRPr lang="en-US" dirty="0"/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42913" y="451664"/>
            <a:ext cx="1130617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Вывод слайда</a:t>
            </a:r>
          </a:p>
        </p:txBody>
      </p:sp>
      <p:sp>
        <p:nvSpPr>
          <p:cNvPr id="10" name="Rectangle 12"/>
          <p:cNvSpPr/>
          <p:nvPr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11324361" y="6517061"/>
            <a:ext cx="424728" cy="184669"/>
            <a:chOff x="6626594" y="3238091"/>
            <a:chExt cx="3421274" cy="1487547"/>
          </a:xfrm>
        </p:grpSpPr>
        <p:grpSp>
          <p:nvGrpSpPr>
            <p:cNvPr id="17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6626594" y="3238091"/>
              <a:ext cx="2540911" cy="1487547"/>
              <a:chOff x="6626594" y="3238091"/>
              <a:chExt cx="2540911" cy="1487547"/>
            </a:xfrm>
            <a:solidFill>
              <a:srgbClr val="171523"/>
            </a:solidFill>
          </p:grpSpPr>
          <p:sp>
            <p:nvSpPr>
              <p:cNvPr id="19" name="Полилиния 18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20" name="Полилиния 19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9196128" y="3261224"/>
              <a:ext cx="851740" cy="1441279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347314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SB Sans Text Semibold" panose="020B0703040504020204" pitchFamily="34" charset="-52"/>
          <a:sym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accent2">
            <a:lumMod val="75000"/>
          </a:schemeClr>
        </a:buClr>
        <a:buFont typeface="Courier New" panose="02070309020205020404" pitchFamily="49" charset="0"/>
        <a:buNone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1pPr>
      <a:lvl2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2pPr>
      <a:lvl3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3pPr>
      <a:lvl4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4pPr>
      <a:lvl5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orient="horz" pos="3884">
          <p15:clr>
            <a:srgbClr val="F26B43"/>
          </p15:clr>
        </p15:guide>
        <p15:guide id="6" orient="horz" pos="754">
          <p15:clr>
            <a:srgbClr val="F26B43"/>
          </p15:clr>
        </p15:guide>
        <p15:guide id="7" orient="horz" pos="3952">
          <p15:clr>
            <a:srgbClr val="F26B43"/>
          </p15:clr>
        </p15:guide>
        <p15:guide id="8" orient="horz" pos="1071">
          <p15:clr>
            <a:srgbClr val="5ACBF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367019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1" imgW="425" imgH="426" progId="TCLayout.ActiveDocument.1">
                  <p:embed/>
                </p:oleObj>
              </mc:Choice>
              <mc:Fallback>
                <p:oleObj name="Слайд think-cell" r:id="rId11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196975"/>
            <a:ext cx="11306176" cy="13696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  <a:endParaRPr lang="en-US" dirty="0"/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42913" y="451664"/>
            <a:ext cx="1130617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Вывод слайда</a:t>
            </a:r>
          </a:p>
        </p:txBody>
      </p:sp>
      <p:sp>
        <p:nvSpPr>
          <p:cNvPr id="10" name="Rectangle 12"/>
          <p:cNvSpPr/>
          <p:nvPr/>
        </p:nvSpPr>
        <p:spPr>
          <a:xfrm>
            <a:off x="11800840" y="6540146"/>
            <a:ext cx="387031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fld id="{3E423E46-B7A0-4744-B3E1-320992BDBEC7}" type="slidenum">
              <a:rPr lang="ru-RU" sz="900" b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pPr algn="l"/>
              <a:t>‹#›</a:t>
            </a:fld>
            <a:endParaRPr lang="ru-RU" sz="9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11324361" y="6517061"/>
            <a:ext cx="424728" cy="184669"/>
            <a:chOff x="6626594" y="3238091"/>
            <a:chExt cx="3421274" cy="1487547"/>
          </a:xfrm>
        </p:grpSpPr>
        <p:grpSp>
          <p:nvGrpSpPr>
            <p:cNvPr id="17" name="Рисунок 48">
              <a:extLst>
                <a:ext uri="{FF2B5EF4-FFF2-40B4-BE49-F238E27FC236}">
                  <a16:creationId xmlns:a16="http://schemas.microsoft.com/office/drawing/2014/main" id="{2253F4C3-1E1A-715B-101F-E0672B990835}"/>
                </a:ext>
              </a:extLst>
            </p:cNvPr>
            <p:cNvGrpSpPr/>
            <p:nvPr/>
          </p:nvGrpSpPr>
          <p:grpSpPr>
            <a:xfrm>
              <a:off x="6626594" y="3238091"/>
              <a:ext cx="2540911" cy="1487547"/>
              <a:chOff x="6626594" y="3238091"/>
              <a:chExt cx="2540911" cy="1487547"/>
            </a:xfrm>
            <a:solidFill>
              <a:srgbClr val="171523"/>
            </a:solidFill>
          </p:grpSpPr>
          <p:sp>
            <p:nvSpPr>
              <p:cNvPr id="19" name="Полилиния 18">
                <a:extLst>
                  <a:ext uri="{FF2B5EF4-FFF2-40B4-BE49-F238E27FC236}">
                    <a16:creationId xmlns:a16="http://schemas.microsoft.com/office/drawing/2014/main" id="{5C296971-CF47-8409-873C-77EAFBE6DEC3}"/>
                  </a:ext>
                </a:extLst>
              </p:cNvPr>
              <p:cNvSpPr/>
              <p:nvPr/>
            </p:nvSpPr>
            <p:spPr>
              <a:xfrm>
                <a:off x="8023634" y="3261224"/>
                <a:ext cx="1143871" cy="1441226"/>
              </a:xfrm>
              <a:custGeom>
                <a:avLst/>
                <a:gdLst>
                  <a:gd name="connsiteX0" fmla="*/ 690277 w 1143870"/>
                  <a:gd name="connsiteY0" fmla="*/ 0 h 1441226"/>
                  <a:gd name="connsiteX1" fmla="*/ 0 w 1143870"/>
                  <a:gd name="connsiteY1" fmla="*/ 0 h 1441226"/>
                  <a:gd name="connsiteX2" fmla="*/ 0 w 1143870"/>
                  <a:gd name="connsiteY2" fmla="*/ 1441227 h 1441226"/>
                  <a:gd name="connsiteX3" fmla="*/ 160722 w 1143870"/>
                  <a:gd name="connsiteY3" fmla="*/ 1441227 h 1441226"/>
                  <a:gd name="connsiteX4" fmla="*/ 160722 w 1143870"/>
                  <a:gd name="connsiteY4" fmla="*/ 844461 h 1441226"/>
                  <a:gd name="connsiteX5" fmla="*/ 690330 w 1143870"/>
                  <a:gd name="connsiteY5" fmla="*/ 844461 h 1441226"/>
                  <a:gd name="connsiteX6" fmla="*/ 1143871 w 1143870"/>
                  <a:gd name="connsiteY6" fmla="*/ 421119 h 1441226"/>
                  <a:gd name="connsiteX7" fmla="*/ 690277 w 1143870"/>
                  <a:gd name="connsiteY7" fmla="*/ 0 h 1441226"/>
                  <a:gd name="connsiteX8" fmla="*/ 690277 w 1143870"/>
                  <a:gd name="connsiteY8" fmla="*/ 695336 h 1441226"/>
                  <a:gd name="connsiteX9" fmla="*/ 160669 w 1143870"/>
                  <a:gd name="connsiteY9" fmla="*/ 695336 h 1441226"/>
                  <a:gd name="connsiteX10" fmla="*/ 160669 w 1143870"/>
                  <a:gd name="connsiteY10" fmla="*/ 149178 h 1441226"/>
                  <a:gd name="connsiteX11" fmla="*/ 690277 w 1143870"/>
                  <a:gd name="connsiteY11" fmla="*/ 149178 h 1441226"/>
                  <a:gd name="connsiteX12" fmla="*/ 979862 w 1143870"/>
                  <a:gd name="connsiteY12" fmla="*/ 421172 h 1441226"/>
                  <a:gd name="connsiteX13" fmla="*/ 690277 w 1143870"/>
                  <a:gd name="connsiteY13" fmla="*/ 695283 h 1441226"/>
                  <a:gd name="connsiteX14" fmla="*/ 690277 w 1143870"/>
                  <a:gd name="connsiteY14" fmla="*/ 695283 h 1441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870" h="1441226">
                    <a:moveTo>
                      <a:pt x="690277" y="0"/>
                    </a:moveTo>
                    <a:lnTo>
                      <a:pt x="0" y="0"/>
                    </a:lnTo>
                    <a:lnTo>
                      <a:pt x="0" y="1441227"/>
                    </a:lnTo>
                    <a:lnTo>
                      <a:pt x="160722" y="1441227"/>
                    </a:lnTo>
                    <a:lnTo>
                      <a:pt x="160722" y="844461"/>
                    </a:lnTo>
                    <a:lnTo>
                      <a:pt x="690330" y="844461"/>
                    </a:lnTo>
                    <a:cubicBezTo>
                      <a:pt x="982619" y="844461"/>
                      <a:pt x="1143871" y="694224"/>
                      <a:pt x="1143871" y="421119"/>
                    </a:cubicBezTo>
                    <a:cubicBezTo>
                      <a:pt x="1143871" y="148014"/>
                      <a:pt x="982619" y="0"/>
                      <a:pt x="690277" y="0"/>
                    </a:cubicBezTo>
                    <a:close/>
                    <a:moveTo>
                      <a:pt x="690277" y="695336"/>
                    </a:moveTo>
                    <a:lnTo>
                      <a:pt x="160669" y="695336"/>
                    </a:lnTo>
                    <a:lnTo>
                      <a:pt x="160669" y="149178"/>
                    </a:lnTo>
                    <a:lnTo>
                      <a:pt x="690277" y="149178"/>
                    </a:lnTo>
                    <a:cubicBezTo>
                      <a:pt x="893034" y="149178"/>
                      <a:pt x="979862" y="230490"/>
                      <a:pt x="979862" y="421172"/>
                    </a:cubicBezTo>
                    <a:cubicBezTo>
                      <a:pt x="979862" y="611853"/>
                      <a:pt x="893034" y="695283"/>
                      <a:pt x="690277" y="695283"/>
                    </a:cubicBezTo>
                    <a:lnTo>
                      <a:pt x="690277" y="695283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20" name="Полилиния 19">
                <a:extLst>
                  <a:ext uri="{FF2B5EF4-FFF2-40B4-BE49-F238E27FC236}">
                    <a16:creationId xmlns:a16="http://schemas.microsoft.com/office/drawing/2014/main" id="{C1DD0239-D639-A576-9D72-0715C6869096}"/>
                  </a:ext>
                </a:extLst>
              </p:cNvPr>
              <p:cNvSpPr/>
              <p:nvPr/>
            </p:nvSpPr>
            <p:spPr>
              <a:xfrm>
                <a:off x="6626594" y="3238091"/>
                <a:ext cx="1192373" cy="1487547"/>
              </a:xfrm>
              <a:custGeom>
                <a:avLst/>
                <a:gdLst>
                  <a:gd name="connsiteX0" fmla="*/ 1192373 w 1192373"/>
                  <a:gd name="connsiteY0" fmla="*/ 1053988 h 1487547"/>
                  <a:gd name="connsiteX1" fmla="*/ 605092 w 1192373"/>
                  <a:gd name="connsiteY1" fmla="*/ 1487547 h 1487547"/>
                  <a:gd name="connsiteX2" fmla="*/ 0 w 1192373"/>
                  <a:gd name="connsiteY2" fmla="*/ 1034084 h 1487547"/>
                  <a:gd name="connsiteX3" fmla="*/ 0 w 1192373"/>
                  <a:gd name="connsiteY3" fmla="*/ 997980 h 1487547"/>
                  <a:gd name="connsiteX4" fmla="*/ 160722 w 1192373"/>
                  <a:gd name="connsiteY4" fmla="*/ 997980 h 1487547"/>
                  <a:gd name="connsiteX5" fmla="*/ 160722 w 1192373"/>
                  <a:gd name="connsiteY5" fmla="*/ 1034084 h 1487547"/>
                  <a:gd name="connsiteX6" fmla="*/ 605092 w 1192373"/>
                  <a:gd name="connsiteY6" fmla="*/ 1338898 h 1487547"/>
                  <a:gd name="connsiteX7" fmla="*/ 1035468 w 1192373"/>
                  <a:gd name="connsiteY7" fmla="*/ 1053988 h 1487547"/>
                  <a:gd name="connsiteX8" fmla="*/ 803556 w 1192373"/>
                  <a:gd name="connsiteY8" fmla="*/ 796023 h 1487547"/>
                  <a:gd name="connsiteX9" fmla="*/ 379647 w 1192373"/>
                  <a:gd name="connsiteY9" fmla="*/ 786865 h 1487547"/>
                  <a:gd name="connsiteX10" fmla="*/ 14524 w 1192373"/>
                  <a:gd name="connsiteY10" fmla="*/ 415772 h 1487547"/>
                  <a:gd name="connsiteX11" fmla="*/ 605092 w 1192373"/>
                  <a:gd name="connsiteY11" fmla="*/ 0 h 1487547"/>
                  <a:gd name="connsiteX12" fmla="*/ 1174032 w 1192373"/>
                  <a:gd name="connsiteY12" fmla="*/ 430859 h 1487547"/>
                  <a:gd name="connsiteX13" fmla="*/ 1174563 w 1192373"/>
                  <a:gd name="connsiteY13" fmla="*/ 444888 h 1487547"/>
                  <a:gd name="connsiteX14" fmla="*/ 1013841 w 1192373"/>
                  <a:gd name="connsiteY14" fmla="*/ 444888 h 1487547"/>
                  <a:gd name="connsiteX15" fmla="*/ 1013311 w 1192373"/>
                  <a:gd name="connsiteY15" fmla="*/ 431971 h 1487547"/>
                  <a:gd name="connsiteX16" fmla="*/ 605039 w 1192373"/>
                  <a:gd name="connsiteY16" fmla="*/ 148702 h 1487547"/>
                  <a:gd name="connsiteX17" fmla="*/ 170899 w 1192373"/>
                  <a:gd name="connsiteY17" fmla="*/ 415825 h 1487547"/>
                  <a:gd name="connsiteX18" fmla="*/ 381767 w 1192373"/>
                  <a:gd name="connsiteY18" fmla="*/ 626940 h 1487547"/>
                  <a:gd name="connsiteX19" fmla="*/ 805676 w 1192373"/>
                  <a:gd name="connsiteY19" fmla="*/ 636098 h 1487547"/>
                  <a:gd name="connsiteX20" fmla="*/ 1192373 w 1192373"/>
                  <a:gd name="connsiteY20" fmla="*/ 1054041 h 1487547"/>
                  <a:gd name="connsiteX21" fmla="*/ 1192373 w 1192373"/>
                  <a:gd name="connsiteY21" fmla="*/ 1054041 h 148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2373" h="1487547">
                    <a:moveTo>
                      <a:pt x="1192373" y="1053988"/>
                    </a:moveTo>
                    <a:cubicBezTo>
                      <a:pt x="1192373" y="1345886"/>
                      <a:pt x="1000377" y="1487547"/>
                      <a:pt x="605092" y="1487547"/>
                    </a:cubicBezTo>
                    <a:cubicBezTo>
                      <a:pt x="181183" y="1487547"/>
                      <a:pt x="0" y="1352345"/>
                      <a:pt x="0" y="1034084"/>
                    </a:cubicBezTo>
                    <a:lnTo>
                      <a:pt x="0" y="997980"/>
                    </a:lnTo>
                    <a:lnTo>
                      <a:pt x="160722" y="997980"/>
                    </a:lnTo>
                    <a:lnTo>
                      <a:pt x="160722" y="1034084"/>
                    </a:lnTo>
                    <a:cubicBezTo>
                      <a:pt x="160722" y="1267803"/>
                      <a:pt x="264831" y="1338898"/>
                      <a:pt x="605092" y="1338898"/>
                    </a:cubicBezTo>
                    <a:cubicBezTo>
                      <a:pt x="983149" y="1338898"/>
                      <a:pt x="1035468" y="1202108"/>
                      <a:pt x="1035468" y="1053988"/>
                    </a:cubicBezTo>
                    <a:cubicBezTo>
                      <a:pt x="1035468" y="874106"/>
                      <a:pt x="968041" y="799252"/>
                      <a:pt x="803556" y="796023"/>
                    </a:cubicBezTo>
                    <a:lnTo>
                      <a:pt x="379647" y="786865"/>
                    </a:lnTo>
                    <a:cubicBezTo>
                      <a:pt x="133740" y="780936"/>
                      <a:pt x="14524" y="659762"/>
                      <a:pt x="14524" y="415772"/>
                    </a:cubicBezTo>
                    <a:cubicBezTo>
                      <a:pt x="14577" y="124403"/>
                      <a:pt x="191467" y="0"/>
                      <a:pt x="605092" y="0"/>
                    </a:cubicBezTo>
                    <a:cubicBezTo>
                      <a:pt x="970215" y="0"/>
                      <a:pt x="1161628" y="145420"/>
                      <a:pt x="1174032" y="430859"/>
                    </a:cubicBezTo>
                    <a:lnTo>
                      <a:pt x="1174563" y="444888"/>
                    </a:lnTo>
                    <a:lnTo>
                      <a:pt x="1013841" y="444888"/>
                    </a:lnTo>
                    <a:lnTo>
                      <a:pt x="1013311" y="431971"/>
                    </a:lnTo>
                    <a:cubicBezTo>
                      <a:pt x="1003610" y="197140"/>
                      <a:pt x="842888" y="148702"/>
                      <a:pt x="605039" y="148702"/>
                    </a:cubicBezTo>
                    <a:cubicBezTo>
                      <a:pt x="238326" y="148702"/>
                      <a:pt x="170899" y="238643"/>
                      <a:pt x="170899" y="415825"/>
                    </a:cubicBezTo>
                    <a:cubicBezTo>
                      <a:pt x="170899" y="593007"/>
                      <a:pt x="232919" y="623711"/>
                      <a:pt x="381767" y="626940"/>
                    </a:cubicBezTo>
                    <a:lnTo>
                      <a:pt x="805676" y="636098"/>
                    </a:lnTo>
                    <a:cubicBezTo>
                      <a:pt x="1058633" y="641498"/>
                      <a:pt x="1192373" y="785806"/>
                      <a:pt x="1192373" y="1054041"/>
                    </a:cubicBezTo>
                    <a:lnTo>
                      <a:pt x="1192373" y="1054041"/>
                    </a:lnTo>
                    <a:close/>
                  </a:path>
                </a:pathLst>
              </a:custGeom>
              <a:solidFill>
                <a:schemeClr val="tx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426C0A8D-D200-9B5E-DE81-63CCB23992C3}"/>
                </a:ext>
              </a:extLst>
            </p:cNvPr>
            <p:cNvSpPr/>
            <p:nvPr/>
          </p:nvSpPr>
          <p:spPr>
            <a:xfrm>
              <a:off x="9196128" y="3261224"/>
              <a:ext cx="851740" cy="1441279"/>
            </a:xfrm>
            <a:custGeom>
              <a:avLst/>
              <a:gdLst>
                <a:gd name="connsiteX0" fmla="*/ 851741 w 851740"/>
                <a:gd name="connsiteY0" fmla="*/ 0 h 1441279"/>
                <a:gd name="connsiteX1" fmla="*/ 161146 w 851740"/>
                <a:gd name="connsiteY1" fmla="*/ 1441280 h 1441279"/>
                <a:gd name="connsiteX2" fmla="*/ 0 w 851740"/>
                <a:gd name="connsiteY2" fmla="*/ 1441280 h 1441279"/>
                <a:gd name="connsiteX3" fmla="*/ 690595 w 851740"/>
                <a:gd name="connsiteY3" fmla="*/ 0 h 1441279"/>
                <a:gd name="connsiteX4" fmla="*/ 851741 w 851740"/>
                <a:gd name="connsiteY4" fmla="*/ 0 h 144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40" h="1441279">
                  <a:moveTo>
                    <a:pt x="851741" y="0"/>
                  </a:moveTo>
                  <a:lnTo>
                    <a:pt x="161146" y="1441280"/>
                  </a:lnTo>
                  <a:lnTo>
                    <a:pt x="0" y="1441280"/>
                  </a:lnTo>
                  <a:lnTo>
                    <a:pt x="690595" y="0"/>
                  </a:lnTo>
                  <a:lnTo>
                    <a:pt x="851741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07745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51336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SB Sans Text Semibold" panose="020B0703040504020204" pitchFamily="34" charset="-52"/>
          <a:sym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accent2">
            <a:lumMod val="75000"/>
          </a:schemeClr>
        </a:buClr>
        <a:buFont typeface="Courier New" panose="02070309020205020404" pitchFamily="49" charset="0"/>
        <a:buNone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1pPr>
      <a:lvl2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2pPr>
      <a:lvl3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3pPr>
      <a:lvl4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4pPr>
      <a:lvl5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Tx/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  <a:sym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orient="horz" pos="3884">
          <p15:clr>
            <a:srgbClr val="F26B43"/>
          </p15:clr>
        </p15:guide>
        <p15:guide id="6" orient="horz" pos="754">
          <p15:clr>
            <a:srgbClr val="F26B43"/>
          </p15:clr>
        </p15:guide>
        <p15:guide id="7" orient="horz" pos="3952">
          <p15:clr>
            <a:srgbClr val="F26B43"/>
          </p15:clr>
        </p15:guide>
        <p15:guide id="8" orient="horz" pos="107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66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10" Type="http://schemas.microsoft.com/office/2007/relationships/hdphoto" Target="../media/hdphoto1.wdp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26" Type="http://schemas.openxmlformats.org/officeDocument/2006/relationships/image" Target="../media/image13.svg"/><Relationship Id="rId3" Type="http://schemas.openxmlformats.org/officeDocument/2006/relationships/tags" Target="../tags/tag70.xml"/><Relationship Id="rId21" Type="http://schemas.openxmlformats.org/officeDocument/2006/relationships/notesSlide" Target="../notesSlides/notesSlide3.xml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5" Type="http://schemas.openxmlformats.org/officeDocument/2006/relationships/image" Target="../media/image12.png"/><Relationship Id="rId2" Type="http://schemas.openxmlformats.org/officeDocument/2006/relationships/tags" Target="../tags/tag69.xml"/><Relationship Id="rId16" Type="http://schemas.openxmlformats.org/officeDocument/2006/relationships/tags" Target="../tags/tag83.xml"/><Relationship Id="rId20" Type="http://schemas.openxmlformats.org/officeDocument/2006/relationships/slideLayout" Target="../slideLayouts/slideLayout42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24" Type="http://schemas.openxmlformats.org/officeDocument/2006/relationships/image" Target="../media/image8.jpeg"/><Relationship Id="rId5" Type="http://schemas.openxmlformats.org/officeDocument/2006/relationships/tags" Target="../tags/tag72.xml"/><Relationship Id="rId15" Type="http://schemas.openxmlformats.org/officeDocument/2006/relationships/tags" Target="../tags/tag82.xml"/><Relationship Id="rId23" Type="http://schemas.openxmlformats.org/officeDocument/2006/relationships/image" Target="../media/image1.emf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oleObject" Target="../embeddings/oleObject27.bin"/><Relationship Id="rId27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13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01.xml"/><Relationship Id="rId18" Type="http://schemas.openxmlformats.org/officeDocument/2006/relationships/tags" Target="../tags/tag106.xml"/><Relationship Id="rId26" Type="http://schemas.openxmlformats.org/officeDocument/2006/relationships/tags" Target="../tags/tag114.xml"/><Relationship Id="rId39" Type="http://schemas.openxmlformats.org/officeDocument/2006/relationships/tags" Target="../tags/tag127.xml"/><Relationship Id="rId21" Type="http://schemas.openxmlformats.org/officeDocument/2006/relationships/tags" Target="../tags/tag109.xml"/><Relationship Id="rId34" Type="http://schemas.openxmlformats.org/officeDocument/2006/relationships/tags" Target="../tags/tag122.xml"/><Relationship Id="rId42" Type="http://schemas.openxmlformats.org/officeDocument/2006/relationships/oleObject" Target="../embeddings/oleObject29.bin"/><Relationship Id="rId7" Type="http://schemas.openxmlformats.org/officeDocument/2006/relationships/tags" Target="../tags/tag95.xml"/><Relationship Id="rId2" Type="http://schemas.openxmlformats.org/officeDocument/2006/relationships/tags" Target="../tags/tag90.xml"/><Relationship Id="rId16" Type="http://schemas.openxmlformats.org/officeDocument/2006/relationships/tags" Target="../tags/tag104.xml"/><Relationship Id="rId29" Type="http://schemas.openxmlformats.org/officeDocument/2006/relationships/tags" Target="../tags/tag117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24" Type="http://schemas.openxmlformats.org/officeDocument/2006/relationships/tags" Target="../tags/tag112.xml"/><Relationship Id="rId32" Type="http://schemas.openxmlformats.org/officeDocument/2006/relationships/tags" Target="../tags/tag120.xml"/><Relationship Id="rId37" Type="http://schemas.openxmlformats.org/officeDocument/2006/relationships/tags" Target="../tags/tag125.xml"/><Relationship Id="rId40" Type="http://schemas.openxmlformats.org/officeDocument/2006/relationships/slideLayout" Target="../slideLayouts/slideLayout4.xml"/><Relationship Id="rId45" Type="http://schemas.openxmlformats.org/officeDocument/2006/relationships/image" Target="../media/image15.jpeg"/><Relationship Id="rId5" Type="http://schemas.openxmlformats.org/officeDocument/2006/relationships/tags" Target="../tags/tag93.xml"/><Relationship Id="rId15" Type="http://schemas.openxmlformats.org/officeDocument/2006/relationships/tags" Target="../tags/tag103.xml"/><Relationship Id="rId23" Type="http://schemas.openxmlformats.org/officeDocument/2006/relationships/tags" Target="../tags/tag111.xml"/><Relationship Id="rId28" Type="http://schemas.openxmlformats.org/officeDocument/2006/relationships/tags" Target="../tags/tag116.xml"/><Relationship Id="rId36" Type="http://schemas.openxmlformats.org/officeDocument/2006/relationships/tags" Target="../tags/tag124.xml"/><Relationship Id="rId10" Type="http://schemas.openxmlformats.org/officeDocument/2006/relationships/tags" Target="../tags/tag98.xml"/><Relationship Id="rId19" Type="http://schemas.openxmlformats.org/officeDocument/2006/relationships/tags" Target="../tags/tag107.xml"/><Relationship Id="rId31" Type="http://schemas.openxmlformats.org/officeDocument/2006/relationships/tags" Target="../tags/tag119.xml"/><Relationship Id="rId44" Type="http://schemas.openxmlformats.org/officeDocument/2006/relationships/chart" Target="../charts/chart3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Relationship Id="rId22" Type="http://schemas.openxmlformats.org/officeDocument/2006/relationships/tags" Target="../tags/tag110.xml"/><Relationship Id="rId27" Type="http://schemas.openxmlformats.org/officeDocument/2006/relationships/tags" Target="../tags/tag115.xml"/><Relationship Id="rId30" Type="http://schemas.openxmlformats.org/officeDocument/2006/relationships/tags" Target="../tags/tag118.xml"/><Relationship Id="rId35" Type="http://schemas.openxmlformats.org/officeDocument/2006/relationships/tags" Target="../tags/tag123.xml"/><Relationship Id="rId43" Type="http://schemas.openxmlformats.org/officeDocument/2006/relationships/image" Target="../media/image14.emf"/><Relationship Id="rId8" Type="http://schemas.openxmlformats.org/officeDocument/2006/relationships/tags" Target="../tags/tag96.xml"/><Relationship Id="rId3" Type="http://schemas.openxmlformats.org/officeDocument/2006/relationships/tags" Target="../tags/tag91.xml"/><Relationship Id="rId12" Type="http://schemas.openxmlformats.org/officeDocument/2006/relationships/tags" Target="../tags/tag100.xml"/><Relationship Id="rId17" Type="http://schemas.openxmlformats.org/officeDocument/2006/relationships/tags" Target="../tags/tag105.xml"/><Relationship Id="rId25" Type="http://schemas.openxmlformats.org/officeDocument/2006/relationships/tags" Target="../tags/tag113.xml"/><Relationship Id="rId33" Type="http://schemas.openxmlformats.org/officeDocument/2006/relationships/tags" Target="../tags/tag121.xml"/><Relationship Id="rId38" Type="http://schemas.openxmlformats.org/officeDocument/2006/relationships/tags" Target="../tags/tag126.xml"/><Relationship Id="rId20" Type="http://schemas.openxmlformats.org/officeDocument/2006/relationships/tags" Target="../tags/tag108.xml"/><Relationship Id="rId41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jpe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0.xml"/><Relationship Id="rId6" Type="http://schemas.openxmlformats.org/officeDocument/2006/relationships/image" Target="../media/image15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microsoft.com/office/2007/relationships/hdphoto" Target="../media/hdphoto2.wdp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3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29" imgH="329" progId="TCLayout.ActiveDocument.1">
                  <p:embed/>
                </p:oleObj>
              </mc:Choice>
              <mc:Fallback>
                <p:oleObj name="Слайд think-cell" r:id="rId4" imgW="329" imgH="329" progId="TCLayout.ActiveDocument.1">
                  <p:embed/>
                  <p:pic>
                    <p:nvPicPr>
                      <p:cNvPr id="16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DEEAAB1-FD71-2063-FBBA-CFE9F0D0163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8000" y="0"/>
            <a:ext cx="11684000" cy="6858000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9F9C0F0F-B270-73F5-D911-E1BD0E83F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793" y="2128031"/>
            <a:ext cx="9227114" cy="2862322"/>
          </a:xfrm>
        </p:spPr>
        <p:txBody>
          <a:bodyPr vert="horz" wrap="square" rIns="91440">
            <a:spAutoFit/>
          </a:bodyPr>
          <a:lstStyle/>
          <a:p>
            <a:r>
              <a:rPr lang="ru-RU" sz="6000" dirty="0"/>
              <a:t>Рынок ИТ: </a:t>
            </a:r>
            <a:br>
              <a:rPr lang="ru-RU" sz="6000" dirty="0"/>
            </a:br>
            <a:r>
              <a:rPr lang="ru-RU" sz="6000" b="0" dirty="0"/>
              <a:t>ключевые показатели и драйверы развития</a:t>
            </a:r>
            <a:endParaRPr lang="ru-RU" sz="6000" b="0" dirty="0">
              <a:solidFill>
                <a:schemeClr val="bg1"/>
              </a:solidFill>
            </a:endParaRPr>
          </a:p>
        </p:txBody>
      </p:sp>
      <p:sp>
        <p:nvSpPr>
          <p:cNvPr id="23" name="Текст 2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Июль 2026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07241A5E-AB8D-CAA4-B96F-F80CBB687EFE}"/>
              </a:ext>
            </a:extLst>
          </p:cNvPr>
          <p:cNvGrpSpPr/>
          <p:nvPr/>
        </p:nvGrpSpPr>
        <p:grpSpPr>
          <a:xfrm>
            <a:off x="1076853" y="923925"/>
            <a:ext cx="4015446" cy="508066"/>
            <a:chOff x="442913" y="1097782"/>
            <a:chExt cx="2778486" cy="351556"/>
          </a:xfrm>
        </p:grpSpPr>
        <p:sp>
          <p:nvSpPr>
            <p:cNvPr id="5" name="Полилиния 243">
              <a:extLst>
                <a:ext uri="{FF2B5EF4-FFF2-40B4-BE49-F238E27FC236}">
                  <a16:creationId xmlns:a16="http://schemas.microsoft.com/office/drawing/2014/main" id="{2011EAC6-2F20-AD1A-5348-DB468E8A7898}"/>
                </a:ext>
              </a:extLst>
            </p:cNvPr>
            <p:cNvSpPr/>
            <p:nvPr/>
          </p:nvSpPr>
          <p:spPr>
            <a:xfrm>
              <a:off x="2463670" y="1143117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" name="Полилиния 244">
              <a:extLst>
                <a:ext uri="{FF2B5EF4-FFF2-40B4-BE49-F238E27FC236}">
                  <a16:creationId xmlns:a16="http://schemas.microsoft.com/office/drawing/2014/main" id="{543793ED-28BC-CB13-1713-362E76DDFCAA}"/>
                </a:ext>
              </a:extLst>
            </p:cNvPr>
            <p:cNvSpPr/>
            <p:nvPr/>
          </p:nvSpPr>
          <p:spPr>
            <a:xfrm>
              <a:off x="2968372" y="1192746"/>
              <a:ext cx="104856" cy="165742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10" name="Полилиния 245">
              <a:extLst>
                <a:ext uri="{FF2B5EF4-FFF2-40B4-BE49-F238E27FC236}">
                  <a16:creationId xmlns:a16="http://schemas.microsoft.com/office/drawing/2014/main" id="{E2361E0F-0D77-CA24-70B9-6EB921853119}"/>
                </a:ext>
              </a:extLst>
            </p:cNvPr>
            <p:cNvSpPr/>
            <p:nvPr/>
          </p:nvSpPr>
          <p:spPr>
            <a:xfrm>
              <a:off x="2768978" y="1188178"/>
              <a:ext cx="161005" cy="174813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2" name="Полилиния 246">
              <a:extLst>
                <a:ext uri="{FF2B5EF4-FFF2-40B4-BE49-F238E27FC236}">
                  <a16:creationId xmlns:a16="http://schemas.microsoft.com/office/drawing/2014/main" id="{3523212B-346C-65B5-CCF6-23AEB87421F0}"/>
                </a:ext>
              </a:extLst>
            </p:cNvPr>
            <p:cNvSpPr/>
            <p:nvPr/>
          </p:nvSpPr>
          <p:spPr>
            <a:xfrm>
              <a:off x="3089154" y="1188887"/>
              <a:ext cx="132245" cy="17383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0" name="Полилиния 247">
              <a:extLst>
                <a:ext uri="{FF2B5EF4-FFF2-40B4-BE49-F238E27FC236}">
                  <a16:creationId xmlns:a16="http://schemas.microsoft.com/office/drawing/2014/main" id="{8BD0E61B-96DF-23B0-F91B-C0B83DCC5F31}"/>
                </a:ext>
              </a:extLst>
            </p:cNvPr>
            <p:cNvSpPr/>
            <p:nvPr/>
          </p:nvSpPr>
          <p:spPr>
            <a:xfrm>
              <a:off x="2589550" y="1188215"/>
              <a:ext cx="143546" cy="170273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1" name="Полилиния 248">
              <a:extLst>
                <a:ext uri="{FF2B5EF4-FFF2-40B4-BE49-F238E27FC236}">
                  <a16:creationId xmlns:a16="http://schemas.microsoft.com/office/drawing/2014/main" id="{29F1E38C-59BD-8D12-5786-79C2AF7DFA60}"/>
                </a:ext>
              </a:extLst>
            </p:cNvPr>
            <p:cNvSpPr/>
            <p:nvPr/>
          </p:nvSpPr>
          <p:spPr>
            <a:xfrm>
              <a:off x="1927238" y="1100289"/>
              <a:ext cx="204595" cy="258162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2" name="Полилиния 249">
              <a:extLst>
                <a:ext uri="{FF2B5EF4-FFF2-40B4-BE49-F238E27FC236}">
                  <a16:creationId xmlns:a16="http://schemas.microsoft.com/office/drawing/2014/main" id="{B41C7438-0D2C-2B6C-172C-5C1E26EB0569}"/>
                </a:ext>
              </a:extLst>
            </p:cNvPr>
            <p:cNvSpPr/>
            <p:nvPr/>
          </p:nvSpPr>
          <p:spPr>
            <a:xfrm>
              <a:off x="2129327" y="1188178"/>
              <a:ext cx="160712" cy="174813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3" name="Полилиния 250">
              <a:extLst>
                <a:ext uri="{FF2B5EF4-FFF2-40B4-BE49-F238E27FC236}">
                  <a16:creationId xmlns:a16="http://schemas.microsoft.com/office/drawing/2014/main" id="{90E04949-2C2C-A174-B3DB-6E7A1E4372FC}"/>
                </a:ext>
              </a:extLst>
            </p:cNvPr>
            <p:cNvSpPr/>
            <p:nvPr/>
          </p:nvSpPr>
          <p:spPr>
            <a:xfrm>
              <a:off x="2334896" y="1192746"/>
              <a:ext cx="104855" cy="165742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4" name="Полилиния 251">
              <a:extLst>
                <a:ext uri="{FF2B5EF4-FFF2-40B4-BE49-F238E27FC236}">
                  <a16:creationId xmlns:a16="http://schemas.microsoft.com/office/drawing/2014/main" id="{7960C10C-2F57-DCFD-618D-0B0CDCA46A2F}"/>
                </a:ext>
              </a:extLst>
            </p:cNvPr>
            <p:cNvSpPr/>
            <p:nvPr/>
          </p:nvSpPr>
          <p:spPr>
            <a:xfrm>
              <a:off x="1137750" y="1143769"/>
              <a:ext cx="92646" cy="215334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5" name="Полилиния 252">
              <a:extLst>
                <a:ext uri="{FF2B5EF4-FFF2-40B4-BE49-F238E27FC236}">
                  <a16:creationId xmlns:a16="http://schemas.microsoft.com/office/drawing/2014/main" id="{5BF69DA0-43F1-A26F-E2EF-7029E7D0DF41}"/>
                </a:ext>
              </a:extLst>
            </p:cNvPr>
            <p:cNvSpPr/>
            <p:nvPr/>
          </p:nvSpPr>
          <p:spPr>
            <a:xfrm>
              <a:off x="442913" y="1097782"/>
              <a:ext cx="213286" cy="266466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6" name="Полилиния 253">
              <a:extLst>
                <a:ext uri="{FF2B5EF4-FFF2-40B4-BE49-F238E27FC236}">
                  <a16:creationId xmlns:a16="http://schemas.microsoft.com/office/drawing/2014/main" id="{E58832CE-D9DF-0086-B04E-2F1B996DB8DF}"/>
                </a:ext>
              </a:extLst>
            </p:cNvPr>
            <p:cNvSpPr/>
            <p:nvPr/>
          </p:nvSpPr>
          <p:spPr>
            <a:xfrm>
              <a:off x="694597" y="1143769"/>
              <a:ext cx="92646" cy="215334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7" name="Полилиния 254">
              <a:extLst>
                <a:ext uri="{FF2B5EF4-FFF2-40B4-BE49-F238E27FC236}">
                  <a16:creationId xmlns:a16="http://schemas.microsoft.com/office/drawing/2014/main" id="{277B549F-1D7A-31F1-B0F0-6BE8DEA2377D}"/>
                </a:ext>
              </a:extLst>
            </p:cNvPr>
            <p:cNvSpPr/>
            <p:nvPr/>
          </p:nvSpPr>
          <p:spPr>
            <a:xfrm>
              <a:off x="1247816" y="1188859"/>
              <a:ext cx="160901" cy="174813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8" name="Полилиния 255">
              <a:extLst>
                <a:ext uri="{FF2B5EF4-FFF2-40B4-BE49-F238E27FC236}">
                  <a16:creationId xmlns:a16="http://schemas.microsoft.com/office/drawing/2014/main" id="{7CF25F4F-D406-1894-9352-201418F2A1F1}"/>
                </a:ext>
              </a:extLst>
            </p:cNvPr>
            <p:cNvSpPr/>
            <p:nvPr/>
          </p:nvSpPr>
          <p:spPr>
            <a:xfrm>
              <a:off x="932474" y="1188859"/>
              <a:ext cx="160324" cy="174813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9" name="Полилиния 256">
              <a:extLst>
                <a:ext uri="{FF2B5EF4-FFF2-40B4-BE49-F238E27FC236}">
                  <a16:creationId xmlns:a16="http://schemas.microsoft.com/office/drawing/2014/main" id="{BCDAD837-509E-1A27-0A1C-FE45EA9AE432}"/>
                </a:ext>
              </a:extLst>
            </p:cNvPr>
            <p:cNvSpPr/>
            <p:nvPr/>
          </p:nvSpPr>
          <p:spPr>
            <a:xfrm>
              <a:off x="820477" y="1193389"/>
              <a:ext cx="104856" cy="165742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0" name="Полилиния 257">
              <a:extLst>
                <a:ext uri="{FF2B5EF4-FFF2-40B4-BE49-F238E27FC236}">
                  <a16:creationId xmlns:a16="http://schemas.microsoft.com/office/drawing/2014/main" id="{6581F97E-7D1C-447F-6682-ED0BB8DFD0EB}"/>
                </a:ext>
              </a:extLst>
            </p:cNvPr>
            <p:cNvSpPr/>
            <p:nvPr/>
          </p:nvSpPr>
          <p:spPr>
            <a:xfrm>
              <a:off x="1439777" y="1188859"/>
              <a:ext cx="160419" cy="260385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1" name="Полилиния 258">
              <a:extLst>
                <a:ext uri="{FF2B5EF4-FFF2-40B4-BE49-F238E27FC236}">
                  <a16:creationId xmlns:a16="http://schemas.microsoft.com/office/drawing/2014/main" id="{257A3FD3-9E35-B53A-B66E-1B631F3D4794}"/>
                </a:ext>
              </a:extLst>
            </p:cNvPr>
            <p:cNvSpPr/>
            <p:nvPr/>
          </p:nvSpPr>
          <p:spPr>
            <a:xfrm>
              <a:off x="1643426" y="1193389"/>
              <a:ext cx="151207" cy="255949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2" name="Полилиния 259">
              <a:extLst>
                <a:ext uri="{FF2B5EF4-FFF2-40B4-BE49-F238E27FC236}">
                  <a16:creationId xmlns:a16="http://schemas.microsoft.com/office/drawing/2014/main" id="{5A5E1E6A-BC26-A1B9-C205-1D6D39888354}"/>
                </a:ext>
              </a:extLst>
            </p:cNvPr>
            <p:cNvSpPr/>
            <p:nvPr/>
          </p:nvSpPr>
          <p:spPr>
            <a:xfrm>
              <a:off x="1615829" y="1193389"/>
              <a:ext cx="75026" cy="126773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67010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BB328C4-25E8-AF17-F4E9-80B1A9762E0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90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B328C4-25E8-AF17-F4E9-80B1A9762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2AF68C86-ACEB-B3D4-237F-F91C2889F57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3000" r="61891"/>
          <a:stretch/>
        </p:blipFill>
        <p:spPr>
          <a:xfrm flipH="1" flipV="1">
            <a:off x="8055205" y="0"/>
            <a:ext cx="4136795" cy="6858000"/>
          </a:xfrm>
          <a:custGeom>
            <a:avLst/>
            <a:gdLst>
              <a:gd name="connsiteX0" fmla="*/ 4136795 w 4136795"/>
              <a:gd name="connsiteY0" fmla="*/ 6858000 h 6858000"/>
              <a:gd name="connsiteX1" fmla="*/ 0 w 4136795"/>
              <a:gd name="connsiteY1" fmla="*/ 6858000 h 6858000"/>
              <a:gd name="connsiteX2" fmla="*/ 0 w 4136795"/>
              <a:gd name="connsiteY2" fmla="*/ 0 h 6858000"/>
              <a:gd name="connsiteX3" fmla="*/ 4136795 w 413679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36795" h="6858000">
                <a:moveTo>
                  <a:pt x="4136795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4136795" y="0"/>
                </a:lnTo>
                <a:close/>
              </a:path>
            </a:pathLst>
          </a:custGeom>
        </p:spPr>
      </p:pic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AEA7712E-AFC9-7753-3A69-520E25B10E9D}"/>
              </a:ext>
            </a:extLst>
          </p:cNvPr>
          <p:cNvSpPr/>
          <p:nvPr/>
        </p:nvSpPr>
        <p:spPr>
          <a:xfrm>
            <a:off x="8055204" y="0"/>
            <a:ext cx="4136795" cy="6858000"/>
          </a:xfrm>
          <a:prstGeom prst="rect">
            <a:avLst/>
          </a:prstGeom>
          <a:gradFill flip="none" rotWithShape="1">
            <a:gsLst>
              <a:gs pos="0">
                <a:srgbClr val="0B1823">
                  <a:alpha val="35000"/>
                </a:srgbClr>
              </a:gs>
              <a:gs pos="52000">
                <a:srgbClr val="0B1823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CE13540-99FC-C34A-293F-34822B8C2989}"/>
              </a:ext>
            </a:extLst>
          </p:cNvPr>
          <p:cNvSpPr/>
          <p:nvPr/>
        </p:nvSpPr>
        <p:spPr>
          <a:xfrm>
            <a:off x="-1" y="2865531"/>
            <a:ext cx="5206181" cy="2928279"/>
          </a:xfrm>
          <a:prstGeom prst="rect">
            <a:avLst/>
          </a:prstGeom>
          <a:solidFill>
            <a:srgbClr val="F1F2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" name="Полилиния: фигура 31">
            <a:extLst>
              <a:ext uri="{FF2B5EF4-FFF2-40B4-BE49-F238E27FC236}">
                <a16:creationId xmlns:a16="http://schemas.microsoft.com/office/drawing/2014/main" id="{73535D0C-9294-48D9-BF30-17884A71CB0D}"/>
              </a:ext>
            </a:extLst>
          </p:cNvPr>
          <p:cNvSpPr/>
          <p:nvPr/>
        </p:nvSpPr>
        <p:spPr>
          <a:xfrm>
            <a:off x="1" y="5889172"/>
            <a:ext cx="5206179" cy="360000"/>
          </a:xfrm>
          <a:custGeom>
            <a:avLst/>
            <a:gdLst>
              <a:gd name="connsiteX0" fmla="*/ 0 w 5095647"/>
              <a:gd name="connsiteY0" fmla="*/ 0 h 360000"/>
              <a:gd name="connsiteX1" fmla="*/ 5095647 w 5095647"/>
              <a:gd name="connsiteY1" fmla="*/ 0 h 360000"/>
              <a:gd name="connsiteX2" fmla="*/ 5095647 w 5095647"/>
              <a:gd name="connsiteY2" fmla="*/ 360000 h 360000"/>
              <a:gd name="connsiteX3" fmla="*/ 0 w 5095647"/>
              <a:gd name="connsiteY3" fmla="*/ 360000 h 360000"/>
              <a:gd name="connsiteX4" fmla="*/ 0 w 5095647"/>
              <a:gd name="connsiteY4" fmla="*/ 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5647" h="360000">
                <a:moveTo>
                  <a:pt x="0" y="0"/>
                </a:moveTo>
                <a:lnTo>
                  <a:pt x="5095647" y="0"/>
                </a:lnTo>
                <a:lnTo>
                  <a:pt x="5095647" y="360000"/>
                </a:lnTo>
                <a:lnTo>
                  <a:pt x="0" y="360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D7DAE9"/>
              </a:gs>
              <a:gs pos="0">
                <a:srgbClr val="F1F2F7">
                  <a:alpha val="4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045BC1E-E1CB-54D6-E087-367EEB290A5D}"/>
              </a:ext>
            </a:extLst>
          </p:cNvPr>
          <p:cNvSpPr/>
          <p:nvPr/>
        </p:nvSpPr>
        <p:spPr>
          <a:xfrm>
            <a:off x="5290780" y="2865530"/>
            <a:ext cx="2546707" cy="2928279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id="{2ACE50BD-3B3A-7766-0D6B-821BDF3C492F}"/>
              </a:ext>
            </a:extLst>
          </p:cNvPr>
          <p:cNvSpPr/>
          <p:nvPr/>
        </p:nvSpPr>
        <p:spPr>
          <a:xfrm>
            <a:off x="5290781" y="5889172"/>
            <a:ext cx="2557820" cy="360000"/>
          </a:xfrm>
          <a:custGeom>
            <a:avLst/>
            <a:gdLst>
              <a:gd name="connsiteX0" fmla="*/ 0 w 2856171"/>
              <a:gd name="connsiteY0" fmla="*/ 0 h 360000"/>
              <a:gd name="connsiteX1" fmla="*/ 2652922 w 2856171"/>
              <a:gd name="connsiteY1" fmla="*/ 0 h 360000"/>
              <a:gd name="connsiteX2" fmla="*/ 2856171 w 2856171"/>
              <a:gd name="connsiteY2" fmla="*/ 180000 h 360000"/>
              <a:gd name="connsiteX3" fmla="*/ 2652922 w 2856171"/>
              <a:gd name="connsiteY3" fmla="*/ 360000 h 360000"/>
              <a:gd name="connsiteX4" fmla="*/ 0 w 2856171"/>
              <a:gd name="connsiteY4" fmla="*/ 360000 h 360000"/>
              <a:gd name="connsiteX5" fmla="*/ 0 w 2856171"/>
              <a:gd name="connsiteY5" fmla="*/ 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56171" h="360000">
                <a:moveTo>
                  <a:pt x="0" y="0"/>
                </a:moveTo>
                <a:lnTo>
                  <a:pt x="2652922" y="0"/>
                </a:lnTo>
                <a:lnTo>
                  <a:pt x="2856171" y="180000"/>
                </a:lnTo>
                <a:lnTo>
                  <a:pt x="2652922" y="360000"/>
                </a:lnTo>
                <a:lnTo>
                  <a:pt x="0" y="360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1">
                  <a:alpha val="1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44DC10CA-8CAC-97C4-D765-8A6F8917A9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295" y="6522684"/>
            <a:ext cx="10739325" cy="195814"/>
          </a:xfrm>
        </p:spPr>
        <p:txBody>
          <a:bodyPr/>
          <a:lstStyle/>
          <a:p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A9FD3B0-B22F-364F-0A52-0A41D5D343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Основные выводы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91B531-08CB-D9CF-470F-8096FAF0D2DE}"/>
              </a:ext>
            </a:extLst>
          </p:cNvPr>
          <p:cNvSpPr txBox="1">
            <a:spLocks/>
          </p:cNvSpPr>
          <p:nvPr/>
        </p:nvSpPr>
        <p:spPr>
          <a:xfrm>
            <a:off x="441326" y="473436"/>
            <a:ext cx="7396162" cy="1231106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Российский ИТ-рынок</a:t>
            </a:r>
            <a:b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</a:b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растет быстрее мирового</a:t>
            </a: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B Sans Text Semibold" panose="020B0703040504020204" pitchFamily="34" charset="-52"/>
              <a:sym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BFC3D8F-C5FE-A429-668C-CFF4828F6FB7}"/>
              </a:ext>
            </a:extLst>
          </p:cNvPr>
          <p:cNvSpPr txBox="1"/>
          <p:nvPr/>
        </p:nvSpPr>
        <p:spPr>
          <a:xfrm>
            <a:off x="1360714" y="2329016"/>
            <a:ext cx="1001077" cy="48474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Объем,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млрд долл. США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       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BBF94BE-4C5D-E06D-2D68-A34896A3EB6B}"/>
              </a:ext>
            </a:extLst>
          </p:cNvPr>
          <p:cNvSpPr txBox="1"/>
          <p:nvPr/>
        </p:nvSpPr>
        <p:spPr>
          <a:xfrm>
            <a:off x="8425870" y="2865530"/>
            <a:ext cx="3276600" cy="261610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Ужесточение регулирования обеспечивает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ускоренное развитие российских решений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Внедрение ИИ 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и цифровизация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Увеличение расходов на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дата-центры и ПО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вследствие роста ИИ-технологий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0B92BA5-00CB-E663-5120-6F9A4EFC1DD4}"/>
              </a:ext>
            </a:extLst>
          </p:cNvPr>
          <p:cNvSpPr txBox="1"/>
          <p:nvPr/>
        </p:nvSpPr>
        <p:spPr>
          <a:xfrm>
            <a:off x="3764433" y="2329016"/>
            <a:ext cx="1253075" cy="3462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AGR 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2022</a:t>
            </a:r>
            <a:r>
              <a:rPr kumimoji="0" lang="lv-LV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25 гг.), 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A309E55-0060-5571-A77E-C7EF7F5ADD2B}"/>
              </a:ext>
            </a:extLst>
          </p:cNvPr>
          <p:cNvSpPr txBox="1"/>
          <p:nvPr/>
        </p:nvSpPr>
        <p:spPr>
          <a:xfrm>
            <a:off x="441324" y="5077181"/>
            <a:ext cx="1611897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МИР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2B3025A-0F53-B618-6600-A9FA5725EFBE}"/>
              </a:ext>
            </a:extLst>
          </p:cNvPr>
          <p:cNvSpPr txBox="1"/>
          <p:nvPr/>
        </p:nvSpPr>
        <p:spPr>
          <a:xfrm>
            <a:off x="3350136" y="5984533"/>
            <a:ext cx="1611897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25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E5B1E4D-8D76-D0FA-63DC-C11139E74E4C}"/>
              </a:ext>
            </a:extLst>
          </p:cNvPr>
          <p:cNvSpPr txBox="1"/>
          <p:nvPr/>
        </p:nvSpPr>
        <p:spPr>
          <a:xfrm>
            <a:off x="5508498" y="5984532"/>
            <a:ext cx="1611897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Прогноз на 2030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D6D69B-4429-CE06-A049-6DD00074F722}"/>
              </a:ext>
            </a:extLst>
          </p:cNvPr>
          <p:cNvSpPr txBox="1"/>
          <p:nvPr/>
        </p:nvSpPr>
        <p:spPr>
          <a:xfrm>
            <a:off x="441324" y="3623995"/>
            <a:ext cx="1611897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РОССИЯ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0EB49ED-F613-BA60-2B6F-7B47B369FDB3}"/>
              </a:ext>
            </a:extLst>
          </p:cNvPr>
          <p:cNvSpPr txBox="1"/>
          <p:nvPr/>
        </p:nvSpPr>
        <p:spPr>
          <a:xfrm>
            <a:off x="749894" y="3485731"/>
            <a:ext cx="1611897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2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3DBE7FB-F4AA-4F83-E4F2-52F6313C1FA1}"/>
              </a:ext>
            </a:extLst>
          </p:cNvPr>
          <p:cNvSpPr txBox="1"/>
          <p:nvPr/>
        </p:nvSpPr>
        <p:spPr>
          <a:xfrm>
            <a:off x="1957806" y="3485731"/>
            <a:ext cx="1611897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,5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CEAB734-5398-51FC-3B98-C26F1954D6C5}"/>
              </a:ext>
            </a:extLst>
          </p:cNvPr>
          <p:cNvSpPr txBox="1"/>
          <p:nvPr/>
        </p:nvSpPr>
        <p:spPr>
          <a:xfrm>
            <a:off x="3764433" y="3485731"/>
            <a:ext cx="1253075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7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8CA1A28-AE23-332F-B9E4-1D15C93EB854}"/>
              </a:ext>
            </a:extLst>
          </p:cNvPr>
          <p:cNvSpPr txBox="1"/>
          <p:nvPr/>
        </p:nvSpPr>
        <p:spPr>
          <a:xfrm>
            <a:off x="5290781" y="3485731"/>
            <a:ext cx="1024066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97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56D9351-264F-D460-2E6F-8CA23A28226D}"/>
              </a:ext>
            </a:extLst>
          </p:cNvPr>
          <p:cNvSpPr txBox="1"/>
          <p:nvPr/>
        </p:nvSpPr>
        <p:spPr>
          <a:xfrm>
            <a:off x="6052377" y="3485731"/>
            <a:ext cx="1611897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3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307D3EE-22BB-4AD1-1B31-C6726989D957}"/>
              </a:ext>
            </a:extLst>
          </p:cNvPr>
          <p:cNvSpPr txBox="1"/>
          <p:nvPr/>
        </p:nvSpPr>
        <p:spPr>
          <a:xfrm>
            <a:off x="749894" y="4930971"/>
            <a:ext cx="1611897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 55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D5AE453-A18F-069D-34EC-B6658BE96E5D}"/>
              </a:ext>
            </a:extLst>
          </p:cNvPr>
          <p:cNvSpPr txBox="1"/>
          <p:nvPr/>
        </p:nvSpPr>
        <p:spPr>
          <a:xfrm>
            <a:off x="1957806" y="4930971"/>
            <a:ext cx="1611897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,7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E07B020-D5E3-EBB8-1FC6-5876F1EADC8A}"/>
              </a:ext>
            </a:extLst>
          </p:cNvPr>
          <p:cNvSpPr txBox="1"/>
          <p:nvPr/>
        </p:nvSpPr>
        <p:spPr>
          <a:xfrm>
            <a:off x="3764433" y="4930971"/>
            <a:ext cx="1253075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7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289A611-3967-04AF-E56A-FE6B039CBA66}"/>
              </a:ext>
            </a:extLst>
          </p:cNvPr>
          <p:cNvSpPr txBox="1"/>
          <p:nvPr/>
        </p:nvSpPr>
        <p:spPr>
          <a:xfrm>
            <a:off x="5290780" y="4930971"/>
            <a:ext cx="1024066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9 45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EC432AB-FF6A-CDFC-1412-90D7E9A8E053}"/>
              </a:ext>
            </a:extLst>
          </p:cNvPr>
          <p:cNvSpPr txBox="1"/>
          <p:nvPr/>
        </p:nvSpPr>
        <p:spPr>
          <a:xfrm>
            <a:off x="6052377" y="4930971"/>
            <a:ext cx="1611897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9F9926C-8517-3301-8E64-2104D59CC74A}"/>
              </a:ext>
            </a:extLst>
          </p:cNvPr>
          <p:cNvSpPr txBox="1"/>
          <p:nvPr/>
        </p:nvSpPr>
        <p:spPr>
          <a:xfrm>
            <a:off x="441324" y="2424073"/>
            <a:ext cx="1611897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РЫНОК ИТ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5456DB0-652B-6AB7-DCA8-477CACD5B4AD}"/>
              </a:ext>
            </a:extLst>
          </p:cNvPr>
          <p:cNvSpPr txBox="1"/>
          <p:nvPr/>
        </p:nvSpPr>
        <p:spPr>
          <a:xfrm>
            <a:off x="2678120" y="2329016"/>
            <a:ext cx="1001077" cy="48474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Доля в ВВП,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млрд долл. США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       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665525C-7C39-8551-E513-B2B24DDD4EC8}"/>
              </a:ext>
            </a:extLst>
          </p:cNvPr>
          <p:cNvSpPr txBox="1"/>
          <p:nvPr/>
        </p:nvSpPr>
        <p:spPr>
          <a:xfrm>
            <a:off x="5313770" y="2329016"/>
            <a:ext cx="1001077" cy="48474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Объем,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млрд долл. США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       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80933E0-CFCF-AA6E-D302-657762F627DD}"/>
              </a:ext>
            </a:extLst>
          </p:cNvPr>
          <p:cNvSpPr txBox="1"/>
          <p:nvPr/>
        </p:nvSpPr>
        <p:spPr>
          <a:xfrm>
            <a:off x="6411199" y="2329016"/>
            <a:ext cx="1253075" cy="3462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AGR 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2025</a:t>
            </a:r>
            <a:r>
              <a:rPr kumimoji="0" lang="lv-LV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30 гг.), %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456102DD-0FAD-45BC-65ED-F1E96A083B66}"/>
              </a:ext>
            </a:extLst>
          </p:cNvPr>
          <p:cNvCxnSpPr>
            <a:cxnSpLocks/>
          </p:cNvCxnSpPr>
          <p:nvPr/>
        </p:nvCxnSpPr>
        <p:spPr>
          <a:xfrm>
            <a:off x="-1" y="4329669"/>
            <a:ext cx="7837488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CF9A270C-665B-5C85-F316-BD84FE10BF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0324" y="4634469"/>
            <a:ext cx="360000" cy="360000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EF27BB98-3C8F-B58D-5C7F-56AAF55EEDA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30324" y="3170331"/>
            <a:ext cx="360000" cy="360000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D9E77AB6-2290-D27F-D0ED-BA9C26872C34}"/>
              </a:ext>
            </a:extLst>
          </p:cNvPr>
          <p:cNvSpPr txBox="1"/>
          <p:nvPr/>
        </p:nvSpPr>
        <p:spPr>
          <a:xfrm>
            <a:off x="8425870" y="2343912"/>
            <a:ext cx="2292166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9AF7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Драйверы роста: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9AF7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5581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7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2" imgW="425" imgH="426" progId="TCLayout.ActiveDocument.1">
                  <p:embed/>
                </p:oleObj>
              </mc:Choice>
              <mc:Fallback>
                <p:oleObj name="Слайд think-cell" r:id="rId22" imgW="425" imgH="42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1" name="Рисунок 290">
            <a:extLst>
              <a:ext uri="{FF2B5EF4-FFF2-40B4-BE49-F238E27FC236}">
                <a16:creationId xmlns:a16="http://schemas.microsoft.com/office/drawing/2014/main" id="{C247582A-C8A8-273E-346D-314D01A8FCFB}"/>
              </a:ext>
            </a:extLst>
          </p:cNvPr>
          <p:cNvPicPr>
            <a:picLocks noChangeAspect="1"/>
          </p:cNvPicPr>
          <p:nvPr/>
        </p:nvPicPr>
        <p:blipFill>
          <a:blip r:embed="rId24"/>
          <a:srcRect l="13000" r="13000"/>
          <a:stretch/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67AA910-2977-0B05-3813-5A314AC930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B1823">
                  <a:alpha val="35000"/>
                </a:srgbClr>
              </a:gs>
              <a:gs pos="96000">
                <a:srgbClr val="0B1823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" name="Прямоугольник: скругленные углы 7">
            <a:extLst>
              <a:ext uri="{FF2B5EF4-FFF2-40B4-BE49-F238E27FC236}">
                <a16:creationId xmlns:a16="http://schemas.microsoft.com/office/drawing/2014/main" id="{DAC18DC3-7B78-5B43-9070-DC82156F61FF}"/>
              </a:ext>
            </a:extLst>
          </p:cNvPr>
          <p:cNvSpPr>
            <a:spLocks/>
          </p:cNvSpPr>
          <p:nvPr/>
        </p:nvSpPr>
        <p:spPr>
          <a:xfrm>
            <a:off x="444501" y="1619250"/>
            <a:ext cx="6794500" cy="4522035"/>
          </a:xfrm>
          <a:prstGeom prst="roundRect">
            <a:avLst>
              <a:gd name="adj" fmla="val 1970"/>
            </a:avLst>
          </a:prstGeom>
          <a:solidFill>
            <a:schemeClr val="bg1"/>
          </a:solidFill>
          <a:ln>
            <a:solidFill>
              <a:schemeClr val="bg1">
                <a:lumMod val="95000"/>
                <a:alpha val="90000"/>
              </a:schemeClr>
            </a:solidFill>
          </a:ln>
          <a:effectLst>
            <a:outerShdw blurRad="254000" dist="127000" dir="2700000" algn="ctr" rotWithShape="0">
              <a:srgbClr val="C8CBDE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900C146D-8AE3-53A8-2753-EC3A43E192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295" y="6522684"/>
            <a:ext cx="10739325" cy="195814"/>
          </a:xfrm>
        </p:spPr>
        <p:txBody>
          <a:bodyPr/>
          <a:lstStyle/>
          <a:p>
            <a:r>
              <a:rPr lang="ru-RU" dirty="0">
                <a:solidFill>
                  <a:schemeClr val="bg1">
                    <a:lumMod val="75000"/>
                  </a:schemeClr>
                </a:solidFill>
              </a:rPr>
              <a:t>Источники: 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Gartner, </a:t>
            </a:r>
            <a:r>
              <a:rPr lang="ru-RU" dirty="0">
                <a:solidFill>
                  <a:schemeClr val="bg1">
                    <a:lumMod val="75000"/>
                  </a:schemeClr>
                </a:solidFill>
              </a:rPr>
              <a:t>анализ 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trategy Partners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3C2A8580-5F15-4ACD-94CD-6E24ADBFED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2913" y="161862"/>
            <a:ext cx="11302048" cy="257369"/>
          </a:xfrm>
        </p:spPr>
        <p:txBody>
          <a:bodyPr/>
          <a:lstStyle/>
          <a:p>
            <a:r>
              <a:rPr lang="ru-RU" dirty="0"/>
              <a:t>Мировой рынок ИТ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1664"/>
            <a:ext cx="11302048" cy="779243"/>
          </a:xfrm>
        </p:spPr>
        <p:txBody>
          <a:bodyPr vert="horz" wrap="square" rIns="0">
            <a:spAutoFit/>
          </a:bodyPr>
          <a:lstStyle/>
          <a:p>
            <a:pPr>
              <a:lnSpc>
                <a:spcPct val="130000"/>
              </a:lnSpc>
            </a:pPr>
            <a:r>
              <a:rPr lang="ru-RU" sz="4000" dirty="0">
                <a:solidFill>
                  <a:schemeClr val="bg1"/>
                </a:solidFill>
              </a:rPr>
              <a:t>Мировой ИТ-рынок ускорил рост в 2025 г.</a:t>
            </a:r>
            <a:endParaRPr lang="ru-RU" sz="4400" dirty="0">
              <a:solidFill>
                <a:schemeClr val="bg1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73FB4A3-E2FA-0037-776B-7445F09B4CAC}"/>
              </a:ext>
            </a:extLst>
          </p:cNvPr>
          <p:cNvSpPr txBox="1"/>
          <p:nvPr/>
        </p:nvSpPr>
        <p:spPr>
          <a:xfrm>
            <a:off x="630238" y="1830195"/>
            <a:ext cx="3100242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Динамика мирового ИТ-рынка,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млрд долл. США</a:t>
            </a: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89DE7175-421D-1B65-C714-1725CBD92B48}"/>
              </a:ext>
            </a:extLst>
          </p:cNvPr>
          <p:cNvSpPr txBox="1">
            <a:spLocks/>
          </p:cNvSpPr>
          <p:nvPr/>
        </p:nvSpPr>
        <p:spPr>
          <a:xfrm>
            <a:off x="7721411" y="1903184"/>
            <a:ext cx="4051414" cy="2826599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В 2025 г. темп роста мирового ИТ-рынка составил </a:t>
            </a:r>
            <a:r>
              <a: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8,6%</a:t>
            </a:r>
            <a:b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</a:b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к 2024 г., что превышает CAGR за 2020</a:t>
            </a:r>
            <a:r>
              <a:rPr kumimoji="0" lang="lv-LV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–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2024 гг. </a:t>
            </a: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8D60C6BA-616C-A1B1-D162-4344A8BA715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202978" y="2957284"/>
            <a:ext cx="573879" cy="57387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A1C234F-1E8B-8C2B-EEBB-5FF246F174EA}"/>
              </a:ext>
            </a:extLst>
          </p:cNvPr>
          <p:cNvSpPr txBox="1"/>
          <p:nvPr/>
        </p:nvSpPr>
        <p:spPr>
          <a:xfrm>
            <a:off x="7721411" y="5033324"/>
            <a:ext cx="3929251" cy="8156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Сегмент дата-центров сохраняет лидерство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по темпам роста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Структура мирового ИТ-рынка смещается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в сторону ПО и ИТ-услуг</a:t>
            </a:r>
          </a:p>
        </p:txBody>
      </p:sp>
      <p:graphicFrame>
        <p:nvGraphicFramePr>
          <p:cNvPr id="126" name="Chart 3">
            <a:extLst>
              <a:ext uri="{FF2B5EF4-FFF2-40B4-BE49-F238E27FC236}">
                <a16:creationId xmlns:a16="http://schemas.microsoft.com/office/drawing/2014/main" id="{7D3EBF9D-644F-975A-B92E-D20138CED86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0538539"/>
              </p:ext>
            </p:extLst>
          </p:nvPr>
        </p:nvGraphicFramePr>
        <p:xfrm>
          <a:off x="547688" y="2573338"/>
          <a:ext cx="5208587" cy="2635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01EB0977-224E-6D98-B904-7433EB00D14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04863" y="5105400"/>
            <a:ext cx="476250" cy="168275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2020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F2242CE-595C-D07D-8796-A60FFBFF298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46238" y="5105400"/>
            <a:ext cx="474663" cy="168275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2021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A2504F0-016E-0FF4-1965-B99284BD51C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486025" y="5105400"/>
            <a:ext cx="474663" cy="168275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2022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6A0D859-7A06-86DF-F89B-64AE82FBDA9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327400" y="5105400"/>
            <a:ext cx="474663" cy="168275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2023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23C8FA7-FB2E-226B-0BD3-B843B36198E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167188" y="5105400"/>
            <a:ext cx="474663" cy="168275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202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9CE48FB-F0D7-3651-CD67-6315FD2F627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06975" y="5105400"/>
            <a:ext cx="474663" cy="168275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2025</a:t>
            </a:r>
          </a:p>
        </p:txBody>
      </p: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4AC44510-7B77-38C1-380C-E84345191FB3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815975" y="2690813"/>
            <a:ext cx="4670425" cy="854075"/>
            <a:chOff x="705412" y="2501106"/>
            <a:chExt cx="6680708" cy="1081881"/>
          </a:xfrm>
        </p:grpSpPr>
        <p:sp>
          <p:nvSpPr>
            <p:cNvPr id="66" name="Прямоугольник: скругленные верхние углы 65">
              <a:extLst>
                <a:ext uri="{FF2B5EF4-FFF2-40B4-BE49-F238E27FC236}">
                  <a16:creationId xmlns:a16="http://schemas.microsoft.com/office/drawing/2014/main" id="{52CD9821-F999-45A5-15BF-11280634F987}"/>
                </a:ext>
              </a:extLst>
            </p:cNvPr>
            <p:cNvSpPr/>
            <p:nvPr/>
          </p:nvSpPr>
          <p:spPr>
            <a:xfrm>
              <a:off x="705412" y="3363913"/>
              <a:ext cx="666982" cy="219074"/>
            </a:xfrm>
            <a:prstGeom prst="round2SameRect">
              <a:avLst>
                <a:gd name="adj1" fmla="val 41025"/>
                <a:gd name="adj2" fmla="val 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200" dirty="0"/>
                <a:t>179</a:t>
              </a:r>
            </a:p>
          </p:txBody>
        </p:sp>
        <p:sp>
          <p:nvSpPr>
            <p:cNvPr id="71" name="Прямоугольник: скругленные верхние углы 70">
              <a:extLst>
                <a:ext uri="{FF2B5EF4-FFF2-40B4-BE49-F238E27FC236}">
                  <a16:creationId xmlns:a16="http://schemas.microsoft.com/office/drawing/2014/main" id="{90431059-AF65-C81E-82BE-0D8D682BEB1E}"/>
                </a:ext>
              </a:extLst>
            </p:cNvPr>
            <p:cNvSpPr/>
            <p:nvPr/>
          </p:nvSpPr>
          <p:spPr>
            <a:xfrm>
              <a:off x="1908130" y="3143176"/>
              <a:ext cx="666982" cy="210417"/>
            </a:xfrm>
            <a:prstGeom prst="round2SameRect">
              <a:avLst>
                <a:gd name="adj1" fmla="val 35792"/>
                <a:gd name="adj2" fmla="val 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1200" dirty="0"/>
                <a:t>190</a:t>
              </a:r>
            </a:p>
          </p:txBody>
        </p:sp>
        <p:sp>
          <p:nvSpPr>
            <p:cNvPr id="73" name="Прямоугольник: скругленные верхние углы 72">
              <a:extLst>
                <a:ext uri="{FF2B5EF4-FFF2-40B4-BE49-F238E27FC236}">
                  <a16:creationId xmlns:a16="http://schemas.microsoft.com/office/drawing/2014/main" id="{50B64D7F-3677-AA23-CF5E-C3EEFAC43808}"/>
                </a:ext>
              </a:extLst>
            </p:cNvPr>
            <p:cNvSpPr/>
            <p:nvPr/>
          </p:nvSpPr>
          <p:spPr>
            <a:xfrm>
              <a:off x="3110347" y="3019352"/>
              <a:ext cx="666982" cy="265979"/>
            </a:xfrm>
            <a:prstGeom prst="round2SameRect">
              <a:avLst>
                <a:gd name="adj1" fmla="val 32269"/>
                <a:gd name="adj2" fmla="val 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1200" dirty="0"/>
                <a:t>227</a:t>
              </a:r>
            </a:p>
          </p:txBody>
        </p:sp>
        <p:sp>
          <p:nvSpPr>
            <p:cNvPr id="74" name="Прямоугольник: скругленные верхние углы 73">
              <a:extLst>
                <a:ext uri="{FF2B5EF4-FFF2-40B4-BE49-F238E27FC236}">
                  <a16:creationId xmlns:a16="http://schemas.microsoft.com/office/drawing/2014/main" id="{FF3C09E3-AD37-2395-2F10-7F82612E33FB}"/>
                </a:ext>
              </a:extLst>
            </p:cNvPr>
            <p:cNvSpPr/>
            <p:nvPr/>
          </p:nvSpPr>
          <p:spPr>
            <a:xfrm>
              <a:off x="4312564" y="2895208"/>
              <a:ext cx="666982" cy="322653"/>
            </a:xfrm>
            <a:prstGeom prst="round2SameRect">
              <a:avLst>
                <a:gd name="adj1" fmla="val 27989"/>
                <a:gd name="adj2" fmla="val 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243</a:t>
              </a:r>
              <a:endParaRPr lang="ru-RU" sz="1200" dirty="0"/>
            </a:p>
          </p:txBody>
        </p:sp>
        <p:sp>
          <p:nvSpPr>
            <p:cNvPr id="75" name="Прямоугольник: скругленные верхние углы 74">
              <a:extLst>
                <a:ext uri="{FF2B5EF4-FFF2-40B4-BE49-F238E27FC236}">
                  <a16:creationId xmlns:a16="http://schemas.microsoft.com/office/drawing/2014/main" id="{8B5046FB-8165-51C6-B386-FFBC09F03DF8}"/>
                </a:ext>
              </a:extLst>
            </p:cNvPr>
            <p:cNvSpPr/>
            <p:nvPr/>
          </p:nvSpPr>
          <p:spPr>
            <a:xfrm>
              <a:off x="5521020" y="2658269"/>
              <a:ext cx="666982" cy="398462"/>
            </a:xfrm>
            <a:prstGeom prst="round2SameRect">
              <a:avLst>
                <a:gd name="adj1" fmla="val 25263"/>
                <a:gd name="adj2" fmla="val 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fld id="{EE5675DB-D1BD-4502-B6FA-CFFCA08DF237}" type="datetime'''''''''''''''''''''''''''3''2''''''9'''''''''''''''">
                <a:rPr lang="ru-RU" altLang="en-US" sz="1200" smtClean="0">
                  <a:solidFill>
                    <a:srgbClr val="FFFFFF"/>
                  </a:solidFill>
                  <a:effectLst/>
                  <a:latin typeface="+mn-lt"/>
                  <a:ea typeface="+mn-ea"/>
                </a:rPr>
                <a:pPr algn="ctr"/>
                <a:t>329</a:t>
              </a:fld>
              <a:endParaRPr lang="ru-RU" sz="1200" dirty="0">
                <a:solidFill>
                  <a:srgbClr val="FFFFFF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Прямоугольник: скругленные верхние углы 75">
              <a:extLst>
                <a:ext uri="{FF2B5EF4-FFF2-40B4-BE49-F238E27FC236}">
                  <a16:creationId xmlns:a16="http://schemas.microsoft.com/office/drawing/2014/main" id="{FAC6F5C9-8A09-F0E4-2AB0-5B405F88DB12}"/>
                </a:ext>
              </a:extLst>
            </p:cNvPr>
            <p:cNvSpPr/>
            <p:nvPr/>
          </p:nvSpPr>
          <p:spPr>
            <a:xfrm>
              <a:off x="6719138" y="2501106"/>
              <a:ext cx="666982" cy="418771"/>
            </a:xfrm>
            <a:prstGeom prst="round2SameRect">
              <a:avLst>
                <a:gd name="adj1" fmla="val 21720"/>
                <a:gd name="adj2" fmla="val 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fld id="{3EAA27B8-7772-436C-90E6-92DD1F80BBA2}" type="datetime'4''9''''6'''''''''''''''''''''''''''''''''''''">
                <a:rPr lang="ru-RU" altLang="en-US" sz="1200" smtClean="0">
                  <a:effectLst/>
                  <a:latin typeface="+mn-lt"/>
                  <a:ea typeface="+mn-ea"/>
                </a:rPr>
                <a:pPr/>
                <a:t>496</a:t>
              </a:fld>
              <a:endParaRPr lang="ru-RU" sz="1200" dirty="0">
                <a:solidFill>
                  <a:srgbClr val="FFFFFF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2F9695F5-4315-7E01-9ABA-0C8ACC3F256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03275" y="3068638"/>
            <a:ext cx="471488" cy="293688"/>
          </a:xfrm>
          <a:prstGeom prst="rect">
            <a:avLst/>
          </a:prstGeom>
          <a:noFill/>
        </p:spPr>
        <p:txBody>
          <a:bodyPr wrap="square" lIns="0" tIns="72000" rIns="0" bIns="10800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264A8B-2815-45BD-A595-64A8CEEBA236}" type="datetime'3'' ''''''''8''''7''''''''''''''''''''''2'''''''''''''''">
              <a:rPr kumimoji="0" lang="ru-RU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 872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7FA7E18-533E-F759-A644-AC7764B309F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644650" y="2897188"/>
            <a:ext cx="471488" cy="292100"/>
          </a:xfrm>
          <a:prstGeom prst="rect">
            <a:avLst/>
          </a:prstGeom>
          <a:noFill/>
        </p:spPr>
        <p:txBody>
          <a:bodyPr wrap="square" lIns="0" tIns="72000" rIns="0" bIns="10800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 397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4FC5BEF-1828-EBD4-06F9-10D5322B2CD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493963" y="2798763"/>
            <a:ext cx="471488" cy="293688"/>
          </a:xfrm>
          <a:prstGeom prst="rect">
            <a:avLst/>
          </a:prstGeom>
          <a:noFill/>
        </p:spPr>
        <p:txBody>
          <a:bodyPr wrap="square" lIns="0" tIns="72000" rIns="0" bIns="10800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 532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5EF3997-882D-CA76-0FA3-3A1EB22B7DC4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324225" y="2692400"/>
            <a:ext cx="471488" cy="293688"/>
          </a:xfrm>
          <a:prstGeom prst="rect">
            <a:avLst/>
          </a:prstGeom>
          <a:noFill/>
        </p:spPr>
        <p:txBody>
          <a:bodyPr wrap="square" lIns="0" tIns="72000" rIns="0" bIns="10800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 676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D28E8A68-3113-9110-0C65-147298412A25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167188" y="2516188"/>
            <a:ext cx="473075" cy="293688"/>
          </a:xfrm>
          <a:prstGeom prst="rect">
            <a:avLst/>
          </a:prstGeom>
          <a:noFill/>
        </p:spPr>
        <p:txBody>
          <a:bodyPr wrap="square" lIns="0" tIns="72000" rIns="0" bIns="10800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 115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B0BED10-0185-C268-935C-3871DBB18DE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5013325" y="2386013"/>
            <a:ext cx="471488" cy="293688"/>
          </a:xfrm>
          <a:prstGeom prst="rect">
            <a:avLst/>
          </a:prstGeom>
          <a:noFill/>
        </p:spPr>
        <p:txBody>
          <a:bodyPr wrap="square" lIns="0" tIns="72000" rIns="0" bIns="10800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 555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83" name="Соединитель: уступ 82">
            <a:extLst>
              <a:ext uri="{FF2B5EF4-FFF2-40B4-BE49-F238E27FC236}">
                <a16:creationId xmlns:a16="http://schemas.microsoft.com/office/drawing/2014/main" id="{0B042D95-CEF4-6343-4E23-3EC04B548F47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 rot="5400000" flipH="1" flipV="1">
            <a:off x="4784725" y="2247900"/>
            <a:ext cx="131763" cy="845344"/>
          </a:xfrm>
          <a:prstGeom prst="bentConnector3">
            <a:avLst>
              <a:gd name="adj1" fmla="val 251578"/>
            </a:avLst>
          </a:prstGeom>
          <a:ln w="1905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Соединитель: уступ 83">
            <a:extLst>
              <a:ext uri="{FF2B5EF4-FFF2-40B4-BE49-F238E27FC236}">
                <a16:creationId xmlns:a16="http://schemas.microsoft.com/office/drawing/2014/main" id="{9E8E4942-0262-77ED-6587-3C0D2858A846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 rot="5400000" flipH="1" flipV="1">
            <a:off x="2376488" y="1431925"/>
            <a:ext cx="569913" cy="3246438"/>
          </a:xfrm>
          <a:prstGeom prst="bentConnector3">
            <a:avLst>
              <a:gd name="adj1" fmla="val 132725"/>
            </a:avLst>
          </a:prstGeom>
          <a:ln w="1905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9137CDB7-FB91-F45F-0201-1C3C522F8CCC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4529138" y="2089150"/>
            <a:ext cx="644542" cy="319088"/>
          </a:xfrm>
          <a:prstGeom prst="rect">
            <a:avLst/>
          </a:prstGeom>
          <a:noFill/>
        </p:spPr>
        <p:txBody>
          <a:bodyPr wrap="square" lIns="0" tIns="72000" rIns="0" bIns="7200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8,6%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833A262-98D6-804D-87F4-D6C8FD03F9B6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911350" y="2352675"/>
            <a:ext cx="1166134" cy="290513"/>
          </a:xfrm>
          <a:prstGeom prst="rect">
            <a:avLst/>
          </a:prstGeom>
          <a:noFill/>
        </p:spPr>
        <p:txBody>
          <a:bodyPr wrap="square" lIns="0" tIns="72000" rIns="0" bIns="7200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7</a:t>
            </a:r>
            <a:r>
              <a:rPr kumimoji="0" lang="ru-RU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</a:t>
            </a: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  <a:r>
              <a:rPr kumimoji="0" lang="ru-RU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%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8" name="Скругленный прямоугольник 47">
            <a:extLst>
              <a:ext uri="{FF2B5EF4-FFF2-40B4-BE49-F238E27FC236}">
                <a16:creationId xmlns:a16="http://schemas.microsoft.com/office/drawing/2014/main" id="{67F24D5D-3C5E-D5F8-9CBA-B7108CC7545A}"/>
              </a:ext>
            </a:extLst>
          </p:cNvPr>
          <p:cNvSpPr>
            <a:spLocks/>
          </p:cNvSpPr>
          <p:nvPr/>
        </p:nvSpPr>
        <p:spPr>
          <a:xfrm>
            <a:off x="5931580" y="1952625"/>
            <a:ext cx="1028739" cy="3148943"/>
          </a:xfrm>
          <a:prstGeom prst="roundRect">
            <a:avLst>
              <a:gd name="adj" fmla="val 9196"/>
            </a:avLst>
          </a:prstGeom>
          <a:noFill/>
          <a:ln w="12700">
            <a:solidFill>
              <a:srgbClr val="DDDFEB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8400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9" name="Скругленный прямоугольник 70">
            <a:extLst>
              <a:ext uri="{FF2B5EF4-FFF2-40B4-BE49-F238E27FC236}">
                <a16:creationId xmlns:a16="http://schemas.microsoft.com/office/drawing/2014/main" id="{B59F4E74-5204-3D7A-29A5-4075F2938DBE}"/>
              </a:ext>
            </a:extLst>
          </p:cNvPr>
          <p:cNvSpPr/>
          <p:nvPr/>
        </p:nvSpPr>
        <p:spPr>
          <a:xfrm>
            <a:off x="6085567" y="4614863"/>
            <a:ext cx="720000" cy="266423"/>
          </a:xfrm>
          <a:prstGeom prst="roundRect">
            <a:avLst>
              <a:gd name="adj" fmla="val 50000"/>
            </a:avLst>
          </a:prstGeom>
          <a:solidFill>
            <a:srgbClr val="D2EBFD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-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%</a:t>
            </a:r>
          </a:p>
        </p:txBody>
      </p:sp>
      <p:sp>
        <p:nvSpPr>
          <p:cNvPr id="121" name="Скругленный прямоугольник 66">
            <a:extLst>
              <a:ext uri="{FF2B5EF4-FFF2-40B4-BE49-F238E27FC236}">
                <a16:creationId xmlns:a16="http://schemas.microsoft.com/office/drawing/2014/main" id="{D7923F64-E323-F828-C4D2-B76420B0A835}"/>
              </a:ext>
            </a:extLst>
          </p:cNvPr>
          <p:cNvSpPr/>
          <p:nvPr/>
        </p:nvSpPr>
        <p:spPr>
          <a:xfrm>
            <a:off x="6085567" y="3060700"/>
            <a:ext cx="720000" cy="26642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8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%</a:t>
            </a:r>
          </a:p>
        </p:txBody>
      </p:sp>
      <p:sp>
        <p:nvSpPr>
          <p:cNvPr id="122" name="Скругленный прямоугольник 67">
            <a:extLst>
              <a:ext uri="{FF2B5EF4-FFF2-40B4-BE49-F238E27FC236}">
                <a16:creationId xmlns:a16="http://schemas.microsoft.com/office/drawing/2014/main" id="{07E34546-2D84-2767-A08C-27D3EBB9E628}"/>
              </a:ext>
            </a:extLst>
          </p:cNvPr>
          <p:cNvSpPr/>
          <p:nvPr/>
        </p:nvSpPr>
        <p:spPr>
          <a:xfrm>
            <a:off x="6085567" y="2543175"/>
            <a:ext cx="720000" cy="26642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3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%</a:t>
            </a:r>
          </a:p>
        </p:txBody>
      </p:sp>
      <p:sp>
        <p:nvSpPr>
          <p:cNvPr id="123" name="Скругленный прямоугольник 68">
            <a:extLst>
              <a:ext uri="{FF2B5EF4-FFF2-40B4-BE49-F238E27FC236}">
                <a16:creationId xmlns:a16="http://schemas.microsoft.com/office/drawing/2014/main" id="{81916907-B27A-9C95-065C-85908563B880}"/>
              </a:ext>
            </a:extLst>
          </p:cNvPr>
          <p:cNvSpPr/>
          <p:nvPr/>
        </p:nvSpPr>
        <p:spPr>
          <a:xfrm>
            <a:off x="6085567" y="3578225"/>
            <a:ext cx="720000" cy="266423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%</a:t>
            </a:r>
          </a:p>
        </p:txBody>
      </p:sp>
      <p:sp>
        <p:nvSpPr>
          <p:cNvPr id="124" name="Скругленный прямоугольник 69">
            <a:extLst>
              <a:ext uri="{FF2B5EF4-FFF2-40B4-BE49-F238E27FC236}">
                <a16:creationId xmlns:a16="http://schemas.microsoft.com/office/drawing/2014/main" id="{CC1BCE71-3A95-2E9F-08B3-845193A0AD55}"/>
              </a:ext>
            </a:extLst>
          </p:cNvPr>
          <p:cNvSpPr/>
          <p:nvPr/>
        </p:nvSpPr>
        <p:spPr>
          <a:xfrm>
            <a:off x="6085567" y="4095750"/>
            <a:ext cx="720000" cy="266614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%</a:t>
            </a:r>
          </a:p>
        </p:txBody>
      </p:sp>
      <p:sp>
        <p:nvSpPr>
          <p:cNvPr id="125" name="Прямоугольник 19">
            <a:extLst>
              <a:ext uri="{FF2B5EF4-FFF2-40B4-BE49-F238E27FC236}">
                <a16:creationId xmlns:a16="http://schemas.microsoft.com/office/drawing/2014/main" id="{E6C478E4-420A-AC94-6B87-82E2592BC83E}"/>
              </a:ext>
            </a:extLst>
          </p:cNvPr>
          <p:cNvSpPr/>
          <p:nvPr/>
        </p:nvSpPr>
        <p:spPr>
          <a:xfrm>
            <a:off x="6125255" y="2033588"/>
            <a:ext cx="641605" cy="369332"/>
          </a:xfrm>
          <a:prstGeom prst="rect">
            <a:avLst/>
          </a:prstGeom>
          <a:noFill/>
          <a:ln w="127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CAG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0</a:t>
            </a:r>
            <a:r>
              <a:rPr kumimoji="0" lang="lv-LV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–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5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D0BDE5AE-4C2C-A79E-1933-43A8BD44135D}"/>
              </a:ext>
            </a:extLst>
          </p:cNvPr>
          <p:cNvGrpSpPr/>
          <p:nvPr/>
        </p:nvGrpSpPr>
        <p:grpSpPr>
          <a:xfrm>
            <a:off x="823697" y="5636087"/>
            <a:ext cx="5780938" cy="246221"/>
            <a:chOff x="823697" y="5636087"/>
            <a:chExt cx="5780938" cy="246221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9B148D1D-C385-6442-21F8-AB4728B4EB87}"/>
                </a:ext>
              </a:extLst>
            </p:cNvPr>
            <p:cNvGrpSpPr/>
            <p:nvPr/>
          </p:nvGrpSpPr>
          <p:grpSpPr>
            <a:xfrm>
              <a:off x="823697" y="5636087"/>
              <a:ext cx="914616" cy="246221"/>
              <a:chOff x="823697" y="5636087"/>
              <a:chExt cx="914616" cy="246221"/>
            </a:xfrm>
          </p:grpSpPr>
          <p:sp>
            <p:nvSpPr>
              <p:cNvPr id="24" name="Прямоугольник: скругленные углы 23">
                <a:extLst>
                  <a:ext uri="{FF2B5EF4-FFF2-40B4-BE49-F238E27FC236}">
                    <a16:creationId xmlns:a16="http://schemas.microsoft.com/office/drawing/2014/main" id="{B9F9A1D0-BC41-EF7B-ABC1-33687D054595}"/>
                  </a:ext>
                </a:extLst>
              </p:cNvPr>
              <p:cNvSpPr/>
              <p:nvPr/>
            </p:nvSpPr>
            <p:spPr>
              <a:xfrm>
                <a:off x="823697" y="5636087"/>
                <a:ext cx="144000" cy="144000"/>
              </a:xfrm>
              <a:prstGeom prst="roundRect">
                <a:avLst>
                  <a:gd name="adj" fmla="val 24619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ECAED8A7-37F9-C948-1C00-CC461A4A3F7C}"/>
                  </a:ext>
                </a:extLst>
              </p:cNvPr>
              <p:cNvSpPr txBox="1"/>
              <p:nvPr/>
            </p:nvSpPr>
            <p:spPr>
              <a:xfrm>
                <a:off x="1024263" y="5636087"/>
                <a:ext cx="714050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Дата-центры (системы)</a:t>
                </a:r>
              </a:p>
            </p:txBody>
          </p:sp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F14E58D6-9F2C-FA97-7E35-B4FDDDBF9100}"/>
                </a:ext>
              </a:extLst>
            </p:cNvPr>
            <p:cNvGrpSpPr/>
            <p:nvPr/>
          </p:nvGrpSpPr>
          <p:grpSpPr>
            <a:xfrm>
              <a:off x="1894614" y="5636087"/>
              <a:ext cx="1095258" cy="246221"/>
              <a:chOff x="1874538" y="5636087"/>
              <a:chExt cx="1095258" cy="246221"/>
            </a:xfrm>
          </p:grpSpPr>
          <p:sp>
            <p:nvSpPr>
              <p:cNvPr id="22" name="Прямоугольник: скругленные углы 21">
                <a:extLst>
                  <a:ext uri="{FF2B5EF4-FFF2-40B4-BE49-F238E27FC236}">
                    <a16:creationId xmlns:a16="http://schemas.microsoft.com/office/drawing/2014/main" id="{30B5CF23-12A8-4D20-EAAE-91523B170ED9}"/>
                  </a:ext>
                </a:extLst>
              </p:cNvPr>
              <p:cNvSpPr/>
              <p:nvPr/>
            </p:nvSpPr>
            <p:spPr>
              <a:xfrm>
                <a:off x="1874538" y="5636087"/>
                <a:ext cx="144000" cy="144000"/>
              </a:xfrm>
              <a:prstGeom prst="roundRect">
                <a:avLst>
                  <a:gd name="adj" fmla="val 24619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5E346827-2423-958B-5CF8-3E67E88664B5}"/>
                  </a:ext>
                </a:extLst>
              </p:cNvPr>
              <p:cNvSpPr txBox="1"/>
              <p:nvPr/>
            </p:nvSpPr>
            <p:spPr>
              <a:xfrm>
                <a:off x="2075103" y="5636087"/>
                <a:ext cx="894693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Вычислительная техника</a:t>
                </a:r>
              </a:p>
            </p:txBody>
          </p:sp>
        </p:grpSp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B4F1776B-7155-B150-3783-B1CFDAEFDFA1}"/>
                </a:ext>
              </a:extLst>
            </p:cNvPr>
            <p:cNvGrpSpPr/>
            <p:nvPr/>
          </p:nvGrpSpPr>
          <p:grpSpPr>
            <a:xfrm>
              <a:off x="4208827" y="5636087"/>
              <a:ext cx="759354" cy="144000"/>
              <a:chOff x="4153165" y="5636087"/>
              <a:chExt cx="759354" cy="144000"/>
            </a:xfrm>
          </p:grpSpPr>
          <p:sp>
            <p:nvSpPr>
              <p:cNvPr id="20" name="Прямоугольник: скругленные углы 19">
                <a:extLst>
                  <a:ext uri="{FF2B5EF4-FFF2-40B4-BE49-F238E27FC236}">
                    <a16:creationId xmlns:a16="http://schemas.microsoft.com/office/drawing/2014/main" id="{1292E1AD-18FD-8C5F-02F6-7896C030C038}"/>
                  </a:ext>
                </a:extLst>
              </p:cNvPr>
              <p:cNvSpPr/>
              <p:nvPr/>
            </p:nvSpPr>
            <p:spPr>
              <a:xfrm>
                <a:off x="4153165" y="5636087"/>
                <a:ext cx="144000" cy="144000"/>
              </a:xfrm>
              <a:prstGeom prst="roundRect">
                <a:avLst>
                  <a:gd name="adj" fmla="val 23293"/>
                </a:avLst>
              </a:prstGeom>
              <a:solidFill>
                <a:srgbClr val="02406A"/>
              </a:solidFill>
              <a:ln w="6350">
                <a:solidFill>
                  <a:schemeClr val="tx2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0F471E2B-B2D6-F146-FCCA-0B729817380E}"/>
                  </a:ext>
                </a:extLst>
              </p:cNvPr>
              <p:cNvSpPr txBox="1"/>
              <p:nvPr/>
            </p:nvSpPr>
            <p:spPr>
              <a:xfrm>
                <a:off x="4353730" y="5636087"/>
                <a:ext cx="558789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ИТ-услуги</a:t>
                </a:r>
              </a:p>
            </p:txBody>
          </p:sp>
        </p:grpSp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19BE235E-4821-F88D-3595-D95750C9EF53}"/>
                </a:ext>
              </a:extLst>
            </p:cNvPr>
            <p:cNvGrpSpPr/>
            <p:nvPr/>
          </p:nvGrpSpPr>
          <p:grpSpPr>
            <a:xfrm>
              <a:off x="3146173" y="5636087"/>
              <a:ext cx="906353" cy="246221"/>
              <a:chOff x="3120341" y="5636087"/>
              <a:chExt cx="906353" cy="246221"/>
            </a:xfrm>
          </p:grpSpPr>
          <p:sp>
            <p:nvSpPr>
              <p:cNvPr id="18" name="Прямоугольник: скругленные углы 17">
                <a:extLst>
                  <a:ext uri="{FF2B5EF4-FFF2-40B4-BE49-F238E27FC236}">
                    <a16:creationId xmlns:a16="http://schemas.microsoft.com/office/drawing/2014/main" id="{D0BC75FF-C9C3-8A91-FD4B-A1F5B66E15F6}"/>
                  </a:ext>
                </a:extLst>
              </p:cNvPr>
              <p:cNvSpPr/>
              <p:nvPr/>
            </p:nvSpPr>
            <p:spPr>
              <a:xfrm>
                <a:off x="3120341" y="5636087"/>
                <a:ext cx="144000" cy="144000"/>
              </a:xfrm>
              <a:prstGeom prst="roundRect">
                <a:avLst>
                  <a:gd name="adj" fmla="val 25944"/>
                </a:avLst>
              </a:prstGeom>
              <a:solidFill>
                <a:srgbClr val="1084A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6D9EF72-A9D6-F5F1-90DD-BA9209EA23FC}"/>
                  </a:ext>
                </a:extLst>
              </p:cNvPr>
              <p:cNvSpPr txBox="1"/>
              <p:nvPr/>
            </p:nvSpPr>
            <p:spPr>
              <a:xfrm>
                <a:off x="3320906" y="5636087"/>
                <a:ext cx="705788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Программное обеспечение</a:t>
                </a:r>
              </a:p>
            </p:txBody>
          </p:sp>
        </p:grpSp>
        <p:grpSp>
          <p:nvGrpSpPr>
            <p:cNvPr id="14" name="Группа 13">
              <a:extLst>
                <a:ext uri="{FF2B5EF4-FFF2-40B4-BE49-F238E27FC236}">
                  <a16:creationId xmlns:a16="http://schemas.microsoft.com/office/drawing/2014/main" id="{2160A9C2-4D48-C299-BDDE-31D8C55C1A74}"/>
                </a:ext>
              </a:extLst>
            </p:cNvPr>
            <p:cNvGrpSpPr/>
            <p:nvPr/>
          </p:nvGrpSpPr>
          <p:grpSpPr>
            <a:xfrm>
              <a:off x="5124482" y="5636087"/>
              <a:ext cx="1480153" cy="246221"/>
              <a:chOff x="5019707" y="5636087"/>
              <a:chExt cx="1480153" cy="246221"/>
            </a:xfrm>
          </p:grpSpPr>
          <p:sp>
            <p:nvSpPr>
              <p:cNvPr id="15" name="Прямоугольник: скругленные углы 14">
                <a:extLst>
                  <a:ext uri="{FF2B5EF4-FFF2-40B4-BE49-F238E27FC236}">
                    <a16:creationId xmlns:a16="http://schemas.microsoft.com/office/drawing/2014/main" id="{5D456AF9-A224-481A-8971-FA55E1238430}"/>
                  </a:ext>
                </a:extLst>
              </p:cNvPr>
              <p:cNvSpPr/>
              <p:nvPr/>
            </p:nvSpPr>
            <p:spPr>
              <a:xfrm>
                <a:off x="5019707" y="5636087"/>
                <a:ext cx="144000" cy="144000"/>
              </a:xfrm>
              <a:prstGeom prst="roundRect">
                <a:avLst>
                  <a:gd name="adj" fmla="val 23293"/>
                </a:avLst>
              </a:prstGeom>
              <a:solidFill>
                <a:srgbClr val="D2EBF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21DD5D2-718D-89C1-8AC1-2DA004A9E467}"/>
                  </a:ext>
                </a:extLst>
              </p:cNvPr>
              <p:cNvSpPr txBox="1"/>
              <p:nvPr/>
            </p:nvSpPr>
            <p:spPr>
              <a:xfrm>
                <a:off x="5220273" y="5636087"/>
                <a:ext cx="1279587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Телекоммуникационное оборудование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606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4187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6" name="Текст 415">
            <a:extLst>
              <a:ext uri="{FF2B5EF4-FFF2-40B4-BE49-F238E27FC236}">
                <a16:creationId xmlns:a16="http://schemas.microsoft.com/office/drawing/2014/main" id="{BF9C001D-7A17-0A44-01A9-C41F49DBE2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17" name="Текст 416">
            <a:extLst>
              <a:ext uri="{FF2B5EF4-FFF2-40B4-BE49-F238E27FC236}">
                <a16:creationId xmlns:a16="http://schemas.microsoft.com/office/drawing/2014/main" id="{B48CCECD-3787-9AAB-11C7-DDC485B225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15" name="Текст 414">
            <a:extLst>
              <a:ext uri="{FF2B5EF4-FFF2-40B4-BE49-F238E27FC236}">
                <a16:creationId xmlns:a16="http://schemas.microsoft.com/office/drawing/2014/main" id="{D28F8E47-0DAB-FECE-7215-4AA5315A10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14" name="Заголовок 413">
            <a:extLst>
              <a:ext uri="{FF2B5EF4-FFF2-40B4-BE49-F238E27FC236}">
                <a16:creationId xmlns:a16="http://schemas.microsoft.com/office/drawing/2014/main" id="{80518CEF-057E-1DA5-1730-F171BE3038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491D5A47-2EAC-0901-5509-A782607E706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3000" r="13000"/>
          <a:stretch/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7DC263D7-277D-63B8-EB9C-588AB813BC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B1823">
                  <a:alpha val="35000"/>
                </a:srgbClr>
              </a:gs>
              <a:gs pos="96000">
                <a:srgbClr val="0B1823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Прямоугольник: скругленные углы 7">
            <a:extLst>
              <a:ext uri="{FF2B5EF4-FFF2-40B4-BE49-F238E27FC236}">
                <a16:creationId xmlns:a16="http://schemas.microsoft.com/office/drawing/2014/main" id="{8A8EEFE9-547D-4D17-6DF7-3AF4418214C2}"/>
              </a:ext>
            </a:extLst>
          </p:cNvPr>
          <p:cNvSpPr>
            <a:spLocks/>
          </p:cNvSpPr>
          <p:nvPr/>
        </p:nvSpPr>
        <p:spPr>
          <a:xfrm>
            <a:off x="444501" y="1619250"/>
            <a:ext cx="6794500" cy="4522035"/>
          </a:xfrm>
          <a:prstGeom prst="roundRect">
            <a:avLst>
              <a:gd name="adj" fmla="val 1970"/>
            </a:avLst>
          </a:prstGeom>
          <a:solidFill>
            <a:schemeClr val="bg1"/>
          </a:solidFill>
          <a:ln>
            <a:solidFill>
              <a:schemeClr val="bg1">
                <a:lumMod val="95000"/>
                <a:alpha val="90000"/>
              </a:schemeClr>
            </a:solidFill>
          </a:ln>
          <a:effectLst>
            <a:outerShdw blurRad="254000" dist="127000" dir="2700000" algn="ctr" rotWithShape="0">
              <a:srgbClr val="C8CBDE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Текст 6">
            <a:extLst>
              <a:ext uri="{FF2B5EF4-FFF2-40B4-BE49-F238E27FC236}">
                <a16:creationId xmlns:a16="http://schemas.microsoft.com/office/drawing/2014/main" id="{AA9F375B-4C22-2C69-1706-DF628145FCE9}"/>
              </a:ext>
            </a:extLst>
          </p:cNvPr>
          <p:cNvSpPr txBox="1">
            <a:spLocks/>
          </p:cNvSpPr>
          <p:nvPr/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rIns="0" bIns="36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75000"/>
                  </a:schemeClr>
                </a:solidFill>
              </a:rPr>
              <a:t>Источники: 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Gartner, </a:t>
            </a:r>
            <a:r>
              <a:rPr lang="ru-RU" dirty="0">
                <a:solidFill>
                  <a:schemeClr val="bg1">
                    <a:lumMod val="75000"/>
                  </a:schemeClr>
                </a:solidFill>
              </a:rPr>
              <a:t>анализ 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trategy Partners</a:t>
            </a:r>
          </a:p>
        </p:txBody>
      </p:sp>
      <p:sp>
        <p:nvSpPr>
          <p:cNvPr id="21" name="Текст 4">
            <a:extLst>
              <a:ext uri="{FF2B5EF4-FFF2-40B4-BE49-F238E27FC236}">
                <a16:creationId xmlns:a16="http://schemas.microsoft.com/office/drawing/2014/main" id="{2DD6A686-DF0C-B9FB-BAE3-E25606C8D5DE}"/>
              </a:ext>
            </a:extLst>
          </p:cNvPr>
          <p:cNvSpPr txBox="1">
            <a:spLocks/>
          </p:cNvSpPr>
          <p:nvPr/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vert="horz" wrap="square" lIns="0" tIns="36000" rIns="0" bIns="3600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Мировой рынок ИТ</a:t>
            </a:r>
            <a:endParaRPr lang="ru-RU" dirty="0"/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DF692DA5-DFE4-0DC5-D5A4-4C654EB1DD37}"/>
              </a:ext>
            </a:extLst>
          </p:cNvPr>
          <p:cNvSpPr txBox="1">
            <a:spLocks/>
          </p:cNvSpPr>
          <p:nvPr/>
        </p:nvSpPr>
        <p:spPr>
          <a:xfrm>
            <a:off x="442913" y="451664"/>
            <a:ext cx="11302048" cy="779243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defRPr>
            </a:lvl1pPr>
          </a:lstStyle>
          <a:p>
            <a:pPr>
              <a:lnSpc>
                <a:spcPct val="130000"/>
              </a:lnSpc>
            </a:pPr>
            <a:r>
              <a:rPr lang="ru-RU" sz="4000" dirty="0">
                <a:solidFill>
                  <a:schemeClr val="bg1"/>
                </a:solidFill>
              </a:rPr>
              <a:t>Наращивание темпов роста продолжается</a:t>
            </a:r>
            <a:endParaRPr lang="ru-RU" sz="44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078C6AE-48B4-5E18-1BC1-B8E8FE4FE85F}"/>
              </a:ext>
            </a:extLst>
          </p:cNvPr>
          <p:cNvSpPr txBox="1"/>
          <p:nvPr/>
        </p:nvSpPr>
        <p:spPr>
          <a:xfrm>
            <a:off x="630237" y="1830195"/>
            <a:ext cx="5179823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/>
              <a:t>Объем и структура мирового ИТ-рынка до 2030 г., </a:t>
            </a:r>
            <a:br>
              <a:rPr lang="en-US" sz="1200" b="1" dirty="0"/>
            </a:br>
            <a:r>
              <a:rPr lang="ru-RU" sz="1200" dirty="0"/>
              <a:t>млрд долл. США</a:t>
            </a:r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31956073-D1E5-2153-1535-0D518138BA4E}"/>
              </a:ext>
            </a:extLst>
          </p:cNvPr>
          <p:cNvSpPr txBox="1">
            <a:spLocks/>
          </p:cNvSpPr>
          <p:nvPr/>
        </p:nvSpPr>
        <p:spPr>
          <a:xfrm>
            <a:off x="7721412" y="1398589"/>
            <a:ext cx="4051414" cy="1598612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С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 </a:t>
            </a:r>
            <a:r>
              <a: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$5,6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 трлн</a:t>
            </a:r>
            <a:b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</a:b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в 2025 г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4962F11-0645-E4BC-96F1-0B4480E368CF}"/>
              </a:ext>
            </a:extLst>
          </p:cNvPr>
          <p:cNvSpPr txBox="1"/>
          <p:nvPr/>
        </p:nvSpPr>
        <p:spPr>
          <a:xfrm>
            <a:off x="7721412" y="5033324"/>
            <a:ext cx="345856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200" dirty="0">
                <a:solidFill>
                  <a:schemeClr val="bg1"/>
                </a:solidFill>
                <a:latin typeface="Verdana"/>
              </a:rPr>
              <a:t>Г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лавный драйвер — развитие ИИ-инфраструктуры</a:t>
            </a:r>
          </a:p>
        </p:txBody>
      </p:sp>
      <p:sp>
        <p:nvSpPr>
          <p:cNvPr id="74" name="Скругленный прямоугольник 47">
            <a:extLst>
              <a:ext uri="{FF2B5EF4-FFF2-40B4-BE49-F238E27FC236}">
                <a16:creationId xmlns:a16="http://schemas.microsoft.com/office/drawing/2014/main" id="{FD8EA73F-AE06-EC80-3107-5DE425D3ECAD}"/>
              </a:ext>
            </a:extLst>
          </p:cNvPr>
          <p:cNvSpPr>
            <a:spLocks/>
          </p:cNvSpPr>
          <p:nvPr/>
        </p:nvSpPr>
        <p:spPr>
          <a:xfrm>
            <a:off x="5931580" y="1952625"/>
            <a:ext cx="1028739" cy="3148943"/>
          </a:xfrm>
          <a:prstGeom prst="roundRect">
            <a:avLst>
              <a:gd name="adj" fmla="val 9196"/>
            </a:avLst>
          </a:prstGeom>
          <a:noFill/>
          <a:ln w="12700">
            <a:solidFill>
              <a:srgbClr val="DDDFEB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8400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5" name="Скругленный прямоугольник 70">
            <a:extLst>
              <a:ext uri="{FF2B5EF4-FFF2-40B4-BE49-F238E27FC236}">
                <a16:creationId xmlns:a16="http://schemas.microsoft.com/office/drawing/2014/main" id="{13E4945A-F2F2-E876-443A-9D81E852F9F6}"/>
              </a:ext>
            </a:extLst>
          </p:cNvPr>
          <p:cNvSpPr/>
          <p:nvPr/>
        </p:nvSpPr>
        <p:spPr>
          <a:xfrm>
            <a:off x="6085567" y="4614863"/>
            <a:ext cx="720000" cy="266423"/>
          </a:xfrm>
          <a:prstGeom prst="roundRect">
            <a:avLst>
              <a:gd name="adj" fmla="val 50000"/>
            </a:avLst>
          </a:prstGeom>
          <a:solidFill>
            <a:srgbClr val="D2EBFD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%</a:t>
            </a:r>
          </a:p>
        </p:txBody>
      </p:sp>
      <p:sp>
        <p:nvSpPr>
          <p:cNvPr id="76" name="Скругленный прямоугольник 66">
            <a:extLst>
              <a:ext uri="{FF2B5EF4-FFF2-40B4-BE49-F238E27FC236}">
                <a16:creationId xmlns:a16="http://schemas.microsoft.com/office/drawing/2014/main" id="{F77D547A-1C8D-E13A-67CF-5A7E851ACE91}"/>
              </a:ext>
            </a:extLst>
          </p:cNvPr>
          <p:cNvSpPr/>
          <p:nvPr/>
        </p:nvSpPr>
        <p:spPr>
          <a:xfrm>
            <a:off x="6085567" y="3060700"/>
            <a:ext cx="720000" cy="26642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8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%</a:t>
            </a:r>
          </a:p>
        </p:txBody>
      </p:sp>
      <p:sp>
        <p:nvSpPr>
          <p:cNvPr id="77" name="Скругленный прямоугольник 67">
            <a:extLst>
              <a:ext uri="{FF2B5EF4-FFF2-40B4-BE49-F238E27FC236}">
                <a16:creationId xmlns:a16="http://schemas.microsoft.com/office/drawing/2014/main" id="{DD2C3FBD-FC58-79B4-774C-F695EB0521B7}"/>
              </a:ext>
            </a:extLst>
          </p:cNvPr>
          <p:cNvSpPr/>
          <p:nvPr/>
        </p:nvSpPr>
        <p:spPr>
          <a:xfrm>
            <a:off x="6085567" y="2543175"/>
            <a:ext cx="720000" cy="26642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6%</a:t>
            </a:r>
          </a:p>
        </p:txBody>
      </p:sp>
      <p:sp>
        <p:nvSpPr>
          <p:cNvPr id="78" name="Скругленный прямоугольник 68">
            <a:extLst>
              <a:ext uri="{FF2B5EF4-FFF2-40B4-BE49-F238E27FC236}">
                <a16:creationId xmlns:a16="http://schemas.microsoft.com/office/drawing/2014/main" id="{D5ADF343-6978-F647-72E2-6BF9A397E373}"/>
              </a:ext>
            </a:extLst>
          </p:cNvPr>
          <p:cNvSpPr/>
          <p:nvPr/>
        </p:nvSpPr>
        <p:spPr>
          <a:xfrm>
            <a:off x="6085567" y="3578225"/>
            <a:ext cx="720000" cy="266423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3%</a:t>
            </a:r>
          </a:p>
        </p:txBody>
      </p:sp>
      <p:sp>
        <p:nvSpPr>
          <p:cNvPr id="79" name="Скругленный прямоугольник 69">
            <a:extLst>
              <a:ext uri="{FF2B5EF4-FFF2-40B4-BE49-F238E27FC236}">
                <a16:creationId xmlns:a16="http://schemas.microsoft.com/office/drawing/2014/main" id="{75D02CD9-C084-FCBA-4A2F-F6B02A4CA3F6}"/>
              </a:ext>
            </a:extLst>
          </p:cNvPr>
          <p:cNvSpPr/>
          <p:nvPr/>
        </p:nvSpPr>
        <p:spPr>
          <a:xfrm>
            <a:off x="6085567" y="4095750"/>
            <a:ext cx="720000" cy="266614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%</a:t>
            </a:r>
          </a:p>
        </p:txBody>
      </p:sp>
      <p:sp>
        <p:nvSpPr>
          <p:cNvPr id="80" name="Прямоугольник 19">
            <a:extLst>
              <a:ext uri="{FF2B5EF4-FFF2-40B4-BE49-F238E27FC236}">
                <a16:creationId xmlns:a16="http://schemas.microsoft.com/office/drawing/2014/main" id="{7A8C5E22-E635-EBC4-2E08-8945CD3AC734}"/>
              </a:ext>
            </a:extLst>
          </p:cNvPr>
          <p:cNvSpPr/>
          <p:nvPr/>
        </p:nvSpPr>
        <p:spPr>
          <a:xfrm>
            <a:off x="6125255" y="2033588"/>
            <a:ext cx="641605" cy="369332"/>
          </a:xfrm>
          <a:prstGeom prst="rect">
            <a:avLst/>
          </a:prstGeom>
          <a:noFill/>
          <a:ln w="127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CAG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25</a:t>
            </a:r>
            <a:r>
              <a:rPr kumimoji="0" lang="lv-LV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–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30</a:t>
            </a:r>
          </a:p>
        </p:txBody>
      </p:sp>
      <p:grpSp>
        <p:nvGrpSpPr>
          <p:cNvPr id="426" name="Группа 425">
            <a:extLst>
              <a:ext uri="{FF2B5EF4-FFF2-40B4-BE49-F238E27FC236}">
                <a16:creationId xmlns:a16="http://schemas.microsoft.com/office/drawing/2014/main" id="{BB14BF49-F2B8-CDDE-6DC1-E0DF558917B1}"/>
              </a:ext>
            </a:extLst>
          </p:cNvPr>
          <p:cNvGrpSpPr/>
          <p:nvPr/>
        </p:nvGrpSpPr>
        <p:grpSpPr>
          <a:xfrm>
            <a:off x="823697" y="5636087"/>
            <a:ext cx="5780938" cy="246221"/>
            <a:chOff x="823697" y="5636087"/>
            <a:chExt cx="5780938" cy="246221"/>
          </a:xfrm>
        </p:grpSpPr>
        <p:grpSp>
          <p:nvGrpSpPr>
            <p:cNvPr id="409" name="Группа 408">
              <a:extLst>
                <a:ext uri="{FF2B5EF4-FFF2-40B4-BE49-F238E27FC236}">
                  <a16:creationId xmlns:a16="http://schemas.microsoft.com/office/drawing/2014/main" id="{0FBB1B8F-35F4-50D0-A18E-9D2B88208DEB}"/>
                </a:ext>
              </a:extLst>
            </p:cNvPr>
            <p:cNvGrpSpPr/>
            <p:nvPr/>
          </p:nvGrpSpPr>
          <p:grpSpPr>
            <a:xfrm>
              <a:off x="823697" y="5636087"/>
              <a:ext cx="914616" cy="246221"/>
              <a:chOff x="823697" y="5636087"/>
              <a:chExt cx="914616" cy="246221"/>
            </a:xfrm>
          </p:grpSpPr>
          <p:sp>
            <p:nvSpPr>
              <p:cNvPr id="81" name="Прямоугольник: скругленные углы 80">
                <a:extLst>
                  <a:ext uri="{FF2B5EF4-FFF2-40B4-BE49-F238E27FC236}">
                    <a16:creationId xmlns:a16="http://schemas.microsoft.com/office/drawing/2014/main" id="{C8BCEDB2-049B-7E19-3B28-F1AB6647711C}"/>
                  </a:ext>
                </a:extLst>
              </p:cNvPr>
              <p:cNvSpPr/>
              <p:nvPr/>
            </p:nvSpPr>
            <p:spPr>
              <a:xfrm>
                <a:off x="823697" y="5636087"/>
                <a:ext cx="144000" cy="144000"/>
              </a:xfrm>
              <a:prstGeom prst="roundRect">
                <a:avLst>
                  <a:gd name="adj" fmla="val 24619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B792B547-2CC6-21EE-684C-4F475BBB68F0}"/>
                  </a:ext>
                </a:extLst>
              </p:cNvPr>
              <p:cNvSpPr txBox="1"/>
              <p:nvPr/>
            </p:nvSpPr>
            <p:spPr>
              <a:xfrm>
                <a:off x="1024263" y="5636087"/>
                <a:ext cx="714050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Дата-центры (системы)</a:t>
                </a:r>
              </a:p>
            </p:txBody>
          </p:sp>
        </p:grpSp>
        <p:grpSp>
          <p:nvGrpSpPr>
            <p:cNvPr id="410" name="Группа 409">
              <a:extLst>
                <a:ext uri="{FF2B5EF4-FFF2-40B4-BE49-F238E27FC236}">
                  <a16:creationId xmlns:a16="http://schemas.microsoft.com/office/drawing/2014/main" id="{40B7BD0E-3065-761D-6D87-53451E46D947}"/>
                </a:ext>
              </a:extLst>
            </p:cNvPr>
            <p:cNvGrpSpPr/>
            <p:nvPr/>
          </p:nvGrpSpPr>
          <p:grpSpPr>
            <a:xfrm>
              <a:off x="1894614" y="5636087"/>
              <a:ext cx="1095258" cy="246221"/>
              <a:chOff x="1874538" y="5636087"/>
              <a:chExt cx="1095258" cy="246221"/>
            </a:xfrm>
          </p:grpSpPr>
          <p:sp>
            <p:nvSpPr>
              <p:cNvPr id="83" name="Прямоугольник: скругленные углы 82">
                <a:extLst>
                  <a:ext uri="{FF2B5EF4-FFF2-40B4-BE49-F238E27FC236}">
                    <a16:creationId xmlns:a16="http://schemas.microsoft.com/office/drawing/2014/main" id="{F25F5CF3-C309-21E1-B737-2CB9FFCAAA4E}"/>
                  </a:ext>
                </a:extLst>
              </p:cNvPr>
              <p:cNvSpPr/>
              <p:nvPr/>
            </p:nvSpPr>
            <p:spPr>
              <a:xfrm>
                <a:off x="1874538" y="5636087"/>
                <a:ext cx="144000" cy="144000"/>
              </a:xfrm>
              <a:prstGeom prst="roundRect">
                <a:avLst>
                  <a:gd name="adj" fmla="val 24619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835C1076-53D3-ACA3-736F-D700D55F57C6}"/>
                  </a:ext>
                </a:extLst>
              </p:cNvPr>
              <p:cNvSpPr txBox="1"/>
              <p:nvPr/>
            </p:nvSpPr>
            <p:spPr>
              <a:xfrm>
                <a:off x="2075103" y="5636087"/>
                <a:ext cx="894693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Вычислительная техника</a:t>
                </a:r>
              </a:p>
            </p:txBody>
          </p:sp>
        </p:grpSp>
        <p:grpSp>
          <p:nvGrpSpPr>
            <p:cNvPr id="412" name="Группа 411">
              <a:extLst>
                <a:ext uri="{FF2B5EF4-FFF2-40B4-BE49-F238E27FC236}">
                  <a16:creationId xmlns:a16="http://schemas.microsoft.com/office/drawing/2014/main" id="{0D489AD6-3C54-1A35-9A54-28BC7813D662}"/>
                </a:ext>
              </a:extLst>
            </p:cNvPr>
            <p:cNvGrpSpPr/>
            <p:nvPr/>
          </p:nvGrpSpPr>
          <p:grpSpPr>
            <a:xfrm>
              <a:off x="4208827" y="5636087"/>
              <a:ext cx="759354" cy="144000"/>
              <a:chOff x="4153165" y="5636087"/>
              <a:chExt cx="759354" cy="144000"/>
            </a:xfrm>
          </p:grpSpPr>
          <p:sp>
            <p:nvSpPr>
              <p:cNvPr id="85" name="Прямоугольник: скругленные углы 84">
                <a:extLst>
                  <a:ext uri="{FF2B5EF4-FFF2-40B4-BE49-F238E27FC236}">
                    <a16:creationId xmlns:a16="http://schemas.microsoft.com/office/drawing/2014/main" id="{8047A487-1E8A-F7FF-5FE8-C783B789B80A}"/>
                  </a:ext>
                </a:extLst>
              </p:cNvPr>
              <p:cNvSpPr/>
              <p:nvPr/>
            </p:nvSpPr>
            <p:spPr>
              <a:xfrm>
                <a:off x="4153165" y="5636087"/>
                <a:ext cx="144000" cy="144000"/>
              </a:xfrm>
              <a:prstGeom prst="roundRect">
                <a:avLst>
                  <a:gd name="adj" fmla="val 23293"/>
                </a:avLst>
              </a:prstGeom>
              <a:solidFill>
                <a:srgbClr val="02406A"/>
              </a:solidFill>
              <a:ln w="6350">
                <a:solidFill>
                  <a:schemeClr val="tx2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26410CB3-4D3F-E961-01BE-55655B26C5DB}"/>
                  </a:ext>
                </a:extLst>
              </p:cNvPr>
              <p:cNvSpPr txBox="1"/>
              <p:nvPr/>
            </p:nvSpPr>
            <p:spPr>
              <a:xfrm>
                <a:off x="4353730" y="5636087"/>
                <a:ext cx="558789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ИТ-услуги</a:t>
                </a:r>
              </a:p>
            </p:txBody>
          </p:sp>
        </p:grpSp>
        <p:grpSp>
          <p:nvGrpSpPr>
            <p:cNvPr id="411" name="Группа 410">
              <a:extLst>
                <a:ext uri="{FF2B5EF4-FFF2-40B4-BE49-F238E27FC236}">
                  <a16:creationId xmlns:a16="http://schemas.microsoft.com/office/drawing/2014/main" id="{15479BCC-1300-DD32-600B-D7788AE3C4D8}"/>
                </a:ext>
              </a:extLst>
            </p:cNvPr>
            <p:cNvGrpSpPr/>
            <p:nvPr/>
          </p:nvGrpSpPr>
          <p:grpSpPr>
            <a:xfrm>
              <a:off x="3146173" y="5636087"/>
              <a:ext cx="906353" cy="246221"/>
              <a:chOff x="3120341" y="5636087"/>
              <a:chExt cx="906353" cy="246221"/>
            </a:xfrm>
          </p:grpSpPr>
          <p:sp>
            <p:nvSpPr>
              <p:cNvPr id="90" name="Прямоугольник: скругленные углы 89">
                <a:extLst>
                  <a:ext uri="{FF2B5EF4-FFF2-40B4-BE49-F238E27FC236}">
                    <a16:creationId xmlns:a16="http://schemas.microsoft.com/office/drawing/2014/main" id="{61AE1DDB-E174-56BD-82EA-76F33D2219B7}"/>
                  </a:ext>
                </a:extLst>
              </p:cNvPr>
              <p:cNvSpPr/>
              <p:nvPr/>
            </p:nvSpPr>
            <p:spPr>
              <a:xfrm>
                <a:off x="3120341" y="5636087"/>
                <a:ext cx="144000" cy="144000"/>
              </a:xfrm>
              <a:prstGeom prst="roundRect">
                <a:avLst>
                  <a:gd name="adj" fmla="val 25944"/>
                </a:avLst>
              </a:prstGeom>
              <a:solidFill>
                <a:srgbClr val="1084A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AFCF3D7A-680A-472D-4F4B-CE4E4B7B6FCF}"/>
                  </a:ext>
                </a:extLst>
              </p:cNvPr>
              <p:cNvSpPr txBox="1"/>
              <p:nvPr/>
            </p:nvSpPr>
            <p:spPr>
              <a:xfrm>
                <a:off x="3320906" y="5636087"/>
                <a:ext cx="705788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Программное обеспечение</a:t>
                </a:r>
              </a:p>
            </p:txBody>
          </p:sp>
        </p:grpSp>
        <p:grpSp>
          <p:nvGrpSpPr>
            <p:cNvPr id="413" name="Группа 412">
              <a:extLst>
                <a:ext uri="{FF2B5EF4-FFF2-40B4-BE49-F238E27FC236}">
                  <a16:creationId xmlns:a16="http://schemas.microsoft.com/office/drawing/2014/main" id="{89DF1CAF-86B7-2FB5-F3E9-53B50EDB44CB}"/>
                </a:ext>
              </a:extLst>
            </p:cNvPr>
            <p:cNvGrpSpPr/>
            <p:nvPr/>
          </p:nvGrpSpPr>
          <p:grpSpPr>
            <a:xfrm>
              <a:off x="5124482" y="5636087"/>
              <a:ext cx="1480153" cy="246221"/>
              <a:chOff x="5019707" y="5636087"/>
              <a:chExt cx="1480153" cy="246221"/>
            </a:xfrm>
          </p:grpSpPr>
          <p:sp>
            <p:nvSpPr>
              <p:cNvPr id="95" name="Прямоугольник: скругленные углы 94">
                <a:extLst>
                  <a:ext uri="{FF2B5EF4-FFF2-40B4-BE49-F238E27FC236}">
                    <a16:creationId xmlns:a16="http://schemas.microsoft.com/office/drawing/2014/main" id="{EECCEF7E-313F-C27F-EE9B-6BC5FF409D8C}"/>
                  </a:ext>
                </a:extLst>
              </p:cNvPr>
              <p:cNvSpPr/>
              <p:nvPr/>
            </p:nvSpPr>
            <p:spPr>
              <a:xfrm>
                <a:off x="5019707" y="5636087"/>
                <a:ext cx="144000" cy="144000"/>
              </a:xfrm>
              <a:prstGeom prst="roundRect">
                <a:avLst>
                  <a:gd name="adj" fmla="val 23293"/>
                </a:avLst>
              </a:prstGeom>
              <a:solidFill>
                <a:srgbClr val="D2EBF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7D5301A3-3D8A-A4DC-85D8-DD1E96F75B66}"/>
                  </a:ext>
                </a:extLst>
              </p:cNvPr>
              <p:cNvSpPr txBox="1"/>
              <p:nvPr/>
            </p:nvSpPr>
            <p:spPr>
              <a:xfrm>
                <a:off x="5220273" y="5636087"/>
                <a:ext cx="1279587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Телекоммуникационное оборудование</a:t>
                </a:r>
              </a:p>
            </p:txBody>
          </p:sp>
        </p:grpSp>
      </p:grpSp>
      <p:sp>
        <p:nvSpPr>
          <p:cNvPr id="101" name="Заголовок 1">
            <a:extLst>
              <a:ext uri="{FF2B5EF4-FFF2-40B4-BE49-F238E27FC236}">
                <a16:creationId xmlns:a16="http://schemas.microsoft.com/office/drawing/2014/main" id="{FCE47AE7-21F7-7764-9895-60360CB8B7FA}"/>
              </a:ext>
            </a:extLst>
          </p:cNvPr>
          <p:cNvSpPr txBox="1">
            <a:spLocks/>
          </p:cNvSpPr>
          <p:nvPr/>
        </p:nvSpPr>
        <p:spPr>
          <a:xfrm>
            <a:off x="7721411" y="3114235"/>
            <a:ext cx="4051414" cy="1598612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д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о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 </a:t>
            </a:r>
            <a:r>
              <a: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$9,5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трлн</a:t>
            </a:r>
            <a:b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</a:b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к 2030 г.</a:t>
            </a:r>
          </a:p>
        </p:txBody>
      </p:sp>
      <p:graphicFrame>
        <p:nvGraphicFramePr>
          <p:cNvPr id="420" name="Chart 3">
            <a:extLst>
              <a:ext uri="{FF2B5EF4-FFF2-40B4-BE49-F238E27FC236}">
                <a16:creationId xmlns:a16="http://schemas.microsoft.com/office/drawing/2014/main" id="{06FB8325-E39C-F609-031C-1E37A1ECBB1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7942436"/>
              </p:ext>
            </p:extLst>
          </p:nvPr>
        </p:nvGraphicFramePr>
        <p:xfrm>
          <a:off x="547688" y="2478088"/>
          <a:ext cx="5208587" cy="2732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37" name="Прямоугольник: скругленные верхние углы 336">
            <a:extLst>
              <a:ext uri="{FF2B5EF4-FFF2-40B4-BE49-F238E27FC236}">
                <a16:creationId xmlns:a16="http://schemas.microsoft.com/office/drawing/2014/main" id="{9BF1A8E7-81D5-1F0F-4D42-B07240D3C29D}"/>
              </a:ext>
            </a:extLst>
          </p:cNvPr>
          <p:cNvSpPr/>
          <p:nvPr/>
        </p:nvSpPr>
        <p:spPr>
          <a:xfrm>
            <a:off x="4990911" y="2681289"/>
            <a:ext cx="514351" cy="432946"/>
          </a:xfrm>
          <a:prstGeom prst="round2SameRect">
            <a:avLst>
              <a:gd name="adj1" fmla="val 22983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altLang="en-US" sz="1200" spc="-20" dirty="0">
                <a:effectLst/>
                <a:latin typeface="+mn-lt"/>
                <a:ea typeface="+mn-ea"/>
              </a:rPr>
              <a:t>1 600</a:t>
            </a:r>
            <a:endParaRPr lang="ru-RU" sz="1200" spc="-20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354" name="Прямоугольник: скругленные верхние углы 353">
            <a:extLst>
              <a:ext uri="{FF2B5EF4-FFF2-40B4-BE49-F238E27FC236}">
                <a16:creationId xmlns:a16="http://schemas.microsoft.com/office/drawing/2014/main" id="{1AF5A288-3E3A-73C9-0EA0-BFAB56D5AC0A}"/>
              </a:ext>
            </a:extLst>
          </p:cNvPr>
          <p:cNvSpPr/>
          <p:nvPr/>
        </p:nvSpPr>
        <p:spPr>
          <a:xfrm>
            <a:off x="4153610" y="2919412"/>
            <a:ext cx="514351" cy="351411"/>
          </a:xfrm>
          <a:prstGeom prst="round2SameRect">
            <a:avLst>
              <a:gd name="adj1" fmla="val 25183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altLang="en-US" sz="1200" spc="-20" dirty="0">
                <a:effectLst/>
                <a:latin typeface="+mn-lt"/>
                <a:ea typeface="+mn-ea"/>
              </a:rPr>
              <a:t>1 279</a:t>
            </a:r>
            <a:endParaRPr lang="ru-RU" sz="1200" spc="-20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359" name="Прямоугольник: скругленные верхние углы 358">
            <a:extLst>
              <a:ext uri="{FF2B5EF4-FFF2-40B4-BE49-F238E27FC236}">
                <a16:creationId xmlns:a16="http://schemas.microsoft.com/office/drawing/2014/main" id="{D1D1A197-E673-6FDB-3CD0-F3E7A9436AEE}"/>
              </a:ext>
            </a:extLst>
          </p:cNvPr>
          <p:cNvSpPr/>
          <p:nvPr/>
        </p:nvSpPr>
        <p:spPr>
          <a:xfrm>
            <a:off x="3314030" y="3119438"/>
            <a:ext cx="514351" cy="297436"/>
          </a:xfrm>
          <a:prstGeom prst="round2SameRect">
            <a:avLst>
              <a:gd name="adj1" fmla="val 28483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altLang="en-US" sz="1200" spc="-20" dirty="0">
                <a:effectLst/>
                <a:latin typeface="+mn-lt"/>
                <a:ea typeface="+mn-ea"/>
              </a:rPr>
              <a:t>1 022</a:t>
            </a:r>
            <a:endParaRPr lang="ru-RU" sz="1200" spc="-20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364" name="Прямоугольник: скругленные верхние углы 363">
            <a:extLst>
              <a:ext uri="{FF2B5EF4-FFF2-40B4-BE49-F238E27FC236}">
                <a16:creationId xmlns:a16="http://schemas.microsoft.com/office/drawing/2014/main" id="{02DF1154-C959-178F-65A4-2B55CFB256E8}"/>
              </a:ext>
            </a:extLst>
          </p:cNvPr>
          <p:cNvSpPr/>
          <p:nvPr/>
        </p:nvSpPr>
        <p:spPr>
          <a:xfrm>
            <a:off x="2473664" y="3252789"/>
            <a:ext cx="514351" cy="287116"/>
          </a:xfrm>
          <a:prstGeom prst="round2SameRect">
            <a:avLst>
              <a:gd name="adj1" fmla="val 35520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E3B177AD-6BFB-43B0-95E1-A4EDA1ED9E0B}" type="datetime'''''''''''81''''7'''''''''''''''''''''''''''''''''">
              <a:rPr lang="ru-RU" altLang="en-US" sz="1200" smtClean="0">
                <a:solidFill>
                  <a:schemeClr val="bg1"/>
                </a:solidFill>
                <a:effectLst/>
                <a:latin typeface="+mn-lt"/>
                <a:ea typeface="+mn-ea"/>
              </a:rPr>
              <a:pPr/>
              <a:t>817</a:t>
            </a:fld>
            <a:endParaRPr lang="ru-RU" sz="1200" spc="-20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369" name="Прямоугольник: скругленные верхние углы 368">
            <a:extLst>
              <a:ext uri="{FF2B5EF4-FFF2-40B4-BE49-F238E27FC236}">
                <a16:creationId xmlns:a16="http://schemas.microsoft.com/office/drawing/2014/main" id="{A6D9031D-6565-06AC-E421-99B6CC4190AB}"/>
              </a:ext>
            </a:extLst>
          </p:cNvPr>
          <p:cNvSpPr/>
          <p:nvPr/>
        </p:nvSpPr>
        <p:spPr>
          <a:xfrm>
            <a:off x="1631155" y="3409950"/>
            <a:ext cx="514351" cy="250372"/>
          </a:xfrm>
          <a:prstGeom prst="round2SameRect">
            <a:avLst>
              <a:gd name="adj1" fmla="val 38200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3B8EF9AF-A47F-4AA5-95EC-D6EE0CE5D0F7}" type="datetime'''''6''''''''''''5''''''''''''''''''3'">
              <a:rPr lang="ru-RU" altLang="en-US" sz="1200" smtClean="0">
                <a:solidFill>
                  <a:schemeClr val="bg1"/>
                </a:solidFill>
                <a:effectLst/>
                <a:latin typeface="+mn-lt"/>
                <a:ea typeface="+mn-ea"/>
              </a:rPr>
              <a:pPr/>
              <a:t>653</a:t>
            </a:fld>
            <a:endParaRPr lang="ru-RU" sz="1200" spc="-20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374" name="Прямоугольник: скругленные верхние углы 373">
            <a:extLst>
              <a:ext uri="{FF2B5EF4-FFF2-40B4-BE49-F238E27FC236}">
                <a16:creationId xmlns:a16="http://schemas.microsoft.com/office/drawing/2014/main" id="{0E05BF59-EBEB-52DD-830F-F2C56E109BB7}"/>
              </a:ext>
            </a:extLst>
          </p:cNvPr>
          <p:cNvSpPr/>
          <p:nvPr/>
        </p:nvSpPr>
        <p:spPr>
          <a:xfrm>
            <a:off x="792163" y="3556000"/>
            <a:ext cx="514351" cy="208162"/>
          </a:xfrm>
          <a:prstGeom prst="round2SameRect">
            <a:avLst>
              <a:gd name="adj1" fmla="val 41241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altLang="en-US" sz="1200" dirty="0">
                <a:solidFill>
                  <a:schemeClr val="bg1"/>
                </a:solidFill>
                <a:effectLst/>
                <a:latin typeface="+mn-lt"/>
                <a:ea typeface="+mn-ea"/>
              </a:rPr>
              <a:t>496</a:t>
            </a:r>
            <a:endParaRPr lang="ru-RU" sz="1200" spc="-20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cxnSp>
        <p:nvCxnSpPr>
          <p:cNvPr id="386" name="Соединитель: уступ 385">
            <a:extLst>
              <a:ext uri="{FF2B5EF4-FFF2-40B4-BE49-F238E27FC236}">
                <a16:creationId xmlns:a16="http://schemas.microsoft.com/office/drawing/2014/main" id="{744F0B72-566A-8005-0132-790F50AE7442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711358" y="1019271"/>
            <a:ext cx="874711" cy="4198748"/>
          </a:xfrm>
          <a:prstGeom prst="bentConnector3">
            <a:avLst>
              <a:gd name="adj1" fmla="val 113835"/>
            </a:avLst>
          </a:prstGeom>
          <a:ln w="1905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8" name="TextBox 407">
            <a:extLst>
              <a:ext uri="{FF2B5EF4-FFF2-40B4-BE49-F238E27FC236}">
                <a16:creationId xmlns:a16="http://schemas.microsoft.com/office/drawing/2014/main" id="{2D595B73-FCD4-23E4-FE85-1A2D68FAA906}"/>
              </a:ext>
            </a:extLst>
          </p:cNvPr>
          <p:cNvSpPr txBox="1"/>
          <p:nvPr/>
        </p:nvSpPr>
        <p:spPr>
          <a:xfrm>
            <a:off x="2786100" y="2250609"/>
            <a:ext cx="72522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chemeClr val="accent1"/>
                </a:solidFill>
              </a:rPr>
              <a:t>11%</a:t>
            </a:r>
            <a:endParaRPr lang="ru-RU" sz="1600" dirty="0">
              <a:solidFill>
                <a:schemeClr val="accent1"/>
              </a:solidFill>
            </a:endParaRPr>
          </a:p>
        </p:txBody>
      </p:sp>
      <p:sp>
        <p:nvSpPr>
          <p:cNvPr id="418" name="TextBox 417">
            <a:extLst>
              <a:ext uri="{FF2B5EF4-FFF2-40B4-BE49-F238E27FC236}">
                <a16:creationId xmlns:a16="http://schemas.microsoft.com/office/drawing/2014/main" id="{40F549F4-585D-61D3-F8DF-BFC4A0ECDA34}"/>
              </a:ext>
            </a:extLst>
          </p:cNvPr>
          <p:cNvSpPr txBox="1"/>
          <p:nvPr/>
        </p:nvSpPr>
        <p:spPr>
          <a:xfrm>
            <a:off x="776287" y="5093992"/>
            <a:ext cx="50641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2025</a:t>
            </a:r>
            <a:endParaRPr lang="ru-RU" sz="1200" dirty="0"/>
          </a:p>
        </p:txBody>
      </p:sp>
      <p:sp>
        <p:nvSpPr>
          <p:cNvPr id="421" name="TextBox 420">
            <a:extLst>
              <a:ext uri="{FF2B5EF4-FFF2-40B4-BE49-F238E27FC236}">
                <a16:creationId xmlns:a16="http://schemas.microsoft.com/office/drawing/2014/main" id="{EA7CC2FA-38E1-FA31-3BC5-043E1494EB16}"/>
              </a:ext>
            </a:extLst>
          </p:cNvPr>
          <p:cNvSpPr txBox="1"/>
          <p:nvPr/>
        </p:nvSpPr>
        <p:spPr>
          <a:xfrm>
            <a:off x="1620005" y="5093992"/>
            <a:ext cx="50641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2026</a:t>
            </a:r>
            <a:endParaRPr lang="ru-RU" sz="1200" dirty="0"/>
          </a:p>
        </p:txBody>
      </p:sp>
      <p:sp>
        <p:nvSpPr>
          <p:cNvPr id="422" name="TextBox 421">
            <a:extLst>
              <a:ext uri="{FF2B5EF4-FFF2-40B4-BE49-F238E27FC236}">
                <a16:creationId xmlns:a16="http://schemas.microsoft.com/office/drawing/2014/main" id="{D667E9EE-E8BC-0194-EDB9-31E7144F7C1D}"/>
              </a:ext>
            </a:extLst>
          </p:cNvPr>
          <p:cNvSpPr txBox="1"/>
          <p:nvPr/>
        </p:nvSpPr>
        <p:spPr>
          <a:xfrm>
            <a:off x="2463723" y="5093992"/>
            <a:ext cx="50641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2027</a:t>
            </a:r>
            <a:endParaRPr lang="ru-RU" sz="1200" dirty="0"/>
          </a:p>
        </p:txBody>
      </p:sp>
      <p:sp>
        <p:nvSpPr>
          <p:cNvPr id="423" name="TextBox 422">
            <a:extLst>
              <a:ext uri="{FF2B5EF4-FFF2-40B4-BE49-F238E27FC236}">
                <a16:creationId xmlns:a16="http://schemas.microsoft.com/office/drawing/2014/main" id="{A2D8467E-F6E4-AC96-225D-5BD1DB9849DF}"/>
              </a:ext>
            </a:extLst>
          </p:cNvPr>
          <p:cNvSpPr txBox="1"/>
          <p:nvPr/>
        </p:nvSpPr>
        <p:spPr>
          <a:xfrm>
            <a:off x="3307441" y="5093992"/>
            <a:ext cx="50641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2028</a:t>
            </a:r>
            <a:endParaRPr lang="ru-RU" sz="1200" dirty="0"/>
          </a:p>
        </p:txBody>
      </p:sp>
      <p:sp>
        <p:nvSpPr>
          <p:cNvPr id="424" name="TextBox 423">
            <a:extLst>
              <a:ext uri="{FF2B5EF4-FFF2-40B4-BE49-F238E27FC236}">
                <a16:creationId xmlns:a16="http://schemas.microsoft.com/office/drawing/2014/main" id="{1732DD29-F9DE-5A71-370B-FF2F26B98B0B}"/>
              </a:ext>
            </a:extLst>
          </p:cNvPr>
          <p:cNvSpPr txBox="1"/>
          <p:nvPr/>
        </p:nvSpPr>
        <p:spPr>
          <a:xfrm>
            <a:off x="4151159" y="5093992"/>
            <a:ext cx="50641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2029</a:t>
            </a:r>
            <a:endParaRPr lang="ru-RU" sz="1200" dirty="0"/>
          </a:p>
        </p:txBody>
      </p:sp>
      <p:sp>
        <p:nvSpPr>
          <p:cNvPr id="425" name="TextBox 424">
            <a:extLst>
              <a:ext uri="{FF2B5EF4-FFF2-40B4-BE49-F238E27FC236}">
                <a16:creationId xmlns:a16="http://schemas.microsoft.com/office/drawing/2014/main" id="{6A8042B6-410F-44F3-B7B6-C09824BAC075}"/>
              </a:ext>
            </a:extLst>
          </p:cNvPr>
          <p:cNvSpPr txBox="1"/>
          <p:nvPr/>
        </p:nvSpPr>
        <p:spPr>
          <a:xfrm>
            <a:off x="4994879" y="5093992"/>
            <a:ext cx="50641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2030</a:t>
            </a:r>
            <a:endParaRPr lang="ru-RU" sz="1200" dirty="0"/>
          </a:p>
        </p:txBody>
      </p:sp>
      <p:pic>
        <p:nvPicPr>
          <p:cNvPr id="427" name="Рисунок 426">
            <a:extLst>
              <a:ext uri="{FF2B5EF4-FFF2-40B4-BE49-F238E27FC236}">
                <a16:creationId xmlns:a16="http://schemas.microsoft.com/office/drawing/2014/main" id="{190006FD-A999-77EE-C918-A253465194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62341" y="1534885"/>
            <a:ext cx="471716" cy="471716"/>
          </a:xfrm>
          <a:prstGeom prst="rect">
            <a:avLst/>
          </a:prstGeom>
        </p:spPr>
      </p:pic>
      <p:pic>
        <p:nvPicPr>
          <p:cNvPr id="428" name="Рисунок 427">
            <a:extLst>
              <a:ext uri="{FF2B5EF4-FFF2-40B4-BE49-F238E27FC236}">
                <a16:creationId xmlns:a16="http://schemas.microsoft.com/office/drawing/2014/main" id="{CFEA35CB-AF7B-9C00-5C35-3D2B85110A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4114" y="3223985"/>
            <a:ext cx="471716" cy="471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6898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CC7ADC-E75A-69FE-825A-A5DD920814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90DE251A-5944-9AB2-8BAB-D09D11D11C6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75926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2" imgW="7772400" imgH="10058400" progId="TCLayout.ActiveDocument.1">
                  <p:embed/>
                </p:oleObj>
              </mc:Choice>
              <mc:Fallback>
                <p:oleObj name="Слайд think-cell" r:id="rId42" imgW="7772400" imgH="10058400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DE251A-5944-9AB2-8BAB-D09D11D11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7" name="Chart 3">
            <a:extLst>
              <a:ext uri="{FF2B5EF4-FFF2-40B4-BE49-F238E27FC236}">
                <a16:creationId xmlns:a16="http://schemas.microsoft.com/office/drawing/2014/main" id="{3D7C0D58-C7E4-3601-8EB8-9EC54EDA0162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357188" y="2576513"/>
          <a:ext cx="3663950" cy="3049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cxnSp>
        <p:nvCxnSpPr>
          <p:cNvPr id="153" name="Прямая соединительная линия 152">
            <a:extLst>
              <a:ext uri="{FF2B5EF4-FFF2-40B4-BE49-F238E27FC236}">
                <a16:creationId xmlns:a16="http://schemas.microsoft.com/office/drawing/2014/main" id="{111582AA-09E8-F3DE-0ED5-E24A76214F09}"/>
              </a:ext>
            </a:extLst>
          </p:cNvPr>
          <p:cNvCxnSpPr/>
          <p:nvPr>
            <p:custDataLst>
              <p:tags r:id="rId3"/>
            </p:custDataLst>
          </p:nvPr>
        </p:nvCxnSpPr>
        <p:spPr bwMode="white">
          <a:xfrm>
            <a:off x="3198813" y="5013325"/>
            <a:ext cx="603250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Прямая соединительная линия 151">
            <a:extLst>
              <a:ext uri="{FF2B5EF4-FFF2-40B4-BE49-F238E27FC236}">
                <a16:creationId xmlns:a16="http://schemas.microsoft.com/office/drawing/2014/main" id="{52E98A51-B05B-533D-FF6F-9C85F8E82AE3}"/>
              </a:ext>
            </a:extLst>
          </p:cNvPr>
          <p:cNvCxnSpPr/>
          <p:nvPr>
            <p:custDataLst>
              <p:tags r:id="rId4"/>
            </p:custDataLst>
          </p:nvPr>
        </p:nvCxnSpPr>
        <p:spPr bwMode="white">
          <a:xfrm>
            <a:off x="2324100" y="5068888"/>
            <a:ext cx="603250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Прямая соединительная линия 150">
            <a:extLst>
              <a:ext uri="{FF2B5EF4-FFF2-40B4-BE49-F238E27FC236}">
                <a16:creationId xmlns:a16="http://schemas.microsoft.com/office/drawing/2014/main" id="{EB543C94-18DE-A511-A478-DA88AA6DB370}"/>
              </a:ext>
            </a:extLst>
          </p:cNvPr>
          <p:cNvCxnSpPr/>
          <p:nvPr>
            <p:custDataLst>
              <p:tags r:id="rId5"/>
            </p:custDataLst>
          </p:nvPr>
        </p:nvCxnSpPr>
        <p:spPr bwMode="white">
          <a:xfrm>
            <a:off x="1449388" y="5145088"/>
            <a:ext cx="603250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Прямая соединительная линия 149">
            <a:extLst>
              <a:ext uri="{FF2B5EF4-FFF2-40B4-BE49-F238E27FC236}">
                <a16:creationId xmlns:a16="http://schemas.microsoft.com/office/drawing/2014/main" id="{5676912E-9D7B-C23D-828A-A7A9778A754B}"/>
              </a:ext>
            </a:extLst>
          </p:cNvPr>
          <p:cNvCxnSpPr/>
          <p:nvPr>
            <p:custDataLst>
              <p:tags r:id="rId6"/>
            </p:custDataLst>
          </p:nvPr>
        </p:nvCxnSpPr>
        <p:spPr bwMode="white">
          <a:xfrm>
            <a:off x="574675" y="5226050"/>
            <a:ext cx="603250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B8857E99-7622-414E-5C09-0D65C2476CE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52463" y="4464050"/>
            <a:ext cx="4476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A86FC97-A3E4-460E-AB35-64876326DB92}" type="datetime'1 ''''''''''''''''''''''''''''''''8''''''5''''''''''''''''1'''">
              <a:rPr lang="ru-RU" altLang="en-US" sz="1000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 851</a:t>
            </a:fld>
            <a:br>
              <a:rPr lang="ru-RU" altLang="en-US" sz="1000" dirty="0">
                <a:effectLst/>
                <a:latin typeface="+mn-lt"/>
              </a:rPr>
            </a:br>
            <a:r>
              <a:rPr lang="ru-RU" altLang="en-US" sz="1000" dirty="0">
                <a:effectLst/>
                <a:latin typeface="+mn-lt"/>
              </a:rPr>
              <a:t>(</a:t>
            </a:r>
            <a:fld id="{578B851F-8C15-4174-98BD-516D80B72DE8}" type="datetime'''''''''''6''''''''''''8''''''''''''''''''''''''%'''">
              <a:rPr lang="ru-RU" altLang="en-US" sz="1000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8%</a:t>
            </a:fld>
            <a:r>
              <a:rPr lang="ru-RU" altLang="en-US" sz="1000" dirty="0">
                <a:effectLst/>
                <a:latin typeface="+mn-lt"/>
              </a:rPr>
              <a:t>)</a:t>
            </a:r>
            <a:endParaRPr lang="ru-RU" sz="1000" dirty="0">
              <a:latin typeface="+mn-lt"/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21988FBE-5C5E-6D9B-A5EC-83B9446E702C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52463" y="5232400"/>
            <a:ext cx="4476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43AE20A-B68A-4C6B-A26F-429C922A31A1}" type="datetime'4''8''''''''''''''''''''''''''''''''''''1'''''">
              <a:rPr lang="ru-RU" altLang="en-US" sz="1000" smtClean="0">
                <a:solidFill>
                  <a:schemeClr val="bg1"/>
                </a:solidFill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81</a:t>
            </a:fld>
            <a:br>
              <a:rPr lang="ru-RU" altLang="en-US" sz="1000">
                <a:solidFill>
                  <a:schemeClr val="bg1"/>
                </a:solidFill>
                <a:effectLst/>
                <a:latin typeface="+mn-lt"/>
              </a:rPr>
            </a:br>
            <a:r>
              <a:rPr lang="ru-RU" altLang="en-US" sz="1000">
                <a:solidFill>
                  <a:schemeClr val="bg1"/>
                </a:solidFill>
                <a:effectLst/>
                <a:latin typeface="+mn-lt"/>
              </a:rPr>
              <a:t>(</a:t>
            </a:r>
            <a:fld id="{D0E91D8F-C7B8-4157-BE90-A8F5EC775180}" type="datetime'''''''''''''''''''''''''1''''''''''''''8''''''%'''">
              <a:rPr lang="ru-RU" altLang="en-US" sz="1000" smtClean="0">
                <a:solidFill>
                  <a:schemeClr val="bg1"/>
                </a:solidFill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%</a:t>
            </a:fld>
            <a:r>
              <a:rPr lang="ru-RU" altLang="en-US" sz="1000">
                <a:solidFill>
                  <a:schemeClr val="bg1"/>
                </a:solidFill>
                <a:effectLst/>
                <a:latin typeface="+mn-lt"/>
              </a:rPr>
              <a:t>)</a:t>
            </a:r>
            <a:endParaRPr lang="ru-RU" sz="1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7" name="Text Placeholder 2">
            <a:extLst>
              <a:ext uri="{FF2B5EF4-FFF2-40B4-BE49-F238E27FC236}">
                <a16:creationId xmlns:a16="http://schemas.microsoft.com/office/drawing/2014/main" id="{506A12F4-FFDC-D538-6747-A5CB5DD3FD90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708025" y="5586413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9733D28-15FD-4AAE-B03B-2394A63EB9A1}" type="datetime'''2''''''''''''''''''''''''''''0''''''2''''''''''''2'''''''">
              <a:rPr lang="ru-RU" altLang="en-US" sz="1000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ru-RU" sz="1000" dirty="0">
              <a:latin typeface="+mn-lt"/>
            </a:endParaRPr>
          </a:p>
        </p:txBody>
      </p:sp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4EAADDF6-E3ED-E5E6-6010-8D803F9CE3E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527175" y="4249738"/>
            <a:ext cx="4476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AAC81B5-D96D-415E-BBAE-EB9110CB2DF2}" type="datetime'''''''''''2'''' ''''''''''''''''''''''''''2''''54'''''''''''''">
              <a:rPr lang="ru-RU" altLang="en-US" sz="1000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 254</a:t>
            </a:fld>
            <a:br>
              <a:rPr lang="ru-RU" altLang="en-US" sz="1000">
                <a:effectLst/>
                <a:latin typeface="+mn-lt"/>
              </a:rPr>
            </a:br>
            <a:r>
              <a:rPr lang="ru-RU" altLang="en-US" sz="1000">
                <a:effectLst/>
                <a:latin typeface="+mn-lt"/>
              </a:rPr>
              <a:t>(</a:t>
            </a:r>
            <a:fld id="{EDD73E70-4892-4C18-BCB3-465EE517C0E1}" type="datetime'''''''''''''''''6''''''7''''%'''''">
              <a:rPr lang="ru-RU" altLang="en-US" sz="1000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7%</a:t>
            </a:fld>
            <a:r>
              <a:rPr lang="ru-RU" altLang="en-US" sz="1000">
                <a:effectLst/>
                <a:latin typeface="+mn-lt"/>
              </a:rPr>
              <a:t>)</a:t>
            </a:r>
            <a:endParaRPr lang="ru-RU" sz="1000" dirty="0">
              <a:latin typeface="+mn-lt"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D011F2B3-9BF0-3E5B-A6BB-D63920F637F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527175" y="5191125"/>
            <a:ext cx="4476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5457EBF-70FE-46C9-8246-5C94331B6EC3}" type="datetime'''''''''''''''''''''''''6''''''''''''''''''0''''''''''''4'''">
              <a:rPr lang="ru-RU" altLang="en-US" sz="1000" smtClean="0">
                <a:solidFill>
                  <a:schemeClr val="bg1"/>
                </a:solidFill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4</a:t>
            </a:fld>
            <a:br>
              <a:rPr lang="ru-RU" altLang="en-US" sz="1000">
                <a:solidFill>
                  <a:schemeClr val="bg1"/>
                </a:solidFill>
                <a:effectLst/>
                <a:latin typeface="+mn-lt"/>
              </a:rPr>
            </a:br>
            <a:r>
              <a:rPr lang="ru-RU" altLang="en-US" sz="1000">
                <a:solidFill>
                  <a:schemeClr val="bg1"/>
                </a:solidFill>
                <a:effectLst/>
                <a:latin typeface="+mn-lt"/>
              </a:rPr>
              <a:t>(</a:t>
            </a:r>
            <a:fld id="{564BB153-E568-4A3B-AF67-32B7B80A1420}" type="datetime'1''''''''''''''''8''''''%'''''''''''''">
              <a:rPr lang="ru-RU" altLang="en-US" sz="1000" smtClean="0">
                <a:solidFill>
                  <a:schemeClr val="bg1"/>
                </a:solidFill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%</a:t>
            </a:fld>
            <a:r>
              <a:rPr lang="ru-RU" altLang="en-US" sz="1000">
                <a:solidFill>
                  <a:schemeClr val="bg1"/>
                </a:solidFill>
                <a:effectLst/>
                <a:latin typeface="+mn-lt"/>
              </a:rPr>
              <a:t>)</a:t>
            </a:r>
            <a:endParaRPr lang="ru-RU" sz="1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00A47254-B50E-ADC3-1FD2-746F8726412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582738" y="5586413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FAF0151-2250-4DDC-BBA9-F0A10EE3F2B0}" type="datetime'''''2''''''''''''''0''2''''''3'''''''''''''''''">
              <a:rPr lang="ru-RU" altLang="en-US" sz="1000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ru-RU" sz="1000" dirty="0">
              <a:latin typeface="+mn-lt"/>
            </a:endParaRPr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id="{A03AD7F7-93AE-9D00-DE5A-CBB6E156CF2C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401888" y="4056063"/>
            <a:ext cx="4476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58C00EF-5560-4964-BC21-1E12A1212954}" type="datetime'''''2'''''''''''''''''''''''''' ''''''''''6''''''''''1''4'''''">
              <a:rPr lang="ru-RU" altLang="en-US" sz="1000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 614</a:t>
            </a:fld>
            <a:br>
              <a:rPr lang="ru-RU" altLang="en-US" sz="1000">
                <a:effectLst/>
                <a:latin typeface="+mn-lt"/>
              </a:rPr>
            </a:br>
            <a:r>
              <a:rPr lang="ru-RU" altLang="en-US" sz="1000">
                <a:effectLst/>
                <a:latin typeface="+mn-lt"/>
              </a:rPr>
              <a:t>(</a:t>
            </a:r>
            <a:fld id="{75394C13-003B-4ABC-BD63-A0A108974CCA}" type="datetime'''''6''''''''''''6''%'''''''''''''''''''''''">
              <a:rPr lang="ru-RU" altLang="en-US" sz="1000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6%</a:t>
            </a:fld>
            <a:r>
              <a:rPr lang="ru-RU" altLang="en-US" sz="1000">
                <a:effectLst/>
                <a:latin typeface="+mn-lt"/>
              </a:rPr>
              <a:t>)</a:t>
            </a:r>
            <a:endParaRPr lang="ru-RU" sz="1000" dirty="0">
              <a:latin typeface="+mn-lt"/>
            </a:endParaRPr>
          </a:p>
        </p:txBody>
      </p:sp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7DAB6F5B-098D-1D87-58AB-60CDE603DCE9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401888" y="5153025"/>
            <a:ext cx="4476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3E773B4-25A7-4D87-A2E6-D856A5E21B05}" type="datetime'''''''''''7''''''''''''''''''''2''''''0'''''">
              <a:rPr lang="ru-RU" altLang="en-US" sz="1000" smtClean="0">
                <a:solidFill>
                  <a:schemeClr val="bg1"/>
                </a:solidFill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20</a:t>
            </a:fld>
            <a:br>
              <a:rPr lang="ru-RU" altLang="en-US" sz="1000">
                <a:solidFill>
                  <a:schemeClr val="bg1"/>
                </a:solidFill>
                <a:latin typeface="+mn-lt"/>
              </a:rPr>
            </a:br>
            <a:r>
              <a:rPr lang="ru-RU" altLang="en-US" sz="1000">
                <a:solidFill>
                  <a:schemeClr val="bg1"/>
                </a:solidFill>
                <a:latin typeface="+mn-lt"/>
              </a:rPr>
              <a:t>(</a:t>
            </a:r>
            <a:fld id="{0D5D006A-EC63-4D98-8095-C7282D549FBF}" type="datetime'''1''''''''''''''''''''''''''''''''''''''''''''''''8''%'''''">
              <a:rPr lang="ru-RU" altLang="en-US" sz="1000" smtClean="0">
                <a:solidFill>
                  <a:schemeClr val="bg1"/>
                </a:solidFill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%</a:t>
            </a:fld>
            <a:r>
              <a:rPr lang="ru-RU" altLang="en-US" sz="1000">
                <a:solidFill>
                  <a:schemeClr val="bg1"/>
                </a:solidFill>
                <a:latin typeface="+mn-lt"/>
              </a:rPr>
              <a:t>)</a:t>
            </a:r>
            <a:endParaRPr lang="ru-RU" sz="1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2231FA73-18B3-38BD-1BB7-9F620FCE67A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2457450" y="5586413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2643BED-F679-4662-9F43-11A1A16735CE}" type="datetime'2''''''''0''2''''''''''''''''''''''''4'''''''''''''''''''''''">
              <a:rPr lang="ru-RU" altLang="en-US" sz="1000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ru-RU" sz="1000" dirty="0">
              <a:latin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049A318-B050-3BA2-B62A-1047451B0F6B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3276600" y="3911600"/>
            <a:ext cx="4476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73F2D8A-6519-4A58-81CF-9D745BAF2A3D}" type="datetime'''''2'''''''' ''''''''''''''8''8''''''''3'">
              <a:rPr lang="ru-RU" altLang="en-US" sz="1000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 883</a:t>
            </a:fld>
            <a:br>
              <a:rPr lang="ru-RU" altLang="en-US" sz="1000">
                <a:effectLst/>
                <a:latin typeface="+mn-lt"/>
              </a:rPr>
            </a:br>
            <a:r>
              <a:rPr lang="ru-RU" altLang="en-US" sz="1000">
                <a:effectLst/>
                <a:latin typeface="+mn-lt"/>
              </a:rPr>
              <a:t>(</a:t>
            </a:r>
            <a:fld id="{0424CBA2-19E7-47D0-A06B-3D7A6149D412}" type="datetime'''''''''''''''''''''''''''''''''''''''6''''''6''%'''''''">
              <a:rPr lang="ru-RU" altLang="en-US" sz="1000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6%</a:t>
            </a:fld>
            <a:r>
              <a:rPr lang="ru-RU" altLang="en-US" sz="1000">
                <a:effectLst/>
                <a:latin typeface="+mn-lt"/>
              </a:rPr>
              <a:t>)</a:t>
            </a:r>
            <a:endParaRPr lang="ru-RU" sz="1000" dirty="0">
              <a:latin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76007C69-CE7B-F449-5C6D-43F1CFAEFD97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3276600" y="5126038"/>
            <a:ext cx="4476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547351D-164D-464D-89FA-7A63DFFFE3B9}" type="datetime'''''8''0''''''''''''''''''''''''''''''''''''''''''''6'">
              <a:rPr lang="ru-RU" altLang="en-US" sz="1000" smtClean="0">
                <a:solidFill>
                  <a:schemeClr val="bg1"/>
                </a:solidFill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06</a:t>
            </a:fld>
            <a:br>
              <a:rPr lang="ru-RU" altLang="en-US" sz="1000">
                <a:solidFill>
                  <a:schemeClr val="bg1"/>
                </a:solidFill>
                <a:latin typeface="+mn-lt"/>
              </a:rPr>
            </a:br>
            <a:r>
              <a:rPr lang="ru-RU" altLang="en-US" sz="1000">
                <a:solidFill>
                  <a:schemeClr val="bg1"/>
                </a:solidFill>
                <a:latin typeface="+mn-lt"/>
              </a:rPr>
              <a:t>(</a:t>
            </a:r>
            <a:fld id="{05A01EAF-A42E-4FEB-8404-2C10628A7545}" type="datetime'''''''''''''''18''''''''%'''''''''''''">
              <a:rPr lang="ru-RU" altLang="en-US" sz="1000" smtClean="0">
                <a:solidFill>
                  <a:schemeClr val="bg1"/>
                </a:solidFill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%</a:t>
            </a:fld>
            <a:r>
              <a:rPr lang="ru-RU" altLang="en-US" sz="1000">
                <a:solidFill>
                  <a:schemeClr val="bg1"/>
                </a:solidFill>
                <a:latin typeface="+mn-lt"/>
              </a:rPr>
              <a:t>)</a:t>
            </a:r>
            <a:endParaRPr lang="ru-RU" sz="1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647C530-F92D-233F-313D-36292DFC348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3332163" y="5586413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A6BA8D5-3FF8-458F-81F3-4A1732449555}" type="datetime'''''''''''2''''0''''''''''''''''''''25'">
              <a:rPr lang="ru-RU" altLang="en-US" sz="1000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ru-RU" sz="1000" dirty="0">
              <a:latin typeface="+mn-lt"/>
            </a:endParaRPr>
          </a:p>
        </p:txBody>
      </p:sp>
      <p:sp>
        <p:nvSpPr>
          <p:cNvPr id="48" name="Трапеция 47">
            <a:extLst>
              <a:ext uri="{FF2B5EF4-FFF2-40B4-BE49-F238E27FC236}">
                <a16:creationId xmlns:a16="http://schemas.microsoft.com/office/drawing/2014/main" id="{8D518254-FC34-DE01-557C-417EF1FA3BE0}"/>
              </a:ext>
            </a:extLst>
          </p:cNvPr>
          <p:cNvSpPr/>
          <p:nvPr/>
        </p:nvSpPr>
        <p:spPr>
          <a:xfrm rot="16200000">
            <a:off x="2398047" y="3545591"/>
            <a:ext cx="3564000" cy="755334"/>
          </a:xfrm>
          <a:prstGeom prst="trapezoid">
            <a:avLst>
              <a:gd name="adj" fmla="val 73250"/>
            </a:avLst>
          </a:prstGeom>
          <a:solidFill>
            <a:schemeClr val="bg1">
              <a:lumMod val="7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07" name="Группа 406">
            <a:extLst>
              <a:ext uri="{FF2B5EF4-FFF2-40B4-BE49-F238E27FC236}">
                <a16:creationId xmlns:a16="http://schemas.microsoft.com/office/drawing/2014/main" id="{763A0584-A8F8-D1DB-94B4-D1716C42D9DB}"/>
              </a:ext>
            </a:extLst>
          </p:cNvPr>
          <p:cNvGrpSpPr>
            <a:grpSpLocks noChangeAspect="1"/>
          </p:cNvGrpSpPr>
          <p:nvPr/>
        </p:nvGrpSpPr>
        <p:grpSpPr>
          <a:xfrm>
            <a:off x="12494" y="-16937"/>
            <a:ext cx="12192000" cy="1734900"/>
            <a:chOff x="0" y="142"/>
            <a:chExt cx="3048000" cy="433725"/>
          </a:xfrm>
        </p:grpSpPr>
        <p:pic>
          <p:nvPicPr>
            <p:cNvPr id="408" name="Рисунок 407">
              <a:extLst>
                <a:ext uri="{FF2B5EF4-FFF2-40B4-BE49-F238E27FC236}">
                  <a16:creationId xmlns:a16="http://schemas.microsoft.com/office/drawing/2014/main" id="{8164550C-18A7-C351-B0AB-DBB5B4AE8F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5"/>
            <a:srcRect t="37479" b="37479"/>
            <a:stretch/>
          </p:blipFill>
          <p:spPr>
            <a:xfrm>
              <a:off x="0" y="142"/>
              <a:ext cx="3048000" cy="429349"/>
            </a:xfrm>
            <a:prstGeom prst="rect">
              <a:avLst/>
            </a:prstGeom>
          </p:spPr>
        </p:pic>
        <p:sp>
          <p:nvSpPr>
            <p:cNvPr id="409" name="Прямоугольник 408">
              <a:extLst>
                <a:ext uri="{FF2B5EF4-FFF2-40B4-BE49-F238E27FC236}">
                  <a16:creationId xmlns:a16="http://schemas.microsoft.com/office/drawing/2014/main" id="{61EB010D-3C85-DD28-47BD-659D14B2A3C8}"/>
                </a:ext>
              </a:extLst>
            </p:cNvPr>
            <p:cNvSpPr/>
            <p:nvPr/>
          </p:nvSpPr>
          <p:spPr>
            <a:xfrm>
              <a:off x="0" y="915"/>
              <a:ext cx="3048000" cy="432952"/>
            </a:xfrm>
            <a:prstGeom prst="rect">
              <a:avLst/>
            </a:prstGeom>
            <a:gradFill>
              <a:gsLst>
                <a:gs pos="0">
                  <a:srgbClr val="0B1823">
                    <a:alpha val="63000"/>
                  </a:srgbClr>
                </a:gs>
                <a:gs pos="100000">
                  <a:srgbClr val="0B1823"/>
                </a:gs>
              </a:gsLst>
              <a:path path="circle">
                <a:fillToRect l="100000" b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09" name="Прямоугольник: скругленные углы 7">
            <a:extLst>
              <a:ext uri="{FF2B5EF4-FFF2-40B4-BE49-F238E27FC236}">
                <a16:creationId xmlns:a16="http://schemas.microsoft.com/office/drawing/2014/main" id="{1FB195B8-4CF6-EC22-9497-B5C8510E5388}"/>
              </a:ext>
            </a:extLst>
          </p:cNvPr>
          <p:cNvSpPr>
            <a:spLocks/>
          </p:cNvSpPr>
          <p:nvPr/>
        </p:nvSpPr>
        <p:spPr>
          <a:xfrm>
            <a:off x="4083626" y="1290919"/>
            <a:ext cx="5746174" cy="4887878"/>
          </a:xfrm>
          <a:prstGeom prst="roundRect">
            <a:avLst>
              <a:gd name="adj" fmla="val 4540"/>
            </a:avLst>
          </a:prstGeom>
          <a:solidFill>
            <a:schemeClr val="bg1"/>
          </a:solidFill>
          <a:ln>
            <a:solidFill>
              <a:schemeClr val="bg1">
                <a:lumMod val="95000"/>
                <a:alpha val="90000"/>
              </a:schemeClr>
            </a:solidFill>
          </a:ln>
          <a:effectLst>
            <a:outerShdw blurRad="254000" dist="127000" dir="2700000" algn="ctr" rotWithShape="0">
              <a:srgbClr val="C8CBDE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Verdana"/>
            </a:endParaRPr>
          </a:p>
        </p:txBody>
      </p:sp>
      <p:sp>
        <p:nvSpPr>
          <p:cNvPr id="53" name="Текст 52">
            <a:extLst>
              <a:ext uri="{FF2B5EF4-FFF2-40B4-BE49-F238E27FC236}">
                <a16:creationId xmlns:a16="http://schemas.microsoft.com/office/drawing/2014/main" id="{5C4B573A-B1B8-681D-4DE9-ABA973339BC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295" y="6273800"/>
            <a:ext cx="10739325" cy="195814"/>
          </a:xfrm>
        </p:spPr>
        <p:txBody>
          <a:bodyPr/>
          <a:lstStyle/>
          <a:p>
            <a:r>
              <a:rPr lang="ru-RU" dirty="0"/>
              <a:t>1 — информационная безопасность.</a:t>
            </a:r>
          </a:p>
        </p:txBody>
      </p:sp>
      <p:sp>
        <p:nvSpPr>
          <p:cNvPr id="54" name="Текст 53">
            <a:extLst>
              <a:ext uri="{FF2B5EF4-FFF2-40B4-BE49-F238E27FC236}">
                <a16:creationId xmlns:a16="http://schemas.microsoft.com/office/drawing/2014/main" id="{B25E9FF7-D3A8-6A32-2D03-827D2D4F888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4295" y="6522684"/>
            <a:ext cx="10739325" cy="195814"/>
          </a:xfrm>
        </p:spPr>
        <p:txBody>
          <a:bodyPr/>
          <a:lstStyle/>
          <a:p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430" name="Текст 429">
            <a:extLst>
              <a:ext uri="{FF2B5EF4-FFF2-40B4-BE49-F238E27FC236}">
                <a16:creationId xmlns:a16="http://schemas.microsoft.com/office/drawing/2014/main" id="{C72B7217-98EB-EF54-C1FB-C283E8E382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Российский рынок ИТ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5987880-EF49-EB20-E8C8-9B4DAA571F7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556375" y="5226050"/>
            <a:ext cx="1546225" cy="792163"/>
          </a:xfrm>
          <a:prstGeom prst="rect">
            <a:avLst/>
          </a:prstGeom>
          <a:solidFill>
            <a:srgbClr val="E6E6E6"/>
          </a:solid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F26DB335-0849-E074-98F2-9A04AC28CFBD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5946775" y="5226050"/>
            <a:ext cx="609600" cy="792163"/>
          </a:xfrm>
          <a:prstGeom prst="rect">
            <a:avLst/>
          </a:prstGeom>
          <a:solidFill>
            <a:srgbClr val="C0C0C0"/>
          </a:solid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D79283AE-086B-EF0B-D56A-995E3D554B37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5103813" y="5226050"/>
            <a:ext cx="842963" cy="792163"/>
          </a:xfrm>
          <a:prstGeom prst="rect">
            <a:avLst/>
          </a:prstGeom>
          <a:solidFill>
            <a:srgbClr val="C1C8EE"/>
          </a:solid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65BBDE14-9D8B-4C60-8C69-9136CF23BED7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4197350" y="5226050"/>
            <a:ext cx="906463" cy="792163"/>
          </a:xfrm>
          <a:prstGeom prst="rect">
            <a:avLst/>
          </a:prstGeom>
          <a:solidFill>
            <a:srgbClr val="02406A"/>
          </a:solid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55683010-862D-263C-3366-182B542614C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397750" y="2395538"/>
            <a:ext cx="704850" cy="2830513"/>
          </a:xfrm>
          <a:prstGeom prst="rect">
            <a:avLst/>
          </a:prstGeom>
          <a:solidFill>
            <a:srgbClr val="2386E9"/>
          </a:solid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id="{57E40D0B-A1EE-0F4D-A475-E218AF1E8A8F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243638" y="2395538"/>
            <a:ext cx="1154113" cy="2830513"/>
          </a:xfrm>
          <a:prstGeom prst="rect">
            <a:avLst/>
          </a:prstGeom>
          <a:solidFill>
            <a:srgbClr val="6EC0FC"/>
          </a:solid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1F748A64-1DD2-98E2-10D9-311702516858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197350" y="2395538"/>
            <a:ext cx="2046288" cy="2830513"/>
          </a:xfrm>
          <a:prstGeom prst="rect">
            <a:avLst/>
          </a:prstGeom>
          <a:solidFill>
            <a:srgbClr val="D2EBFD"/>
          </a:solid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C51C6B34-750A-BCFC-39C3-63D2F1EF5F8A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7265988" y="1717675"/>
            <a:ext cx="836613" cy="677863"/>
          </a:xfrm>
          <a:prstGeom prst="rect">
            <a:avLst/>
          </a:prstGeom>
          <a:solidFill>
            <a:srgbClr val="02CAD4"/>
          </a:solid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EDBAD330-145B-17AA-13A2-F5DFB7242E63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6215063" y="1717675"/>
            <a:ext cx="1050925" cy="677863"/>
          </a:xfrm>
          <a:prstGeom prst="rect">
            <a:avLst/>
          </a:prstGeom>
          <a:solidFill>
            <a:srgbClr val="1084A9"/>
          </a:solid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3B5A3ED8-B0C0-C8A4-DC5F-5F8E9E4B18C3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4197350" y="1717675"/>
            <a:ext cx="2017713" cy="677863"/>
          </a:xfrm>
          <a:prstGeom prst="rect">
            <a:avLst/>
          </a:prstGeom>
          <a:solidFill>
            <a:srgbClr val="9AF7FF"/>
          </a:solid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3D08786F-C405-767B-0588-4FD3584F6D8B}"/>
              </a:ext>
            </a:extLst>
          </p:cNvPr>
          <p:cNvCxnSpPr/>
          <p:nvPr>
            <p:custDataLst>
              <p:tags r:id="rId29"/>
            </p:custDataLst>
          </p:nvPr>
        </p:nvCxnSpPr>
        <p:spPr bwMode="white">
          <a:xfrm>
            <a:off x="4197350" y="1716088"/>
            <a:ext cx="0" cy="4303713"/>
          </a:xfrm>
          <a:prstGeom prst="line">
            <a:avLst/>
          </a:prstGeom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4FF8E57D-3F9D-04E8-B140-5B0345F79FFE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5005388" y="1782762"/>
            <a:ext cx="4016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366CF2A-A1AC-495A-B4F1-48020DF0B921}" type="datetime'''''5''''''''''''''2''''''''''%'''''''''''''">
              <a:rPr lang="ru-RU" altLang="en-US" smtClean="0">
                <a:effectLst/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2%</a:t>
            </a:fld>
            <a:endParaRPr lang="en-US" altLang="en-US" dirty="0">
              <a:effectLst/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altLang="en-US" dirty="0">
              <a:effectLst/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>
              <a:latin typeface="+mn-lt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FFD0E656-7A72-E265-8F72-D6AD0F41A58E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6540500" y="1782763"/>
            <a:ext cx="4016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12C16B8-0162-464C-8129-AF70F91B6B01}" type="datetime'''2''''''''''''''''7''''''%'''''''''''''''''''''''''''''''''">
              <a:rPr lang="ru-RU" altLang="en-US" smtClean="0">
                <a:solidFill>
                  <a:schemeClr val="bg1"/>
                </a:solidFill>
                <a:effectLst/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%</a:t>
            </a:fld>
            <a:endParaRPr lang="ru-RU" altLang="en-US" dirty="0">
              <a:solidFill>
                <a:schemeClr val="bg1"/>
              </a:solidFill>
              <a:effectLst/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chemeClr val="bg1"/>
              </a:solidFill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AECDECC6-4435-EB68-21BE-C9E09B501050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7483475" y="1782763"/>
            <a:ext cx="4016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2D2F384-EC80-496A-8868-49556F3BF821}" type="datetime'''''''''''''''''''''''''''''2''''''1%'''''''">
              <a:rPr lang="ru-RU" altLang="en-US" smtClean="0">
                <a:effectLst/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%</a:t>
            </a:fld>
            <a:endParaRPr lang="ru-RU" altLang="en-US" dirty="0">
              <a:effectLst/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DD6394E2-865A-FBBA-CC4F-29684514B73B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6619875" y="3719513"/>
            <a:ext cx="401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BB13183-B828-417D-B8B3-92D5C0EC434D}" type="datetime'''''3''''0''''''''''''''''''%'''''''''''">
              <a:rPr lang="ru-RU" altLang="en-US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%</a:t>
            </a:fld>
            <a:endParaRPr lang="ru-RU" dirty="0">
              <a:latin typeface="+mn-lt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6F1EAFD7-B12F-645A-165F-5FEC0D5143FB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5019675" y="3719513"/>
            <a:ext cx="401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8702A26-2855-4517-94B7-1B7B1B3BE591}" type="datetime'''5''''''''''2%'''''''''''''''''''''''''''''''''''''''''''">
              <a:rPr lang="ru-RU" altLang="en-US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2%</a:t>
            </a:fld>
            <a:endParaRPr lang="ru-RU" dirty="0">
              <a:latin typeface="+mn-lt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6C9CD054-E645-B9A9-55A5-EE10079887D0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7550150" y="3719513"/>
            <a:ext cx="401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59BC9E-8F9E-4777-AA24-550F721108B7}" type="datetime'''''''''''''''''''''1''''8%'''''''''''''">
              <a:rPr lang="ru-RU" altLang="en-US" smtClean="0">
                <a:solidFill>
                  <a:schemeClr val="bg1"/>
                </a:solidFill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%</a:t>
            </a:fld>
            <a:endParaRPr lang="ru-RU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E43495B6-A832-7D4A-2727-B7771F8120A0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4449763" y="5348287"/>
            <a:ext cx="4016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85455D1-ECF3-45FA-8E67-73C7F0AACD81}" type="datetime'''''''''''''2''''''''''''''''''''''3''%'''''''''''''''''''''''">
              <a:rPr lang="ru-RU" altLang="en-US" smtClean="0">
                <a:solidFill>
                  <a:schemeClr val="bg1"/>
                </a:solidFill>
                <a:effectLst/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3%</a:t>
            </a:fld>
            <a:endParaRPr lang="ru-RU" altLang="en-US" dirty="0">
              <a:solidFill>
                <a:schemeClr val="bg1"/>
              </a:solidFill>
              <a:effectLst/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altLang="en-US" dirty="0">
              <a:solidFill>
                <a:schemeClr val="bg1"/>
              </a:solidFill>
              <a:effectLst/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4C52C740-06F7-7B5F-9121-F416E1710972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324475" y="5348287"/>
            <a:ext cx="4016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2205B82-4B43-417A-9BF1-7AD7E3F328E8}" type="datetime'''''''''''''''''''''''''''''''''''''2''''''''''''''''''2%'">
              <a:rPr lang="ru-RU" altLang="en-US" smtClean="0">
                <a:effectLst/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2%</a:t>
            </a:fld>
            <a:endParaRPr lang="ru-RU" altLang="en-US" dirty="0">
              <a:effectLst/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altLang="en-US" dirty="0">
              <a:effectLst/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>
              <a:latin typeface="+mn-lt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AA1832EF-D73F-75CB-92E3-BB2D2CDD8A1F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6051550" y="5348287"/>
            <a:ext cx="4016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EC0FC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8EEA472-5C6D-4E47-8759-BD810760F3AD}" type="datetime'''''''1''''6''''''''''''''''''''''''''''''''''''''''''''%'''''">
              <a:rPr lang="ru-RU" altLang="en-US" smtClean="0">
                <a:effectLst/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%</a:t>
            </a:fld>
            <a:endParaRPr lang="ru-RU" altLang="en-US" dirty="0">
              <a:effectLst/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altLang="en-US" dirty="0">
              <a:effectLst/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>
              <a:latin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6A545B0-4E19-AD01-871E-448067819FF0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129463" y="5348287"/>
            <a:ext cx="4016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26B6758-91D6-4D78-A4F0-AC5AAD4B6C18}" type="datetime'''''''''''''''''4''''''''''''''''0''%'''''''''''''''''''">
              <a:rPr lang="ru-RU" altLang="en-US" smtClean="0">
                <a:latin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%</a:t>
            </a:fld>
            <a:endParaRPr lang="ru-RU" altLang="en-US" dirty="0"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altLang="en-US" dirty="0">
              <a:latin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>
              <a:latin typeface="+mn-lt"/>
            </a:endParaRPr>
          </a:p>
        </p:txBody>
      </p:sp>
      <p:graphicFrame>
        <p:nvGraphicFramePr>
          <p:cNvPr id="379" name="Таблица 378">
            <a:extLst>
              <a:ext uri="{FF2B5EF4-FFF2-40B4-BE49-F238E27FC236}">
                <a16:creationId xmlns:a16="http://schemas.microsoft.com/office/drawing/2014/main" id="{6D83001B-AA60-4FE6-F642-E1D841E3A2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6478290"/>
              </p:ext>
            </p:extLst>
          </p:nvPr>
        </p:nvGraphicFramePr>
        <p:xfrm>
          <a:off x="8140700" y="1325910"/>
          <a:ext cx="1600200" cy="4674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7771">
                  <a:extLst>
                    <a:ext uri="{9D8B030D-6E8A-4147-A177-3AD203B41FA5}">
                      <a16:colId xmlns:a16="http://schemas.microsoft.com/office/drawing/2014/main" val="2329687294"/>
                    </a:ext>
                  </a:extLst>
                </a:gridCol>
                <a:gridCol w="572429">
                  <a:extLst>
                    <a:ext uri="{9D8B030D-6E8A-4147-A177-3AD203B41FA5}">
                      <a16:colId xmlns:a16="http://schemas.microsoft.com/office/drawing/2014/main" val="1534828259"/>
                    </a:ext>
                  </a:extLst>
                </a:gridCol>
              </a:tblGrid>
              <a:tr h="406652">
                <a:tc>
                  <a:txBody>
                    <a:bodyPr/>
                    <a:lstStyle/>
                    <a:p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Сегмент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CAGR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</a:rPr>
                        <a:t>22</a:t>
                      </a:r>
                      <a:r>
                        <a:rPr lang="lv-LV" sz="1000" b="0" dirty="0">
                          <a:solidFill>
                            <a:schemeClr val="tx1"/>
                          </a:solidFill>
                        </a:rPr>
                        <a:t>–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5528896"/>
                  </a:ext>
                </a:extLst>
              </a:tr>
              <a:tr h="667738">
                <a:tc>
                  <a:txBody>
                    <a:bodyPr/>
                    <a:lstStyle/>
                    <a:p>
                      <a:r>
                        <a:rPr lang="ru-RU" sz="1000" b="0" dirty="0">
                          <a:solidFill>
                            <a:schemeClr val="tx1"/>
                          </a:solidFill>
                        </a:rPr>
                        <a:t>Программное обеспечение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19%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743476"/>
                  </a:ext>
                </a:extLst>
              </a:tr>
              <a:tr h="2860189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</a:rPr>
                        <a:t>Выч. техника и телеком. оборудование</a:t>
                      </a:r>
                    </a:p>
                    <a:p>
                      <a:r>
                        <a:rPr lang="ru-RU" sz="1000" b="0" dirty="0">
                          <a:solidFill>
                            <a:schemeClr val="tx1"/>
                          </a:solidFill>
                        </a:rPr>
                        <a:t>(ВТ и ТКО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16%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805344"/>
                  </a:ext>
                </a:extLst>
              </a:tr>
              <a:tr h="740261">
                <a:tc>
                  <a:txBody>
                    <a:bodyPr/>
                    <a:lstStyle/>
                    <a:p>
                      <a:r>
                        <a:rPr lang="ru-RU" sz="1000" b="0" dirty="0">
                          <a:solidFill>
                            <a:schemeClr val="tx1"/>
                          </a:solidFill>
                        </a:rPr>
                        <a:t>ИТ-услуги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19%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114592"/>
                  </a:ext>
                </a:extLst>
              </a:tr>
            </a:tbl>
          </a:graphicData>
        </a:graphic>
      </p:graphicFrame>
      <p:sp>
        <p:nvSpPr>
          <p:cNvPr id="383" name="TextBox 382">
            <a:extLst>
              <a:ext uri="{FF2B5EF4-FFF2-40B4-BE49-F238E27FC236}">
                <a16:creationId xmlns:a16="http://schemas.microsoft.com/office/drawing/2014/main" id="{820EB47E-EA68-542B-BE1E-761FF3A76707}"/>
              </a:ext>
            </a:extLst>
          </p:cNvPr>
          <p:cNvSpPr txBox="1"/>
          <p:nvPr/>
        </p:nvSpPr>
        <p:spPr>
          <a:xfrm>
            <a:off x="4214813" y="1396497"/>
            <a:ext cx="2620963" cy="24606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ru-RU" sz="1000" b="1" dirty="0"/>
              <a:t>Структура ИТ-рынка в 2025 г.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7BE26EB1-1292-8250-6928-D7E076D60B8D}"/>
              </a:ext>
            </a:extLst>
          </p:cNvPr>
          <p:cNvSpPr txBox="1"/>
          <p:nvPr/>
        </p:nvSpPr>
        <p:spPr>
          <a:xfrm>
            <a:off x="4627562" y="1973608"/>
            <a:ext cx="1130300" cy="2916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ru-RU" sz="1000" dirty="0"/>
              <a:t>Прикладное </a:t>
            </a:r>
            <a:br>
              <a:rPr lang="ru-RU" sz="1000" dirty="0"/>
            </a:br>
            <a:r>
              <a:rPr lang="ru-RU" sz="1000" dirty="0"/>
              <a:t>ПО</a:t>
            </a:r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id="{32868F7D-BD89-47C5-A013-B4E4C21510CD}"/>
              </a:ext>
            </a:extLst>
          </p:cNvPr>
          <p:cNvSpPr txBox="1"/>
          <p:nvPr/>
        </p:nvSpPr>
        <p:spPr>
          <a:xfrm>
            <a:off x="6296024" y="1974180"/>
            <a:ext cx="915988" cy="29045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1000" dirty="0" err="1">
                <a:solidFill>
                  <a:schemeClr val="bg1"/>
                </a:solidFill>
              </a:rPr>
              <a:t>Инфраструк</a:t>
            </a:r>
            <a:r>
              <a:rPr lang="ru-RU" sz="1000" dirty="0">
                <a:solidFill>
                  <a:schemeClr val="bg1"/>
                </a:solidFill>
              </a:rPr>
              <a:t>-</a:t>
            </a:r>
            <a:br>
              <a:rPr lang="ru-RU" sz="1000" dirty="0">
                <a:solidFill>
                  <a:schemeClr val="bg1"/>
                </a:solidFill>
              </a:rPr>
            </a:br>
            <a:r>
              <a:rPr lang="ru-RU" sz="1000" dirty="0" err="1">
                <a:solidFill>
                  <a:schemeClr val="bg1"/>
                </a:solidFill>
              </a:rPr>
              <a:t>турное</a:t>
            </a:r>
            <a:r>
              <a:rPr lang="ru-RU" sz="1000" dirty="0">
                <a:solidFill>
                  <a:schemeClr val="bg1"/>
                </a:solidFill>
              </a:rPr>
              <a:t> ПО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B46567CB-FF34-DC67-B4AA-2BDE594EF3EF}"/>
              </a:ext>
            </a:extLst>
          </p:cNvPr>
          <p:cNvSpPr txBox="1"/>
          <p:nvPr/>
        </p:nvSpPr>
        <p:spPr>
          <a:xfrm>
            <a:off x="7305675" y="1973608"/>
            <a:ext cx="785813" cy="291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1000" dirty="0"/>
              <a:t>ПО </a:t>
            </a:r>
            <a:br>
              <a:rPr lang="en-US" sz="1000" dirty="0"/>
            </a:br>
            <a:r>
              <a:rPr lang="ru-RU" sz="1000" dirty="0"/>
              <a:t>для ИБ</a:t>
            </a:r>
            <a:r>
              <a:rPr lang="ru-RU" sz="1000" baseline="30000" dirty="0"/>
              <a:t>1</a:t>
            </a:r>
          </a:p>
        </p:txBody>
      </p:sp>
      <p:sp>
        <p:nvSpPr>
          <p:cNvPr id="397" name="TextBox 396">
            <a:extLst>
              <a:ext uri="{FF2B5EF4-FFF2-40B4-BE49-F238E27FC236}">
                <a16:creationId xmlns:a16="http://schemas.microsoft.com/office/drawing/2014/main" id="{88A08691-DB4C-9C9B-28F3-CA1DBF546820}"/>
              </a:ext>
            </a:extLst>
          </p:cNvPr>
          <p:cNvSpPr txBox="1"/>
          <p:nvPr/>
        </p:nvSpPr>
        <p:spPr>
          <a:xfrm>
            <a:off x="4489450" y="4010165"/>
            <a:ext cx="1406525" cy="32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1000" dirty="0"/>
              <a:t>Потребительская электроника</a:t>
            </a:r>
          </a:p>
        </p:txBody>
      </p:sp>
      <p:sp>
        <p:nvSpPr>
          <p:cNvPr id="398" name="TextBox 397">
            <a:extLst>
              <a:ext uri="{FF2B5EF4-FFF2-40B4-BE49-F238E27FC236}">
                <a16:creationId xmlns:a16="http://schemas.microsoft.com/office/drawing/2014/main" id="{0BF39F98-0035-4AC0-BF7E-B5B555953EF4}"/>
              </a:ext>
            </a:extLst>
          </p:cNvPr>
          <p:cNvSpPr txBox="1"/>
          <p:nvPr/>
        </p:nvSpPr>
        <p:spPr>
          <a:xfrm>
            <a:off x="7416800" y="4010165"/>
            <a:ext cx="666750" cy="32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</a:rPr>
              <a:t>ПАК</a:t>
            </a: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83BB4DE6-5B25-0651-F5A9-0FCD291847F2}"/>
              </a:ext>
            </a:extLst>
          </p:cNvPr>
          <p:cNvSpPr txBox="1"/>
          <p:nvPr/>
        </p:nvSpPr>
        <p:spPr>
          <a:xfrm>
            <a:off x="6326188" y="4010165"/>
            <a:ext cx="1004888" cy="32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1000" dirty="0"/>
              <a:t>Инфраструкт. оборудование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4CD65988-D245-6630-88AD-A653BB2460DC}"/>
              </a:ext>
            </a:extLst>
          </p:cNvPr>
          <p:cNvSpPr txBox="1"/>
          <p:nvPr/>
        </p:nvSpPr>
        <p:spPr>
          <a:xfrm>
            <a:off x="6951663" y="5529263"/>
            <a:ext cx="665163" cy="2301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1000" dirty="0"/>
              <a:t>Прочее</a:t>
            </a:r>
          </a:p>
        </p:txBody>
      </p:sp>
      <p:sp>
        <p:nvSpPr>
          <p:cNvPr id="401" name="TextBox 400">
            <a:extLst>
              <a:ext uri="{FF2B5EF4-FFF2-40B4-BE49-F238E27FC236}">
                <a16:creationId xmlns:a16="http://schemas.microsoft.com/office/drawing/2014/main" id="{96409722-CCFE-0A23-DBE6-E8875AF0A6F9}"/>
              </a:ext>
            </a:extLst>
          </p:cNvPr>
          <p:cNvSpPr txBox="1"/>
          <p:nvPr/>
        </p:nvSpPr>
        <p:spPr>
          <a:xfrm>
            <a:off x="4181475" y="5549801"/>
            <a:ext cx="919163" cy="3683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</a:rPr>
              <a:t>Заказная разработка</a:t>
            </a:r>
          </a:p>
        </p:txBody>
      </p:sp>
      <p:sp>
        <p:nvSpPr>
          <p:cNvPr id="402" name="TextBox 401">
            <a:extLst>
              <a:ext uri="{FF2B5EF4-FFF2-40B4-BE49-F238E27FC236}">
                <a16:creationId xmlns:a16="http://schemas.microsoft.com/office/drawing/2014/main" id="{37B1A41F-14FF-2D9B-267A-FDDCEC68FA55}"/>
              </a:ext>
            </a:extLst>
          </p:cNvPr>
          <p:cNvSpPr txBox="1"/>
          <p:nvPr/>
        </p:nvSpPr>
        <p:spPr>
          <a:xfrm>
            <a:off x="5106988" y="5549801"/>
            <a:ext cx="839788" cy="3683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1000" dirty="0"/>
              <a:t>Облачные сервисы</a:t>
            </a:r>
          </a:p>
        </p:txBody>
      </p:sp>
      <p:sp>
        <p:nvSpPr>
          <p:cNvPr id="403" name="TextBox 402">
            <a:extLst>
              <a:ext uri="{FF2B5EF4-FFF2-40B4-BE49-F238E27FC236}">
                <a16:creationId xmlns:a16="http://schemas.microsoft.com/office/drawing/2014/main" id="{685564BA-5F44-00C8-B3B6-6A7163183AD2}"/>
              </a:ext>
            </a:extLst>
          </p:cNvPr>
          <p:cNvSpPr txBox="1"/>
          <p:nvPr/>
        </p:nvSpPr>
        <p:spPr>
          <a:xfrm>
            <a:off x="5951538" y="5549801"/>
            <a:ext cx="608013" cy="3683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1000" spc="-20" dirty="0"/>
              <a:t>Техпод</a:t>
            </a:r>
            <a:r>
              <a:rPr lang="en-US" sz="1000" spc="-20" dirty="0"/>
              <a:t>-</a:t>
            </a:r>
            <a:r>
              <a:rPr lang="ru-RU" sz="1000" spc="-20" dirty="0"/>
              <a:t>держка</a:t>
            </a:r>
          </a:p>
        </p:txBody>
      </p:sp>
      <p:sp>
        <p:nvSpPr>
          <p:cNvPr id="421" name="TextBox 420">
            <a:extLst>
              <a:ext uri="{FF2B5EF4-FFF2-40B4-BE49-F238E27FC236}">
                <a16:creationId xmlns:a16="http://schemas.microsoft.com/office/drawing/2014/main" id="{E9CA692A-2642-84F1-24D9-A1A7D7EAABAC}"/>
              </a:ext>
            </a:extLst>
          </p:cNvPr>
          <p:cNvSpPr txBox="1"/>
          <p:nvPr/>
        </p:nvSpPr>
        <p:spPr>
          <a:xfrm>
            <a:off x="440125" y="1860442"/>
            <a:ext cx="312394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b="1" dirty="0">
                <a:solidFill>
                  <a:prstClr val="black"/>
                </a:solidFill>
              </a:rPr>
              <a:t>Динамика российского ИТ-рынка, </a:t>
            </a:r>
            <a:br>
              <a:rPr lang="en-US" sz="1200" b="1" dirty="0">
                <a:solidFill>
                  <a:prstClr val="black"/>
                </a:solidFill>
              </a:rPr>
            </a:br>
            <a:r>
              <a:rPr lang="ru-RU" sz="1200" dirty="0">
                <a:solidFill>
                  <a:prstClr val="black"/>
                </a:solidFill>
              </a:rPr>
              <a:t>2022</a:t>
            </a:r>
            <a:r>
              <a:rPr lang="lv-LV" sz="1200" dirty="0">
                <a:solidFill>
                  <a:prstClr val="black"/>
                </a:solidFill>
              </a:rPr>
              <a:t>–</a:t>
            </a:r>
            <a:r>
              <a:rPr lang="ru-RU" sz="1200" dirty="0">
                <a:solidFill>
                  <a:prstClr val="black"/>
                </a:solidFill>
              </a:rPr>
              <a:t>2025 гг., млрд руб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36A403-A705-0231-4BF1-D5ABADE20FB2}"/>
              </a:ext>
            </a:extLst>
          </p:cNvPr>
          <p:cNvSpPr txBox="1"/>
          <p:nvPr/>
        </p:nvSpPr>
        <p:spPr>
          <a:xfrm>
            <a:off x="10046625" y="2016483"/>
            <a:ext cx="1751531" cy="251373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ru-RU" sz="1400" dirty="0"/>
              <a:t>Темп роста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03F9EC-B064-78E0-5E7F-98CDBCB12DD1}"/>
              </a:ext>
            </a:extLst>
          </p:cNvPr>
          <p:cNvSpPr txBox="1"/>
          <p:nvPr/>
        </p:nvSpPr>
        <p:spPr>
          <a:xfrm>
            <a:off x="10046625" y="3741115"/>
            <a:ext cx="1751531" cy="157111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spcAft>
                <a:spcPts val="1800"/>
              </a:spcAft>
            </a:pPr>
            <a:r>
              <a:rPr lang="ru-RU" sz="1400" dirty="0"/>
              <a:t>Самые быстрорастущие сегменты: </a:t>
            </a:r>
          </a:p>
          <a:p>
            <a:pPr marL="216000" indent="-216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ИТ-услуги </a:t>
            </a:r>
          </a:p>
          <a:p>
            <a:pPr marL="216000" indent="-216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Программное обеспечение</a:t>
            </a: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7184096B-6641-93C2-F946-48440E29187A}"/>
              </a:ext>
            </a:extLst>
          </p:cNvPr>
          <p:cNvSpPr txBox="1">
            <a:spLocks/>
          </p:cNvSpPr>
          <p:nvPr/>
        </p:nvSpPr>
        <p:spPr>
          <a:xfrm>
            <a:off x="442913" y="451664"/>
            <a:ext cx="11302048" cy="779243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defRPr>
            </a:lvl1pPr>
          </a:lstStyle>
          <a:p>
            <a:pPr>
              <a:lnSpc>
                <a:spcPct val="130000"/>
              </a:lnSpc>
            </a:pPr>
            <a:r>
              <a:rPr lang="ru-RU" sz="4000" dirty="0">
                <a:solidFill>
                  <a:schemeClr val="bg1"/>
                </a:solidFill>
              </a:rPr>
              <a:t>Рост российского ИТ-рынка замедляется</a:t>
            </a:r>
            <a:endParaRPr lang="ru-RU" sz="4400" dirty="0">
              <a:solidFill>
                <a:schemeClr val="bg1"/>
              </a:solidFill>
            </a:endParaRPr>
          </a:p>
        </p:txBody>
      </p:sp>
      <p:sp>
        <p:nvSpPr>
          <p:cNvPr id="71" name="Заголовок 1">
            <a:extLst>
              <a:ext uri="{FF2B5EF4-FFF2-40B4-BE49-F238E27FC236}">
                <a16:creationId xmlns:a16="http://schemas.microsoft.com/office/drawing/2014/main" id="{24F4758A-7B3A-B09C-781F-09B6DF09970D}"/>
              </a:ext>
            </a:extLst>
          </p:cNvPr>
          <p:cNvSpPr txBox="1">
            <a:spLocks/>
          </p:cNvSpPr>
          <p:nvPr/>
        </p:nvSpPr>
        <p:spPr>
          <a:xfrm>
            <a:off x="10046625" y="2166256"/>
            <a:ext cx="1528762" cy="749983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17%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B Sans Text Semibold" panose="020B0703040504020204" pitchFamily="34" charset="-52"/>
              <a:sym typeface="Verdana" panose="020B060403050404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F3424A6-B513-13F0-EECB-F8F42D6A34D3}"/>
              </a:ext>
            </a:extLst>
          </p:cNvPr>
          <p:cNvSpPr txBox="1"/>
          <p:nvPr/>
        </p:nvSpPr>
        <p:spPr>
          <a:xfrm>
            <a:off x="10046625" y="3102692"/>
            <a:ext cx="1862800" cy="26825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ru-RU" sz="1400" dirty="0"/>
              <a:t>в 2022</a:t>
            </a:r>
            <a:r>
              <a:rPr lang="lv-LV" sz="1400" dirty="0"/>
              <a:t>–</a:t>
            </a:r>
            <a:r>
              <a:rPr lang="ru-RU" sz="1400" dirty="0"/>
              <a:t>2025 гг.</a:t>
            </a:r>
          </a:p>
        </p:txBody>
      </p:sp>
      <p:grpSp>
        <p:nvGrpSpPr>
          <p:cNvPr id="155" name="Группа 154">
            <a:extLst>
              <a:ext uri="{FF2B5EF4-FFF2-40B4-BE49-F238E27FC236}">
                <a16:creationId xmlns:a16="http://schemas.microsoft.com/office/drawing/2014/main" id="{6A310A1A-D738-2869-277A-EBED57307812}"/>
              </a:ext>
            </a:extLst>
          </p:cNvPr>
          <p:cNvGrpSpPr/>
          <p:nvPr/>
        </p:nvGrpSpPr>
        <p:grpSpPr>
          <a:xfrm>
            <a:off x="442697" y="5953587"/>
            <a:ext cx="2908789" cy="246221"/>
            <a:chOff x="823697" y="5636087"/>
            <a:chExt cx="2908789" cy="246221"/>
          </a:xfrm>
        </p:grpSpPr>
        <p:grpSp>
          <p:nvGrpSpPr>
            <p:cNvPr id="156" name="Группа 155">
              <a:extLst>
                <a:ext uri="{FF2B5EF4-FFF2-40B4-BE49-F238E27FC236}">
                  <a16:creationId xmlns:a16="http://schemas.microsoft.com/office/drawing/2014/main" id="{00610C78-B63E-1882-3100-B6F3B06828F2}"/>
                </a:ext>
              </a:extLst>
            </p:cNvPr>
            <p:cNvGrpSpPr/>
            <p:nvPr/>
          </p:nvGrpSpPr>
          <p:grpSpPr>
            <a:xfrm>
              <a:off x="823697" y="5636087"/>
              <a:ext cx="914616" cy="246221"/>
              <a:chOff x="823697" y="5636087"/>
              <a:chExt cx="914616" cy="246221"/>
            </a:xfrm>
          </p:grpSpPr>
          <p:sp>
            <p:nvSpPr>
              <p:cNvPr id="163" name="Прямоугольник: скругленные углы 162">
                <a:extLst>
                  <a:ext uri="{FF2B5EF4-FFF2-40B4-BE49-F238E27FC236}">
                    <a16:creationId xmlns:a16="http://schemas.microsoft.com/office/drawing/2014/main" id="{A25FE2EE-9FB0-2F2B-9AC0-C67D462CB163}"/>
                  </a:ext>
                </a:extLst>
              </p:cNvPr>
              <p:cNvSpPr/>
              <p:nvPr/>
            </p:nvSpPr>
            <p:spPr>
              <a:xfrm>
                <a:off x="823697" y="5636087"/>
                <a:ext cx="144000" cy="144000"/>
              </a:xfrm>
              <a:prstGeom prst="roundRect">
                <a:avLst>
                  <a:gd name="adj" fmla="val 24619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9B189CA6-7797-6EAF-4BF7-478D032BDBD1}"/>
                  </a:ext>
                </a:extLst>
              </p:cNvPr>
              <p:cNvSpPr txBox="1"/>
              <p:nvPr/>
            </p:nvSpPr>
            <p:spPr>
              <a:xfrm>
                <a:off x="1024263" y="5636087"/>
                <a:ext cx="714050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Программное обеспечение</a:t>
                </a:r>
              </a:p>
            </p:txBody>
          </p:sp>
        </p:grpSp>
        <p:grpSp>
          <p:nvGrpSpPr>
            <p:cNvPr id="157" name="Группа 156">
              <a:extLst>
                <a:ext uri="{FF2B5EF4-FFF2-40B4-BE49-F238E27FC236}">
                  <a16:creationId xmlns:a16="http://schemas.microsoft.com/office/drawing/2014/main" id="{F223B913-D97A-1E8E-502F-ACC6B7379F6B}"/>
                </a:ext>
              </a:extLst>
            </p:cNvPr>
            <p:cNvGrpSpPr/>
            <p:nvPr/>
          </p:nvGrpSpPr>
          <p:grpSpPr>
            <a:xfrm>
              <a:off x="1894614" y="5636087"/>
              <a:ext cx="1095258" cy="144000"/>
              <a:chOff x="1874538" y="5636087"/>
              <a:chExt cx="1095258" cy="144000"/>
            </a:xfrm>
          </p:grpSpPr>
          <p:sp>
            <p:nvSpPr>
              <p:cNvPr id="161" name="Прямоугольник: скругленные углы 160">
                <a:extLst>
                  <a:ext uri="{FF2B5EF4-FFF2-40B4-BE49-F238E27FC236}">
                    <a16:creationId xmlns:a16="http://schemas.microsoft.com/office/drawing/2014/main" id="{D113EBB9-3DD7-D6BB-2048-89D2F98C402E}"/>
                  </a:ext>
                </a:extLst>
              </p:cNvPr>
              <p:cNvSpPr/>
              <p:nvPr/>
            </p:nvSpPr>
            <p:spPr>
              <a:xfrm>
                <a:off x="1874538" y="5636087"/>
                <a:ext cx="144000" cy="144000"/>
              </a:xfrm>
              <a:prstGeom prst="roundRect">
                <a:avLst>
                  <a:gd name="adj" fmla="val 24619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TextBox 161">
                <a:extLst>
                  <a:ext uri="{FF2B5EF4-FFF2-40B4-BE49-F238E27FC236}">
                    <a16:creationId xmlns:a16="http://schemas.microsoft.com/office/drawing/2014/main" id="{A1E5CF3D-9194-79F3-6FFC-69699BB407BF}"/>
                  </a:ext>
                </a:extLst>
              </p:cNvPr>
              <p:cNvSpPr txBox="1"/>
              <p:nvPr/>
            </p:nvSpPr>
            <p:spPr>
              <a:xfrm>
                <a:off x="2075103" y="5636087"/>
                <a:ext cx="894693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ИТ-услуги</a:t>
                </a:r>
              </a:p>
            </p:txBody>
          </p:sp>
        </p:grpSp>
        <p:grpSp>
          <p:nvGrpSpPr>
            <p:cNvPr id="158" name="Группа 157">
              <a:extLst>
                <a:ext uri="{FF2B5EF4-FFF2-40B4-BE49-F238E27FC236}">
                  <a16:creationId xmlns:a16="http://schemas.microsoft.com/office/drawing/2014/main" id="{8583A056-50E0-6F61-A9F3-55567B5E926B}"/>
                </a:ext>
              </a:extLst>
            </p:cNvPr>
            <p:cNvGrpSpPr/>
            <p:nvPr/>
          </p:nvGrpSpPr>
          <p:grpSpPr>
            <a:xfrm>
              <a:off x="2826133" y="5636087"/>
              <a:ext cx="906353" cy="144000"/>
              <a:chOff x="2800301" y="5636087"/>
              <a:chExt cx="906353" cy="144000"/>
            </a:xfrm>
          </p:grpSpPr>
          <p:sp>
            <p:nvSpPr>
              <p:cNvPr id="159" name="Прямоугольник: скругленные углы 158">
                <a:extLst>
                  <a:ext uri="{FF2B5EF4-FFF2-40B4-BE49-F238E27FC236}">
                    <a16:creationId xmlns:a16="http://schemas.microsoft.com/office/drawing/2014/main" id="{5EE30B99-04A0-185D-977B-E135619147B4}"/>
                  </a:ext>
                </a:extLst>
              </p:cNvPr>
              <p:cNvSpPr/>
              <p:nvPr/>
            </p:nvSpPr>
            <p:spPr>
              <a:xfrm>
                <a:off x="2800301" y="5636087"/>
                <a:ext cx="144000" cy="144000"/>
              </a:xfrm>
              <a:prstGeom prst="roundRect">
                <a:avLst>
                  <a:gd name="adj" fmla="val 25944"/>
                </a:avLst>
              </a:prstGeom>
              <a:solidFill>
                <a:srgbClr val="1084A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EDE96288-0038-6E6A-6A09-7689CCC990A8}"/>
                  </a:ext>
                </a:extLst>
              </p:cNvPr>
              <p:cNvSpPr txBox="1"/>
              <p:nvPr/>
            </p:nvSpPr>
            <p:spPr>
              <a:xfrm>
                <a:off x="3000866" y="5636087"/>
                <a:ext cx="705788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ВТ и ТКО</a:t>
                </a:r>
              </a:p>
            </p:txBody>
          </p:sp>
        </p:grpSp>
      </p:grpSp>
      <p:sp>
        <p:nvSpPr>
          <p:cNvPr id="75" name="Прямоугольник: скругленные верхние углы 74">
            <a:extLst>
              <a:ext uri="{FF2B5EF4-FFF2-40B4-BE49-F238E27FC236}">
                <a16:creationId xmlns:a16="http://schemas.microsoft.com/office/drawing/2014/main" id="{C7ABA79B-EA05-BA78-03D5-77AC4CE2C25B}"/>
              </a:ext>
            </a:extLst>
          </p:cNvPr>
          <p:cNvSpPr/>
          <p:nvPr/>
        </p:nvSpPr>
        <p:spPr>
          <a:xfrm>
            <a:off x="3192495" y="2597150"/>
            <a:ext cx="607980" cy="511175"/>
          </a:xfrm>
          <a:prstGeom prst="round2SameRect">
            <a:avLst>
              <a:gd name="adj1" fmla="val 19279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altLang="en-US" sz="1000" spc="-20" dirty="0">
                <a:effectLst/>
                <a:latin typeface="+mn-lt"/>
                <a:ea typeface="+mn-ea"/>
              </a:rPr>
              <a:t>691</a:t>
            </a:r>
            <a:br>
              <a:rPr lang="ru-RU" altLang="en-US" sz="1000" dirty="0">
                <a:solidFill>
                  <a:schemeClr val="bg1"/>
                </a:solidFill>
                <a:effectLst/>
                <a:latin typeface="+mn-lt"/>
              </a:rPr>
            </a:br>
            <a:r>
              <a:rPr lang="ru-RU" altLang="en-US" sz="1000" dirty="0">
                <a:solidFill>
                  <a:schemeClr val="bg1"/>
                </a:solidFill>
                <a:effectLst/>
                <a:latin typeface="+mn-lt"/>
              </a:rPr>
              <a:t>(</a:t>
            </a:r>
            <a:fld id="{38A802D0-1EBE-408D-9A93-8FDD15B8AE33}" type="datetime'''''1''''6''''''''''''%'''''''''''''''''''">
              <a:rPr lang="ru-RU" altLang="en-US" sz="1000" smtClean="0">
                <a:solidFill>
                  <a:schemeClr val="bg1"/>
                </a:solidFill>
                <a:latin typeface="+mn-lt"/>
              </a:rPr>
              <a:pPr algn="ctr"/>
              <a:t>16%</a:t>
            </a:fld>
            <a:r>
              <a:rPr lang="ru-RU" altLang="en-US" sz="1000" dirty="0">
                <a:solidFill>
                  <a:schemeClr val="bg1"/>
                </a:solidFill>
                <a:effectLst/>
                <a:latin typeface="+mn-lt"/>
              </a:rPr>
              <a:t>)</a:t>
            </a:r>
            <a:endParaRPr lang="ru-RU" sz="1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8" name="Прямоугольник: скругленные верхние углы 117">
            <a:extLst>
              <a:ext uri="{FF2B5EF4-FFF2-40B4-BE49-F238E27FC236}">
                <a16:creationId xmlns:a16="http://schemas.microsoft.com/office/drawing/2014/main" id="{AD9270F7-3721-D8F0-1275-53145887C10C}"/>
              </a:ext>
            </a:extLst>
          </p:cNvPr>
          <p:cNvSpPr/>
          <p:nvPr/>
        </p:nvSpPr>
        <p:spPr>
          <a:xfrm>
            <a:off x="2324132" y="2873375"/>
            <a:ext cx="604806" cy="476250"/>
          </a:xfrm>
          <a:prstGeom prst="round2SameRect">
            <a:avLst>
              <a:gd name="adj1" fmla="val 19279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altLang="en-US" sz="1000" spc="-20" dirty="0">
                <a:effectLst/>
                <a:latin typeface="+mn-lt"/>
                <a:ea typeface="+mn-ea"/>
              </a:rPr>
              <a:t>601</a:t>
            </a:r>
            <a:br>
              <a:rPr lang="ru-RU" altLang="en-US" sz="1000" spc="-20" dirty="0">
                <a:effectLst/>
                <a:latin typeface="+mn-lt"/>
                <a:ea typeface="+mn-ea"/>
              </a:rPr>
            </a:br>
            <a:r>
              <a:rPr lang="ru-RU" altLang="en-US" sz="1000" spc="-20" dirty="0">
                <a:effectLst/>
                <a:latin typeface="+mn-lt"/>
                <a:ea typeface="+mn-ea"/>
              </a:rPr>
              <a:t>(15%)</a:t>
            </a:r>
          </a:p>
        </p:txBody>
      </p:sp>
      <p:sp>
        <p:nvSpPr>
          <p:cNvPr id="119" name="Прямоугольник: скругленные верхние углы 118">
            <a:extLst>
              <a:ext uri="{FF2B5EF4-FFF2-40B4-BE49-F238E27FC236}">
                <a16:creationId xmlns:a16="http://schemas.microsoft.com/office/drawing/2014/main" id="{1F6C1691-7BF9-2CCC-BC9D-A17E2F5C9D47}"/>
              </a:ext>
            </a:extLst>
          </p:cNvPr>
          <p:cNvSpPr/>
          <p:nvPr/>
        </p:nvSpPr>
        <p:spPr>
          <a:xfrm>
            <a:off x="1449189" y="3251200"/>
            <a:ext cx="598686" cy="412750"/>
          </a:xfrm>
          <a:prstGeom prst="round2SameRect">
            <a:avLst>
              <a:gd name="adj1" fmla="val 23894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altLang="en-US" sz="1000" spc="-20" dirty="0">
                <a:effectLst/>
                <a:latin typeface="+mn-lt"/>
                <a:ea typeface="+mn-ea"/>
              </a:rPr>
              <a:t>497</a:t>
            </a:r>
            <a:br>
              <a:rPr lang="ru-RU" altLang="en-US" sz="1000" spc="-20" dirty="0">
                <a:effectLst/>
                <a:latin typeface="+mn-lt"/>
                <a:ea typeface="+mn-ea"/>
              </a:rPr>
            </a:br>
            <a:r>
              <a:rPr lang="ru-RU" altLang="en-US" sz="1000" spc="-20" dirty="0">
                <a:effectLst/>
                <a:latin typeface="+mn-lt"/>
                <a:ea typeface="+mn-ea"/>
              </a:rPr>
              <a:t>(15%)</a:t>
            </a:r>
          </a:p>
        </p:txBody>
      </p:sp>
      <p:sp>
        <p:nvSpPr>
          <p:cNvPr id="121" name="Прямоугольник: скругленные верхние углы 120">
            <a:extLst>
              <a:ext uri="{FF2B5EF4-FFF2-40B4-BE49-F238E27FC236}">
                <a16:creationId xmlns:a16="http://schemas.microsoft.com/office/drawing/2014/main" id="{B3240430-39ED-A8CF-30A0-6FC6B233A310}"/>
              </a:ext>
            </a:extLst>
          </p:cNvPr>
          <p:cNvSpPr/>
          <p:nvPr/>
        </p:nvSpPr>
        <p:spPr>
          <a:xfrm>
            <a:off x="571093" y="3654425"/>
            <a:ext cx="607626" cy="357188"/>
          </a:xfrm>
          <a:prstGeom prst="round2SameRect">
            <a:avLst>
              <a:gd name="adj1" fmla="val 23894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altLang="en-US" sz="1000" spc="-20" dirty="0">
                <a:effectLst/>
                <a:latin typeface="+mn-lt"/>
                <a:ea typeface="+mn-ea"/>
              </a:rPr>
              <a:t>407</a:t>
            </a:r>
            <a:br>
              <a:rPr lang="ru-RU" altLang="en-US" sz="1000" spc="-20" dirty="0">
                <a:effectLst/>
                <a:latin typeface="+mn-lt"/>
                <a:ea typeface="+mn-ea"/>
              </a:rPr>
            </a:br>
            <a:r>
              <a:rPr lang="ru-RU" altLang="en-US" sz="1000" spc="-20" dirty="0">
                <a:effectLst/>
                <a:latin typeface="+mn-lt"/>
                <a:ea typeface="+mn-ea"/>
              </a:rPr>
              <a:t>(15%)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8BC5E97F-DA10-AD16-5BF4-C9D6B3CB7CF7}"/>
              </a:ext>
            </a:extLst>
          </p:cNvPr>
          <p:cNvSpPr txBox="1"/>
          <p:nvPr/>
        </p:nvSpPr>
        <p:spPr>
          <a:xfrm>
            <a:off x="3211473" y="2321333"/>
            <a:ext cx="56619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/>
              <a:t>4 380</a:t>
            </a:r>
            <a:endParaRPr lang="ru-RU" sz="1200" dirty="0"/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61DC7FCC-8513-DDCE-0063-9F99E20A098A}"/>
              </a:ext>
            </a:extLst>
          </p:cNvPr>
          <p:cNvSpPr txBox="1"/>
          <p:nvPr/>
        </p:nvSpPr>
        <p:spPr>
          <a:xfrm>
            <a:off x="2327593" y="2591872"/>
            <a:ext cx="56619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/>
              <a:t>3 935</a:t>
            </a:r>
            <a:endParaRPr lang="ru-RU" sz="1200" dirty="0"/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2BC1B150-83DB-54C2-A27C-E9A2B3BDB0D9}"/>
              </a:ext>
            </a:extLst>
          </p:cNvPr>
          <p:cNvSpPr txBox="1"/>
          <p:nvPr/>
        </p:nvSpPr>
        <p:spPr>
          <a:xfrm>
            <a:off x="1449928" y="2972634"/>
            <a:ext cx="56619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/>
              <a:t>3 355</a:t>
            </a:r>
            <a:endParaRPr lang="ru-RU" sz="1200" dirty="0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DE1BBB71-420D-DFA9-66A5-812F446419E5}"/>
              </a:ext>
            </a:extLst>
          </p:cNvPr>
          <p:cNvSpPr txBox="1"/>
          <p:nvPr/>
        </p:nvSpPr>
        <p:spPr>
          <a:xfrm>
            <a:off x="594264" y="3362604"/>
            <a:ext cx="56619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/>
              <a:t>2 739</a:t>
            </a:r>
            <a:endParaRPr lang="ru-RU" sz="1200" dirty="0"/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6A990571-2B74-E2FD-820F-6FD4BC681D2B}"/>
              </a:ext>
            </a:extLst>
          </p:cNvPr>
          <p:cNvCxnSpPr>
            <a:cxnSpLocks/>
          </p:cNvCxnSpPr>
          <p:nvPr/>
        </p:nvCxnSpPr>
        <p:spPr>
          <a:xfrm>
            <a:off x="8140700" y="5218113"/>
            <a:ext cx="1600200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22A79DBC-298D-F895-A096-162A6C7A38EC}"/>
              </a:ext>
            </a:extLst>
          </p:cNvPr>
          <p:cNvCxnSpPr>
            <a:cxnSpLocks/>
          </p:cNvCxnSpPr>
          <p:nvPr/>
        </p:nvCxnSpPr>
        <p:spPr>
          <a:xfrm>
            <a:off x="8140700" y="2392363"/>
            <a:ext cx="1600200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2950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49" imgH="350" progId="TCLayout.ActiveDocument.1">
                  <p:embed/>
                </p:oleObj>
              </mc:Choice>
              <mc:Fallback>
                <p:oleObj name="Слайд think-cell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CBB641CA-07E3-54EB-F3FE-55A3CED88C97}"/>
              </a:ext>
            </a:extLst>
          </p:cNvPr>
          <p:cNvGrpSpPr>
            <a:grpSpLocks noChangeAspect="1"/>
          </p:cNvGrpSpPr>
          <p:nvPr/>
        </p:nvGrpSpPr>
        <p:grpSpPr>
          <a:xfrm>
            <a:off x="-3" y="-16938"/>
            <a:ext cx="12542681" cy="6874937"/>
            <a:chOff x="-3124" y="142"/>
            <a:chExt cx="3051125" cy="1672393"/>
          </a:xfrm>
        </p:grpSpPr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D4D1F7AA-B130-FD09-64F8-47A841A3A7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54" t="-44" r="50" b="2501"/>
            <a:stretch/>
          </p:blipFill>
          <p:spPr>
            <a:xfrm>
              <a:off x="-3124" y="142"/>
              <a:ext cx="3051124" cy="1672393"/>
            </a:xfrm>
            <a:prstGeom prst="rect">
              <a:avLst/>
            </a:prstGeom>
          </p:spPr>
        </p:pic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01FBE5AE-21AD-2474-7A97-96186AABEA98}"/>
                </a:ext>
              </a:extLst>
            </p:cNvPr>
            <p:cNvSpPr/>
            <p:nvPr/>
          </p:nvSpPr>
          <p:spPr>
            <a:xfrm>
              <a:off x="-3124" y="915"/>
              <a:ext cx="3051125" cy="1671620"/>
            </a:xfrm>
            <a:prstGeom prst="rect">
              <a:avLst/>
            </a:prstGeom>
            <a:gradFill flip="none" rotWithShape="1">
              <a:gsLst>
                <a:gs pos="76000">
                  <a:srgbClr val="0B1823">
                    <a:alpha val="0"/>
                  </a:srgbClr>
                </a:gs>
                <a:gs pos="100000">
                  <a:srgbClr val="0B1823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" name="Скругленный прямоугольник 36">
            <a:extLst>
              <a:ext uri="{FF2B5EF4-FFF2-40B4-BE49-F238E27FC236}">
                <a16:creationId xmlns:a16="http://schemas.microsoft.com/office/drawing/2014/main" id="{2E927B82-865A-BC69-A7BF-6F05DA08ECB6}"/>
              </a:ext>
            </a:extLst>
          </p:cNvPr>
          <p:cNvSpPr>
            <a:spLocks/>
          </p:cNvSpPr>
          <p:nvPr/>
        </p:nvSpPr>
        <p:spPr>
          <a:xfrm>
            <a:off x="6148137" y="3899632"/>
            <a:ext cx="5600743" cy="2268000"/>
          </a:xfrm>
          <a:prstGeom prst="roundRect">
            <a:avLst>
              <a:gd name="adj" fmla="val 11556"/>
            </a:avLst>
          </a:prstGeom>
          <a:solidFill>
            <a:srgbClr val="F4F5F9"/>
          </a:solidFill>
          <a:ln w="12700">
            <a:noFill/>
            <a:miter lim="400000"/>
          </a:ln>
          <a:effectLst/>
        </p:spPr>
        <p:txBody>
          <a:bodyPr lIns="1836000" tIns="144000" rIns="504000" bIns="144000" anchor="t"/>
          <a:lstStyle/>
          <a:p>
            <a:pPr marL="46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000" dirty="0"/>
          </a:p>
        </p:txBody>
      </p:sp>
      <p:sp>
        <p:nvSpPr>
          <p:cNvPr id="6" name="Скругленный прямоугольник 35">
            <a:extLst>
              <a:ext uri="{FF2B5EF4-FFF2-40B4-BE49-F238E27FC236}">
                <a16:creationId xmlns:a16="http://schemas.microsoft.com/office/drawing/2014/main" id="{AFBAFADA-08A7-C046-F8CE-89334E3A151F}"/>
              </a:ext>
            </a:extLst>
          </p:cNvPr>
          <p:cNvSpPr>
            <a:spLocks/>
          </p:cNvSpPr>
          <p:nvPr/>
        </p:nvSpPr>
        <p:spPr>
          <a:xfrm>
            <a:off x="451523" y="3899675"/>
            <a:ext cx="5600743" cy="2268000"/>
          </a:xfrm>
          <a:prstGeom prst="roundRect">
            <a:avLst>
              <a:gd name="adj" fmla="val 9874"/>
            </a:avLst>
          </a:prstGeom>
          <a:solidFill>
            <a:srgbClr val="F4F5F9"/>
          </a:solidFill>
          <a:ln w="12700">
            <a:noFill/>
            <a:miter lim="400000"/>
          </a:ln>
          <a:effectLst/>
        </p:spPr>
        <p:txBody>
          <a:bodyPr lIns="180000" tIns="144000" rIns="1836000" bIns="144000" anchor="t"/>
          <a:lstStyle/>
          <a:p>
            <a:pPr marL="35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050" dirty="0"/>
          </a:p>
        </p:txBody>
      </p:sp>
      <p:sp>
        <p:nvSpPr>
          <p:cNvPr id="18" name="Скругленный прямоугольник 34">
            <a:extLst>
              <a:ext uri="{FF2B5EF4-FFF2-40B4-BE49-F238E27FC236}">
                <a16:creationId xmlns:a16="http://schemas.microsoft.com/office/drawing/2014/main" id="{DE1C9B67-A828-19D2-162F-F81282E764A0}"/>
              </a:ext>
            </a:extLst>
          </p:cNvPr>
          <p:cNvSpPr>
            <a:spLocks/>
          </p:cNvSpPr>
          <p:nvPr/>
        </p:nvSpPr>
        <p:spPr>
          <a:xfrm>
            <a:off x="6145597" y="1538542"/>
            <a:ext cx="5600743" cy="2268000"/>
          </a:xfrm>
          <a:prstGeom prst="roundRect">
            <a:avLst>
              <a:gd name="adj" fmla="val 8196"/>
            </a:avLst>
          </a:prstGeom>
          <a:solidFill>
            <a:srgbClr val="F4F5F9"/>
          </a:solidFill>
          <a:ln w="12700">
            <a:noFill/>
            <a:miter lim="400000"/>
          </a:ln>
          <a:effectLst/>
        </p:spPr>
        <p:txBody>
          <a:bodyPr lIns="1836000" tIns="144000" rIns="504000" bIns="144000" anchor="t"/>
          <a:lstStyle/>
          <a:p>
            <a:pPr marL="46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050" dirty="0"/>
          </a:p>
        </p:txBody>
      </p:sp>
      <p:sp>
        <p:nvSpPr>
          <p:cNvPr id="26" name="Скругленный прямоугольник 33">
            <a:extLst>
              <a:ext uri="{FF2B5EF4-FFF2-40B4-BE49-F238E27FC236}">
                <a16:creationId xmlns:a16="http://schemas.microsoft.com/office/drawing/2014/main" id="{2E4CFC52-0996-1ED9-8774-0FC49AA9C52A}"/>
              </a:ext>
            </a:extLst>
          </p:cNvPr>
          <p:cNvSpPr>
            <a:spLocks/>
          </p:cNvSpPr>
          <p:nvPr/>
        </p:nvSpPr>
        <p:spPr>
          <a:xfrm>
            <a:off x="442705" y="1538541"/>
            <a:ext cx="5600743" cy="2268000"/>
          </a:xfrm>
          <a:prstGeom prst="roundRect">
            <a:avLst>
              <a:gd name="adj" fmla="val 7636"/>
            </a:avLst>
          </a:prstGeom>
          <a:solidFill>
            <a:srgbClr val="F4F5F9"/>
          </a:solidFill>
          <a:ln w="12700">
            <a:noFill/>
            <a:miter lim="400000"/>
          </a:ln>
          <a:effectLst/>
        </p:spPr>
        <p:txBody>
          <a:bodyPr lIns="180000" tIns="144000" rIns="1764000" bIns="144000" anchor="t"/>
          <a:lstStyle/>
          <a:p>
            <a:pPr marL="35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050" dirty="0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2BE25C41-950C-6F75-E45F-6A110954EEDC}"/>
              </a:ext>
            </a:extLst>
          </p:cNvPr>
          <p:cNvSpPr/>
          <p:nvPr/>
        </p:nvSpPr>
        <p:spPr>
          <a:xfrm>
            <a:off x="4072877" y="1816432"/>
            <a:ext cx="4071647" cy="40716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F0714EED-1B58-6DA2-0959-3F3A3B869E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4295" y="6522684"/>
            <a:ext cx="10739325" cy="195814"/>
          </a:xfrm>
        </p:spPr>
        <p:txBody>
          <a:bodyPr/>
          <a:lstStyle/>
          <a:p>
            <a:r>
              <a:rPr lang="ru-RU" dirty="0">
                <a:solidFill>
                  <a:schemeClr val="bg1">
                    <a:lumMod val="75000"/>
                  </a:schemeClr>
                </a:solidFill>
              </a:rPr>
              <a:t>Источник: анализ 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trategy Partners</a:t>
            </a:r>
          </a:p>
        </p:txBody>
      </p:sp>
      <p:sp>
        <p:nvSpPr>
          <p:cNvPr id="16" name="Текст 429">
            <a:extLst>
              <a:ext uri="{FF2B5EF4-FFF2-40B4-BE49-F238E27FC236}">
                <a16:creationId xmlns:a16="http://schemas.microsoft.com/office/drawing/2014/main" id="{6B94B7F6-0C1F-A9E3-5CC4-B9E41849541F}"/>
              </a:ext>
            </a:extLst>
          </p:cNvPr>
          <p:cNvSpPr txBox="1">
            <a:spLocks/>
          </p:cNvSpPr>
          <p:nvPr/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vert="horz" wrap="square" lIns="0" tIns="36000" rIns="0" bIns="3600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Российский рынок ИТ</a:t>
            </a:r>
            <a:endParaRPr lang="ru-RU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3A22F707-1D2B-1997-1FC3-AC0E30CF3511}"/>
              </a:ext>
            </a:extLst>
          </p:cNvPr>
          <p:cNvSpPr txBox="1">
            <a:spLocks/>
          </p:cNvSpPr>
          <p:nvPr/>
        </p:nvSpPr>
        <p:spPr>
          <a:xfrm>
            <a:off x="442913" y="451664"/>
            <a:ext cx="11050588" cy="688256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4000" dirty="0">
                <a:solidFill>
                  <a:schemeClr val="bg1"/>
                </a:solidFill>
              </a:rPr>
              <a:t>Какие факторы способствуют росту?</a:t>
            </a:r>
          </a:p>
        </p:txBody>
      </p:sp>
      <p:sp>
        <p:nvSpPr>
          <p:cNvPr id="37" name="Скругленный прямоугольник 36">
            <a:extLst>
              <a:ext uri="{FF2B5EF4-FFF2-40B4-BE49-F238E27FC236}">
                <a16:creationId xmlns:a16="http://schemas.microsoft.com/office/drawing/2014/main" id="{A8773A7A-E5E4-2732-41C7-A19EBABC2153}"/>
              </a:ext>
            </a:extLst>
          </p:cNvPr>
          <p:cNvSpPr>
            <a:spLocks/>
          </p:cNvSpPr>
          <p:nvPr/>
        </p:nvSpPr>
        <p:spPr>
          <a:xfrm>
            <a:off x="8388701" y="4097148"/>
            <a:ext cx="2915587" cy="1872969"/>
          </a:xfrm>
          <a:prstGeom prst="rect">
            <a:avLst/>
          </a:prstGeom>
          <a:noFill/>
          <a:ln w="12700">
            <a:noFill/>
            <a:miter lim="400000"/>
          </a:ln>
          <a:effectLst/>
        </p:spPr>
        <p:txBody>
          <a:bodyPr lIns="0" tIns="144000" rIns="0" bIns="144000" anchor="t"/>
          <a:lstStyle/>
          <a:p>
            <a:pPr marL="252000" lvl="1" indent="-252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Рост зрелости российских решений</a:t>
            </a:r>
          </a:p>
          <a:p>
            <a:pPr marL="252000" lvl="1" indent="-252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Интеграция </a:t>
            </a:r>
            <a:br>
              <a:rPr lang="en-US" sz="1400" dirty="0"/>
            </a:br>
            <a:r>
              <a:rPr lang="ru-RU" sz="1400" dirty="0"/>
              <a:t>и консолидация вендоров</a:t>
            </a:r>
          </a:p>
          <a:p>
            <a:pPr marL="252000" lvl="1" indent="-252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ИИ — обязательный компонент ИТ-решений</a:t>
            </a:r>
          </a:p>
        </p:txBody>
      </p:sp>
      <p:sp>
        <p:nvSpPr>
          <p:cNvPr id="36" name="Скругленный прямоугольник 35">
            <a:extLst>
              <a:ext uri="{FF2B5EF4-FFF2-40B4-BE49-F238E27FC236}">
                <a16:creationId xmlns:a16="http://schemas.microsoft.com/office/drawing/2014/main" id="{AA712670-13B7-4585-CDD9-39E9735B97E3}"/>
              </a:ext>
            </a:extLst>
          </p:cNvPr>
          <p:cNvSpPr>
            <a:spLocks/>
          </p:cNvSpPr>
          <p:nvPr/>
        </p:nvSpPr>
        <p:spPr>
          <a:xfrm>
            <a:off x="794631" y="4097191"/>
            <a:ext cx="3138488" cy="1872969"/>
          </a:xfrm>
          <a:prstGeom prst="rect">
            <a:avLst/>
          </a:prstGeom>
          <a:noFill/>
          <a:ln w="12700">
            <a:noFill/>
            <a:miter lim="400000"/>
          </a:ln>
          <a:effectLst/>
        </p:spPr>
        <p:txBody>
          <a:bodyPr lIns="0" tIns="0" rIns="0" bIns="0" anchor="ctr" anchorCtr="0"/>
          <a:lstStyle/>
          <a:p>
            <a:pPr marL="252000" indent="-252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Рост спроса на безопасные, совместимые и качественные </a:t>
            </a:r>
            <a:br>
              <a:rPr lang="en-US" sz="1400" dirty="0"/>
            </a:br>
            <a:r>
              <a:rPr lang="ru-RU" sz="1400" dirty="0"/>
              <a:t>ИТ-решения</a:t>
            </a:r>
          </a:p>
          <a:p>
            <a:pPr marL="252000" indent="-252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Переход к комплексной интеграции</a:t>
            </a:r>
          </a:p>
          <a:p>
            <a:pPr marL="252000" indent="-252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Фокус на экономическом </a:t>
            </a:r>
            <a:br>
              <a:rPr lang="en-US" sz="1400" dirty="0"/>
            </a:br>
            <a:r>
              <a:rPr lang="ru-RU" sz="1400" dirty="0"/>
              <a:t>эффекте от ИТ</a:t>
            </a:r>
          </a:p>
        </p:txBody>
      </p:sp>
      <p:sp>
        <p:nvSpPr>
          <p:cNvPr id="35" name="Скругленный прямоугольник 34">
            <a:extLst>
              <a:ext uri="{FF2B5EF4-FFF2-40B4-BE49-F238E27FC236}">
                <a16:creationId xmlns:a16="http://schemas.microsoft.com/office/drawing/2014/main" id="{6BF21B38-3ABA-FB77-7548-0E900ACCC916}"/>
              </a:ext>
            </a:extLst>
          </p:cNvPr>
          <p:cNvSpPr>
            <a:spLocks/>
          </p:cNvSpPr>
          <p:nvPr/>
        </p:nvSpPr>
        <p:spPr>
          <a:xfrm>
            <a:off x="8388701" y="1736058"/>
            <a:ext cx="2915587" cy="1872969"/>
          </a:xfrm>
          <a:prstGeom prst="rect">
            <a:avLst/>
          </a:prstGeom>
          <a:noFill/>
          <a:ln w="12700">
            <a:noFill/>
            <a:miter lim="400000"/>
          </a:ln>
          <a:effectLst/>
        </p:spPr>
        <p:txBody>
          <a:bodyPr lIns="0" tIns="0" rIns="0" bIns="0" anchor="ctr" anchorCtr="0"/>
          <a:lstStyle/>
          <a:p>
            <a:pPr marL="252000" indent="-252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Замедление роста </a:t>
            </a:r>
            <a:br>
              <a:rPr lang="en-US" sz="1400" dirty="0"/>
            </a:br>
            <a:r>
              <a:rPr lang="ru-RU" sz="1400" dirty="0"/>
              <a:t>и инвестиций</a:t>
            </a:r>
          </a:p>
          <a:p>
            <a:pPr marL="252000" indent="-252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Рост стоимости оборудования и решений</a:t>
            </a:r>
          </a:p>
          <a:p>
            <a:pPr marL="252000" indent="-252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Ускорение ИТ-рынка после завершения инвестпериода</a:t>
            </a:r>
          </a:p>
        </p:txBody>
      </p:sp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6195A94E-D288-7E70-50E3-4BECC63C3448}"/>
              </a:ext>
            </a:extLst>
          </p:cNvPr>
          <p:cNvSpPr>
            <a:spLocks/>
          </p:cNvSpPr>
          <p:nvPr/>
        </p:nvSpPr>
        <p:spPr>
          <a:xfrm>
            <a:off x="785813" y="1736057"/>
            <a:ext cx="3138488" cy="1872969"/>
          </a:xfrm>
          <a:prstGeom prst="rect">
            <a:avLst/>
          </a:prstGeom>
          <a:noFill/>
          <a:ln w="12700">
            <a:noFill/>
            <a:miter lim="400000"/>
          </a:ln>
          <a:effectLst/>
        </p:spPr>
        <p:txBody>
          <a:bodyPr lIns="0" tIns="0" rIns="0" bIns="0" anchor="ctr" anchorCtr="0"/>
          <a:lstStyle/>
          <a:p>
            <a:pPr marL="252000" indent="-252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Усиление требований </a:t>
            </a:r>
            <a:br>
              <a:rPr lang="en-US" sz="1400" dirty="0"/>
            </a:br>
            <a:r>
              <a:rPr lang="ru-RU" sz="1400" dirty="0"/>
              <a:t>к ИБ и ИТ-решениям</a:t>
            </a:r>
          </a:p>
          <a:p>
            <a:pPr marL="252000" indent="-252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Сокращение льгот </a:t>
            </a:r>
            <a:br>
              <a:rPr lang="ru-RU" sz="1400" dirty="0"/>
            </a:br>
            <a:r>
              <a:rPr lang="ru-RU" sz="1400" dirty="0"/>
              <a:t>для вендоров</a:t>
            </a:r>
          </a:p>
          <a:p>
            <a:pPr marL="252000" indent="-252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Переход КИИ </a:t>
            </a:r>
            <a:br>
              <a:rPr lang="en-US" sz="1400" dirty="0"/>
            </a:br>
            <a:r>
              <a:rPr lang="ru-RU" sz="1400" dirty="0"/>
              <a:t>на отечественные решения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19A90014-DEFC-B75E-A3DD-7AFEA73F5816}"/>
              </a:ext>
            </a:extLst>
          </p:cNvPr>
          <p:cNvGrpSpPr/>
          <p:nvPr/>
        </p:nvGrpSpPr>
        <p:grpSpPr>
          <a:xfrm>
            <a:off x="4225309" y="1975440"/>
            <a:ext cx="3766166" cy="3766166"/>
            <a:chOff x="4225309" y="2299288"/>
            <a:chExt cx="3766166" cy="3766166"/>
          </a:xfrm>
        </p:grpSpPr>
        <p:grpSp>
          <p:nvGrpSpPr>
            <p:cNvPr id="64" name="Group 83">
              <a:extLst>
                <a:ext uri="{FF2B5EF4-FFF2-40B4-BE49-F238E27FC236}">
                  <a16:creationId xmlns:a16="http://schemas.microsoft.com/office/drawing/2014/main" id="{B2CE9DEE-9186-BAD5-3E92-82E5EBB6D0E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25309" y="2299288"/>
              <a:ext cx="3766166" cy="3766166"/>
              <a:chOff x="3577" y="1695"/>
              <a:chExt cx="907" cy="907"/>
            </a:xfrm>
            <a:solidFill>
              <a:schemeClr val="tx1"/>
            </a:solidFill>
          </p:grpSpPr>
          <p:sp>
            <p:nvSpPr>
              <p:cNvPr id="65" name="Freeform 11">
                <a:extLst>
                  <a:ext uri="{FF2B5EF4-FFF2-40B4-BE49-F238E27FC236}">
                    <a16:creationId xmlns:a16="http://schemas.microsoft.com/office/drawing/2014/main" id="{DFC45886-4C95-F336-9C6F-5BAE371A38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77" y="2158"/>
                <a:ext cx="442" cy="444"/>
              </a:xfrm>
              <a:custGeom>
                <a:avLst/>
                <a:gdLst>
                  <a:gd name="T0" fmla="*/ 464 w 285"/>
                  <a:gd name="T1" fmla="*/ 397 h 286"/>
                  <a:gd name="T2" fmla="*/ 226 w 285"/>
                  <a:gd name="T3" fmla="*/ 0 h 286"/>
                  <a:gd name="T4" fmla="*/ 0 w 285"/>
                  <a:gd name="T5" fmla="*/ 0 h 286"/>
                  <a:gd name="T6" fmla="*/ 685 w 285"/>
                  <a:gd name="T7" fmla="*/ 689 h 286"/>
                  <a:gd name="T8" fmla="*/ 685 w 285"/>
                  <a:gd name="T9" fmla="*/ 463 h 286"/>
                  <a:gd name="T10" fmla="*/ 464 w 285"/>
                  <a:gd name="T11" fmla="*/ 397 h 28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85" h="286">
                    <a:moveTo>
                      <a:pt x="193" y="165"/>
                    </a:moveTo>
                    <a:cubicBezTo>
                      <a:pt x="132" y="130"/>
                      <a:pt x="97" y="66"/>
                      <a:pt x="9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156"/>
                      <a:pt x="129" y="282"/>
                      <a:pt x="285" y="286"/>
                    </a:cubicBezTo>
                    <a:cubicBezTo>
                      <a:pt x="285" y="192"/>
                      <a:pt x="285" y="192"/>
                      <a:pt x="285" y="192"/>
                    </a:cubicBezTo>
                    <a:cubicBezTo>
                      <a:pt x="254" y="190"/>
                      <a:pt x="222" y="182"/>
                      <a:pt x="193" y="165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Bef>
                    <a:spcPts val="400"/>
                  </a:spcBef>
                </a:pPr>
                <a:endParaRPr lang="en-US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6" name="Freeform 12">
                <a:extLst>
                  <a:ext uri="{FF2B5EF4-FFF2-40B4-BE49-F238E27FC236}">
                    <a16:creationId xmlns:a16="http://schemas.microsoft.com/office/drawing/2014/main" id="{E503B070-B182-7F0F-13D0-5F5353E452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77" y="1695"/>
                <a:ext cx="442" cy="442"/>
              </a:xfrm>
              <a:custGeom>
                <a:avLst/>
                <a:gdLst>
                  <a:gd name="T0" fmla="*/ 292 w 285"/>
                  <a:gd name="T1" fmla="*/ 464 h 285"/>
                  <a:gd name="T2" fmla="*/ 685 w 285"/>
                  <a:gd name="T3" fmla="*/ 226 h 285"/>
                  <a:gd name="T4" fmla="*/ 685 w 285"/>
                  <a:gd name="T5" fmla="*/ 0 h 285"/>
                  <a:gd name="T6" fmla="*/ 0 w 285"/>
                  <a:gd name="T7" fmla="*/ 685 h 285"/>
                  <a:gd name="T8" fmla="*/ 226 w 285"/>
                  <a:gd name="T9" fmla="*/ 685 h 285"/>
                  <a:gd name="T10" fmla="*/ 292 w 285"/>
                  <a:gd name="T11" fmla="*/ 464 h 2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85" h="285">
                    <a:moveTo>
                      <a:pt x="121" y="193"/>
                    </a:moveTo>
                    <a:cubicBezTo>
                      <a:pt x="156" y="132"/>
                      <a:pt x="219" y="96"/>
                      <a:pt x="285" y="94"/>
                    </a:cubicBezTo>
                    <a:cubicBezTo>
                      <a:pt x="285" y="0"/>
                      <a:pt x="285" y="0"/>
                      <a:pt x="285" y="0"/>
                    </a:cubicBezTo>
                    <a:cubicBezTo>
                      <a:pt x="129" y="3"/>
                      <a:pt x="4" y="129"/>
                      <a:pt x="0" y="285"/>
                    </a:cubicBezTo>
                    <a:cubicBezTo>
                      <a:pt x="94" y="285"/>
                      <a:pt x="94" y="285"/>
                      <a:pt x="94" y="285"/>
                    </a:cubicBezTo>
                    <a:cubicBezTo>
                      <a:pt x="95" y="253"/>
                      <a:pt x="104" y="222"/>
                      <a:pt x="121" y="19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Bef>
                    <a:spcPts val="400"/>
                  </a:spcBef>
                </a:pPr>
                <a:endParaRPr lang="en-US">
                  <a:solidFill>
                    <a:schemeClr val="tx2"/>
                  </a:solidFill>
                </a:endParaRPr>
              </a:p>
            </p:txBody>
          </p:sp>
          <p:sp>
            <p:nvSpPr>
              <p:cNvPr id="67" name="Freeform 13">
                <a:extLst>
                  <a:ext uri="{FF2B5EF4-FFF2-40B4-BE49-F238E27FC236}">
                    <a16:creationId xmlns:a16="http://schemas.microsoft.com/office/drawing/2014/main" id="{775A68CC-439D-8457-158B-8536132E01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42" y="1695"/>
                <a:ext cx="442" cy="442"/>
              </a:xfrm>
              <a:custGeom>
                <a:avLst/>
                <a:gdLst>
                  <a:gd name="T0" fmla="*/ 222 w 285"/>
                  <a:gd name="T1" fmla="*/ 288 h 285"/>
                  <a:gd name="T2" fmla="*/ 459 w 285"/>
                  <a:gd name="T3" fmla="*/ 685 h 285"/>
                  <a:gd name="T4" fmla="*/ 685 w 285"/>
                  <a:gd name="T5" fmla="*/ 685 h 285"/>
                  <a:gd name="T6" fmla="*/ 0 w 285"/>
                  <a:gd name="T7" fmla="*/ 0 h 285"/>
                  <a:gd name="T8" fmla="*/ 0 w 285"/>
                  <a:gd name="T9" fmla="*/ 226 h 285"/>
                  <a:gd name="T10" fmla="*/ 222 w 285"/>
                  <a:gd name="T11" fmla="*/ 288 h 2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85" h="285">
                    <a:moveTo>
                      <a:pt x="92" y="120"/>
                    </a:moveTo>
                    <a:cubicBezTo>
                      <a:pt x="153" y="156"/>
                      <a:pt x="188" y="219"/>
                      <a:pt x="191" y="285"/>
                    </a:cubicBezTo>
                    <a:cubicBezTo>
                      <a:pt x="285" y="285"/>
                      <a:pt x="285" y="285"/>
                      <a:pt x="285" y="285"/>
                    </a:cubicBezTo>
                    <a:cubicBezTo>
                      <a:pt x="281" y="129"/>
                      <a:pt x="156" y="3"/>
                      <a:pt x="0" y="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31" y="95"/>
                      <a:pt x="63" y="104"/>
                      <a:pt x="92" y="120"/>
                    </a:cubicBezTo>
                    <a:close/>
                  </a:path>
                </a:pathLst>
              </a:custGeom>
              <a:solidFill>
                <a:srgbClr val="A9D8FB"/>
              </a:solidFill>
              <a:ln w="63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Bef>
                    <a:spcPts val="400"/>
                  </a:spcBef>
                </a:pPr>
                <a:endParaRPr lang="en-US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" name="Freeform 14">
                <a:extLst>
                  <a:ext uri="{FF2B5EF4-FFF2-40B4-BE49-F238E27FC236}">
                    <a16:creationId xmlns:a16="http://schemas.microsoft.com/office/drawing/2014/main" id="{91D9D7E1-B764-0A5A-3E1E-6C162046D7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42" y="2158"/>
                <a:ext cx="442" cy="444"/>
              </a:xfrm>
              <a:custGeom>
                <a:avLst/>
                <a:gdLst>
                  <a:gd name="T0" fmla="*/ 394 w 285"/>
                  <a:gd name="T1" fmla="*/ 222 h 286"/>
                  <a:gd name="T2" fmla="*/ 0 w 285"/>
                  <a:gd name="T3" fmla="*/ 461 h 286"/>
                  <a:gd name="T4" fmla="*/ 0 w 285"/>
                  <a:gd name="T5" fmla="*/ 689 h 286"/>
                  <a:gd name="T6" fmla="*/ 685 w 285"/>
                  <a:gd name="T7" fmla="*/ 0 h 286"/>
                  <a:gd name="T8" fmla="*/ 459 w 285"/>
                  <a:gd name="T9" fmla="*/ 0 h 286"/>
                  <a:gd name="T10" fmla="*/ 394 w 285"/>
                  <a:gd name="T11" fmla="*/ 222 h 28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85" h="286">
                    <a:moveTo>
                      <a:pt x="164" y="92"/>
                    </a:moveTo>
                    <a:cubicBezTo>
                      <a:pt x="129" y="154"/>
                      <a:pt x="66" y="189"/>
                      <a:pt x="0" y="191"/>
                    </a:cubicBezTo>
                    <a:cubicBezTo>
                      <a:pt x="0" y="286"/>
                      <a:pt x="0" y="286"/>
                      <a:pt x="0" y="286"/>
                    </a:cubicBezTo>
                    <a:cubicBezTo>
                      <a:pt x="156" y="282"/>
                      <a:pt x="282" y="156"/>
                      <a:pt x="285" y="0"/>
                    </a:cubicBezTo>
                    <a:cubicBezTo>
                      <a:pt x="191" y="0"/>
                      <a:pt x="191" y="0"/>
                      <a:pt x="191" y="0"/>
                    </a:cubicBezTo>
                    <a:cubicBezTo>
                      <a:pt x="190" y="32"/>
                      <a:pt x="181" y="63"/>
                      <a:pt x="164" y="92"/>
                    </a:cubicBezTo>
                    <a:close/>
                  </a:path>
                </a:pathLst>
              </a:custGeom>
              <a:solidFill>
                <a:srgbClr val="02406A"/>
              </a:solidFill>
              <a:ln w="63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Bef>
                    <a:spcPts val="400"/>
                  </a:spcBef>
                </a:pPr>
                <a:endParaRPr lang="en-US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9" name="Textplatzhalter 13">
              <a:extLst>
                <a:ext uri="{FF2B5EF4-FFF2-40B4-BE49-F238E27FC236}">
                  <a16:creationId xmlns:a16="http://schemas.microsoft.com/office/drawing/2014/main" id="{06DD435B-C55A-20DA-D0E3-DA237B78A06E}"/>
                </a:ext>
              </a:extLst>
            </p:cNvPr>
            <p:cNvSpPr txBox="1">
              <a:spLocks/>
            </p:cNvSpPr>
            <p:nvPr/>
          </p:nvSpPr>
          <p:spPr bwMode="gray">
            <a:xfrm rot="18900000">
              <a:off x="4534181" y="2617687"/>
              <a:ext cx="3034438" cy="303762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prstTxWarp prst="textArchUp">
                <a:avLst/>
              </a:prstTxWarp>
              <a:spAutoFit/>
            </a:bodyPr>
            <a:lstStyle>
              <a:lvl1pPr marL="0" indent="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None/>
                <a:defRPr lang="de-DE" sz="1300" kern="1200" dirty="0" smtClean="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Wingdings" pitchFamily="2" charset="2"/>
                <a:buChar char="§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Char char="̵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Char char="̵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Char char="̵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ru-RU" sz="1800" dirty="0">
                  <a:solidFill>
                    <a:schemeClr val="bg1"/>
                  </a:solidFill>
                </a:rPr>
                <a:t>Регулирование</a:t>
              </a: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70" name="Textplatzhalter 13">
              <a:extLst>
                <a:ext uri="{FF2B5EF4-FFF2-40B4-BE49-F238E27FC236}">
                  <a16:creationId xmlns:a16="http://schemas.microsoft.com/office/drawing/2014/main" id="{7D0ABDAF-1C4D-BDB8-BB8D-49DE6A369F98}"/>
                </a:ext>
              </a:extLst>
            </p:cNvPr>
            <p:cNvSpPr txBox="1">
              <a:spLocks/>
            </p:cNvSpPr>
            <p:nvPr/>
          </p:nvSpPr>
          <p:spPr bwMode="gray">
            <a:xfrm rot="2700000">
              <a:off x="4597680" y="2617686"/>
              <a:ext cx="3034438" cy="303762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prstTxWarp prst="textArchUp">
                <a:avLst/>
              </a:prstTxWarp>
              <a:spAutoFit/>
            </a:bodyPr>
            <a:lstStyle>
              <a:lvl1pPr marL="0" indent="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None/>
                <a:defRPr lang="de-DE" sz="1300" kern="1200" dirty="0" smtClean="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Wingdings" pitchFamily="2" charset="2"/>
                <a:buChar char="§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Char char="̵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Char char="̵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Char char="̵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ru-RU" sz="1800" dirty="0"/>
                <a:t>Экономика</a:t>
              </a:r>
              <a:endParaRPr lang="en-US" sz="1800" dirty="0"/>
            </a:p>
          </p:txBody>
        </p:sp>
        <p:sp>
          <p:nvSpPr>
            <p:cNvPr id="71" name="Textplatzhalter 13">
              <a:extLst>
                <a:ext uri="{FF2B5EF4-FFF2-40B4-BE49-F238E27FC236}">
                  <a16:creationId xmlns:a16="http://schemas.microsoft.com/office/drawing/2014/main" id="{B6E29AB8-40E8-8458-0A06-ADD18F2C0F5F}"/>
                </a:ext>
              </a:extLst>
            </p:cNvPr>
            <p:cNvSpPr txBox="1">
              <a:spLocks/>
            </p:cNvSpPr>
            <p:nvPr/>
          </p:nvSpPr>
          <p:spPr bwMode="gray">
            <a:xfrm rot="2700000">
              <a:off x="4521482" y="2719285"/>
              <a:ext cx="3034438" cy="303762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prstTxWarp prst="textArchDown">
                <a:avLst/>
              </a:prstTxWarp>
              <a:spAutoFit/>
            </a:bodyPr>
            <a:lstStyle>
              <a:lvl1pPr marL="0" indent="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None/>
                <a:defRPr lang="de-DE" sz="1300" kern="1200" dirty="0" smtClean="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Wingdings" pitchFamily="2" charset="2"/>
                <a:buChar char="§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Char char="̵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Char char="̵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Char char="̵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ru-RU" sz="1800" dirty="0"/>
                <a:t>Клиенты</a:t>
              </a:r>
              <a:endParaRPr lang="en-US" sz="1800" dirty="0"/>
            </a:p>
          </p:txBody>
        </p:sp>
        <p:sp>
          <p:nvSpPr>
            <p:cNvPr id="72" name="Textplatzhalter 13">
              <a:extLst>
                <a:ext uri="{FF2B5EF4-FFF2-40B4-BE49-F238E27FC236}">
                  <a16:creationId xmlns:a16="http://schemas.microsoft.com/office/drawing/2014/main" id="{42C76F9C-E8CA-EBAE-26DB-43EF8986FB37}"/>
                </a:ext>
              </a:extLst>
            </p:cNvPr>
            <p:cNvSpPr txBox="1">
              <a:spLocks/>
            </p:cNvSpPr>
            <p:nvPr/>
          </p:nvSpPr>
          <p:spPr bwMode="gray">
            <a:xfrm rot="18900000">
              <a:off x="4623082" y="2731987"/>
              <a:ext cx="3034438" cy="303762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prstTxWarp prst="textArchDown">
                <a:avLst/>
              </a:prstTxWarp>
              <a:spAutoFit/>
            </a:bodyPr>
            <a:lstStyle>
              <a:lvl1pPr marL="0" indent="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None/>
                <a:defRPr lang="de-DE" sz="1300" kern="1200" dirty="0" smtClean="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Wingdings" pitchFamily="2" charset="2"/>
                <a:buChar char="§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Char char="̵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Char char="̵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Char char="̵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ru-RU" sz="1800" dirty="0">
                  <a:solidFill>
                    <a:schemeClr val="bg1"/>
                  </a:solidFill>
                </a:rPr>
                <a:t>Технологии</a:t>
              </a: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75" name="Oval 52">
              <a:extLst>
                <a:ext uri="{FF2B5EF4-FFF2-40B4-BE49-F238E27FC236}">
                  <a16:creationId xmlns:a16="http://schemas.microsoft.com/office/drawing/2014/main" id="{83FFE51F-6F0E-4CC6-7F88-890324C777F5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4873420" y="2952734"/>
              <a:ext cx="2445161" cy="2444140"/>
            </a:xfrm>
            <a:prstGeom prst="ellipse">
              <a:avLst/>
            </a:prstGeom>
            <a:noFill/>
            <a:ln w="19050">
              <a:noFill/>
              <a:prstDash val="sysDot"/>
            </a:ln>
          </p:spPr>
          <p:txBody>
            <a:bodyPr wrap="none" anchor="ctr"/>
            <a:lstStyle>
              <a:lvl1pPr marL="177800" indent="-1778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endParaRPr>
            </a:p>
          </p:txBody>
        </p:sp>
        <p:cxnSp>
          <p:nvCxnSpPr>
            <p:cNvPr id="76" name="Прямая соединительная линия 75"/>
            <p:cNvCxnSpPr>
              <a:cxnSpLocks/>
            </p:cNvCxnSpPr>
            <p:nvPr/>
          </p:nvCxnSpPr>
          <p:spPr>
            <a:xfrm>
              <a:off x="5071271" y="4174803"/>
              <a:ext cx="2052000" cy="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Прямая соединительная линия 76"/>
            <p:cNvCxnSpPr>
              <a:cxnSpLocks/>
            </p:cNvCxnSpPr>
            <p:nvPr/>
          </p:nvCxnSpPr>
          <p:spPr>
            <a:xfrm rot="16200000">
              <a:off x="5070000" y="4190469"/>
              <a:ext cx="2052000" cy="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6E5304A1-DEB7-1E04-4BDC-BA1D8B83EB44}"/>
              </a:ext>
            </a:extLst>
          </p:cNvPr>
          <p:cNvGrpSpPr/>
          <p:nvPr/>
        </p:nvGrpSpPr>
        <p:grpSpPr>
          <a:xfrm>
            <a:off x="5334096" y="3120093"/>
            <a:ext cx="1487402" cy="1496597"/>
            <a:chOff x="5334096" y="3443941"/>
            <a:chExt cx="1487402" cy="1496597"/>
          </a:xfrm>
        </p:grpSpPr>
        <p:grpSp>
          <p:nvGrpSpPr>
            <p:cNvPr id="12" name="成组">
              <a:extLst>
                <a:ext uri="{FF2B5EF4-FFF2-40B4-BE49-F238E27FC236}">
                  <a16:creationId xmlns:a16="http://schemas.microsoft.com/office/drawing/2014/main" id="{92E2561F-DDFE-B93B-1128-A89AC8DA0998}"/>
                </a:ext>
              </a:extLst>
            </p:cNvPr>
            <p:cNvGrpSpPr/>
            <p:nvPr/>
          </p:nvGrpSpPr>
          <p:grpSpPr>
            <a:xfrm>
              <a:off x="6364297" y="3443941"/>
              <a:ext cx="457201" cy="457201"/>
              <a:chOff x="0" y="0"/>
              <a:chExt cx="457200" cy="457200"/>
            </a:xfrm>
          </p:grpSpPr>
          <p:sp>
            <p:nvSpPr>
              <p:cNvPr id="13" name="任意形状 830">
                <a:extLst>
                  <a:ext uri="{FF2B5EF4-FFF2-40B4-BE49-F238E27FC236}">
                    <a16:creationId xmlns:a16="http://schemas.microsoft.com/office/drawing/2014/main" id="{5BD2AF6D-FD6C-CB0F-18F1-6E2473FC58B9}"/>
                  </a:ext>
                </a:extLst>
              </p:cNvPr>
              <p:cNvSpPr/>
              <p:nvPr/>
            </p:nvSpPr>
            <p:spPr>
              <a:xfrm>
                <a:off x="0" y="0"/>
                <a:ext cx="457200" cy="457200"/>
              </a:xfrm>
              <a:prstGeom prst="rect">
                <a:avLst/>
              </a:prstGeom>
              <a:solidFill>
                <a:srgbClr val="FFFFFF">
                  <a:alpha val="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14" name="任意形状 831">
                <a:extLst>
                  <a:ext uri="{FF2B5EF4-FFF2-40B4-BE49-F238E27FC236}">
                    <a16:creationId xmlns:a16="http://schemas.microsoft.com/office/drawing/2014/main" id="{57A00097-9E89-57FD-DDF7-16724979F903}"/>
                  </a:ext>
                </a:extLst>
              </p:cNvPr>
              <p:cNvSpPr/>
              <p:nvPr/>
            </p:nvSpPr>
            <p:spPr>
              <a:xfrm>
                <a:off x="57150" y="38100"/>
                <a:ext cx="342900" cy="3619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1368"/>
                    </a:moveTo>
                    <a:lnTo>
                      <a:pt x="4800" y="11368"/>
                    </a:lnTo>
                    <a:lnTo>
                      <a:pt x="4800" y="21600"/>
                    </a:lnTo>
                    <a:lnTo>
                      <a:pt x="0" y="21600"/>
                    </a:lnTo>
                    <a:lnTo>
                      <a:pt x="0" y="11368"/>
                    </a:lnTo>
                    <a:close/>
                    <a:moveTo>
                      <a:pt x="16800" y="6821"/>
                    </a:moveTo>
                    <a:lnTo>
                      <a:pt x="21600" y="6821"/>
                    </a:lnTo>
                    <a:lnTo>
                      <a:pt x="21600" y="21600"/>
                    </a:lnTo>
                    <a:lnTo>
                      <a:pt x="16800" y="21600"/>
                    </a:lnTo>
                    <a:lnTo>
                      <a:pt x="16800" y="6821"/>
                    </a:lnTo>
                    <a:close/>
                    <a:moveTo>
                      <a:pt x="8400" y="0"/>
                    </a:moveTo>
                    <a:lnTo>
                      <a:pt x="13200" y="0"/>
                    </a:lnTo>
                    <a:lnTo>
                      <a:pt x="13200" y="21600"/>
                    </a:lnTo>
                    <a:lnTo>
                      <a:pt x="8400" y="21600"/>
                    </a:lnTo>
                    <a:lnTo>
                      <a:pt x="840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grpSp>
          <p:nvGrpSpPr>
            <p:cNvPr id="19" name="成组">
              <a:extLst>
                <a:ext uri="{FF2B5EF4-FFF2-40B4-BE49-F238E27FC236}">
                  <a16:creationId xmlns:a16="http://schemas.microsoft.com/office/drawing/2014/main" id="{B762767B-117F-8762-3057-BEC9EF6868AC}"/>
                </a:ext>
              </a:extLst>
            </p:cNvPr>
            <p:cNvGrpSpPr/>
            <p:nvPr/>
          </p:nvGrpSpPr>
          <p:grpSpPr>
            <a:xfrm>
              <a:off x="5334096" y="4483337"/>
              <a:ext cx="457201" cy="457201"/>
              <a:chOff x="0" y="0"/>
              <a:chExt cx="457200" cy="457200"/>
            </a:xfrm>
          </p:grpSpPr>
          <p:sp>
            <p:nvSpPr>
              <p:cNvPr id="20" name="任意形状 402">
                <a:extLst>
                  <a:ext uri="{FF2B5EF4-FFF2-40B4-BE49-F238E27FC236}">
                    <a16:creationId xmlns:a16="http://schemas.microsoft.com/office/drawing/2014/main" id="{21093F17-49F8-BA7E-3CD9-893B4F9D3F99}"/>
                  </a:ext>
                </a:extLst>
              </p:cNvPr>
              <p:cNvSpPr/>
              <p:nvPr/>
            </p:nvSpPr>
            <p:spPr>
              <a:xfrm>
                <a:off x="0" y="0"/>
                <a:ext cx="457200" cy="457200"/>
              </a:xfrm>
              <a:prstGeom prst="rect">
                <a:avLst/>
              </a:prstGeom>
              <a:solidFill>
                <a:srgbClr val="FFFFFF">
                  <a:alpha val="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21" name="任意形状 403">
                <a:extLst>
                  <a:ext uri="{FF2B5EF4-FFF2-40B4-BE49-F238E27FC236}">
                    <a16:creationId xmlns:a16="http://schemas.microsoft.com/office/drawing/2014/main" id="{9EE7D11B-2103-07D2-6F41-5E35C1F1B517}"/>
                  </a:ext>
                </a:extLst>
              </p:cNvPr>
              <p:cNvSpPr/>
              <p:nvPr/>
            </p:nvSpPr>
            <p:spPr>
              <a:xfrm>
                <a:off x="57150" y="57150"/>
                <a:ext cx="342900" cy="381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3200" y="19440"/>
                    </a:moveTo>
                    <a:lnTo>
                      <a:pt x="10800" y="21600"/>
                    </a:lnTo>
                    <a:lnTo>
                      <a:pt x="8400" y="19440"/>
                    </a:lnTo>
                    <a:lnTo>
                      <a:pt x="2394" y="19440"/>
                    </a:lnTo>
                    <a:cubicBezTo>
                      <a:pt x="1072" y="19440"/>
                      <a:pt x="0" y="18475"/>
                      <a:pt x="0" y="17285"/>
                    </a:cubicBezTo>
                    <a:lnTo>
                      <a:pt x="0" y="2155"/>
                    </a:lnTo>
                    <a:cubicBezTo>
                      <a:pt x="0" y="964"/>
                      <a:pt x="1072" y="0"/>
                      <a:pt x="2394" y="0"/>
                    </a:cubicBezTo>
                    <a:lnTo>
                      <a:pt x="19206" y="0"/>
                    </a:lnTo>
                    <a:cubicBezTo>
                      <a:pt x="20528" y="0"/>
                      <a:pt x="21600" y="964"/>
                      <a:pt x="21600" y="2155"/>
                    </a:cubicBezTo>
                    <a:lnTo>
                      <a:pt x="21600" y="17285"/>
                    </a:lnTo>
                    <a:cubicBezTo>
                      <a:pt x="21600" y="18475"/>
                      <a:pt x="20528" y="19440"/>
                      <a:pt x="19206" y="19440"/>
                    </a:cubicBezTo>
                    <a:lnTo>
                      <a:pt x="13200" y="19440"/>
                    </a:lnTo>
                    <a:close/>
                    <a:moveTo>
                      <a:pt x="4028" y="16200"/>
                    </a:moveTo>
                    <a:lnTo>
                      <a:pt x="17816" y="16200"/>
                    </a:lnTo>
                    <a:cubicBezTo>
                      <a:pt x="16247" y="14169"/>
                      <a:pt x="13671" y="12958"/>
                      <a:pt x="10922" y="12960"/>
                    </a:cubicBezTo>
                    <a:cubicBezTo>
                      <a:pt x="8173" y="12958"/>
                      <a:pt x="5598" y="14169"/>
                      <a:pt x="4028" y="16200"/>
                    </a:cubicBezTo>
                    <a:close/>
                    <a:moveTo>
                      <a:pt x="10800" y="10800"/>
                    </a:moveTo>
                    <a:cubicBezTo>
                      <a:pt x="13120" y="10800"/>
                      <a:pt x="15000" y="9108"/>
                      <a:pt x="15000" y="7020"/>
                    </a:cubicBezTo>
                    <a:cubicBezTo>
                      <a:pt x="15000" y="4932"/>
                      <a:pt x="13120" y="3240"/>
                      <a:pt x="10800" y="3240"/>
                    </a:cubicBezTo>
                    <a:cubicBezTo>
                      <a:pt x="8480" y="3240"/>
                      <a:pt x="6600" y="4932"/>
                      <a:pt x="6600" y="7020"/>
                    </a:cubicBezTo>
                    <a:cubicBezTo>
                      <a:pt x="6600" y="9108"/>
                      <a:pt x="8480" y="10800"/>
                      <a:pt x="10800" y="10800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grpSp>
          <p:nvGrpSpPr>
            <p:cNvPr id="22" name="成组">
              <a:extLst>
                <a:ext uri="{FF2B5EF4-FFF2-40B4-BE49-F238E27FC236}">
                  <a16:creationId xmlns:a16="http://schemas.microsoft.com/office/drawing/2014/main" id="{67EF5803-265A-EB4C-E3CB-273C28FB506B}"/>
                </a:ext>
              </a:extLst>
            </p:cNvPr>
            <p:cNvGrpSpPr/>
            <p:nvPr/>
          </p:nvGrpSpPr>
          <p:grpSpPr>
            <a:xfrm>
              <a:off x="6364297" y="4483337"/>
              <a:ext cx="457201" cy="457201"/>
              <a:chOff x="0" y="0"/>
              <a:chExt cx="457200" cy="457200"/>
            </a:xfrm>
          </p:grpSpPr>
          <p:sp>
            <p:nvSpPr>
              <p:cNvPr id="23" name="任意形状 1081">
                <a:extLst>
                  <a:ext uri="{FF2B5EF4-FFF2-40B4-BE49-F238E27FC236}">
                    <a16:creationId xmlns:a16="http://schemas.microsoft.com/office/drawing/2014/main" id="{594DF6F7-06FB-F909-53AA-5EA9A6273828}"/>
                  </a:ext>
                </a:extLst>
              </p:cNvPr>
              <p:cNvSpPr/>
              <p:nvPr/>
            </p:nvSpPr>
            <p:spPr>
              <a:xfrm>
                <a:off x="0" y="0"/>
                <a:ext cx="457200" cy="457200"/>
              </a:xfrm>
              <a:prstGeom prst="rect">
                <a:avLst/>
              </a:prstGeom>
              <a:solidFill>
                <a:srgbClr val="FFFFFF">
                  <a:alpha val="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24" name="任意形状 1082">
                <a:extLst>
                  <a:ext uri="{FF2B5EF4-FFF2-40B4-BE49-F238E27FC236}">
                    <a16:creationId xmlns:a16="http://schemas.microsoft.com/office/drawing/2014/main" id="{038270D3-5074-CE66-000A-09D3D026908F}"/>
                  </a:ext>
                </a:extLst>
              </p:cNvPr>
              <p:cNvSpPr/>
              <p:nvPr/>
            </p:nvSpPr>
            <p:spPr>
              <a:xfrm>
                <a:off x="38100" y="55797"/>
                <a:ext cx="381001" cy="3633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93" h="21600" extrusionOk="0">
                    <a:moveTo>
                      <a:pt x="3162" y="0"/>
                    </a:moveTo>
                    <a:lnTo>
                      <a:pt x="4688" y="1601"/>
                    </a:lnTo>
                    <a:cubicBezTo>
                      <a:pt x="3066" y="3299"/>
                      <a:pt x="2156" y="5605"/>
                      <a:pt x="2159" y="8009"/>
                    </a:cubicBezTo>
                    <a:cubicBezTo>
                      <a:pt x="2159" y="10512"/>
                      <a:pt x="3125" y="12777"/>
                      <a:pt x="4688" y="14416"/>
                    </a:cubicBezTo>
                    <a:lnTo>
                      <a:pt x="3163" y="16016"/>
                    </a:lnTo>
                    <a:cubicBezTo>
                      <a:pt x="1135" y="13895"/>
                      <a:pt x="-3" y="11013"/>
                      <a:pt x="0" y="8009"/>
                    </a:cubicBezTo>
                    <a:cubicBezTo>
                      <a:pt x="-4" y="5004"/>
                      <a:pt x="1134" y="2122"/>
                      <a:pt x="3162" y="0"/>
                    </a:cubicBezTo>
                    <a:close/>
                    <a:moveTo>
                      <a:pt x="18430" y="0"/>
                    </a:moveTo>
                    <a:cubicBezTo>
                      <a:pt x="20458" y="2122"/>
                      <a:pt x="21596" y="5004"/>
                      <a:pt x="21592" y="8009"/>
                    </a:cubicBezTo>
                    <a:cubicBezTo>
                      <a:pt x="21596" y="11013"/>
                      <a:pt x="20458" y="13896"/>
                      <a:pt x="18430" y="16017"/>
                    </a:cubicBezTo>
                    <a:lnTo>
                      <a:pt x="16904" y="14416"/>
                    </a:lnTo>
                    <a:cubicBezTo>
                      <a:pt x="18526" y="12718"/>
                      <a:pt x="19436" y="10412"/>
                      <a:pt x="19433" y="8009"/>
                    </a:cubicBezTo>
                    <a:cubicBezTo>
                      <a:pt x="19433" y="5506"/>
                      <a:pt x="18467" y="3240"/>
                      <a:pt x="16904" y="1601"/>
                    </a:cubicBezTo>
                    <a:lnTo>
                      <a:pt x="18429" y="1"/>
                    </a:lnTo>
                    <a:close/>
                    <a:moveTo>
                      <a:pt x="6215" y="3203"/>
                    </a:moveTo>
                    <a:lnTo>
                      <a:pt x="7743" y="4806"/>
                    </a:lnTo>
                    <a:cubicBezTo>
                      <a:pt x="6932" y="5654"/>
                      <a:pt x="6476" y="6807"/>
                      <a:pt x="6477" y="8009"/>
                    </a:cubicBezTo>
                    <a:cubicBezTo>
                      <a:pt x="6477" y="9260"/>
                      <a:pt x="6961" y="10393"/>
                      <a:pt x="7743" y="11212"/>
                    </a:cubicBezTo>
                    <a:lnTo>
                      <a:pt x="6215" y="12814"/>
                    </a:lnTo>
                    <a:cubicBezTo>
                      <a:pt x="4998" y="11541"/>
                      <a:pt x="4316" y="9812"/>
                      <a:pt x="4318" y="8009"/>
                    </a:cubicBezTo>
                    <a:cubicBezTo>
                      <a:pt x="4318" y="6132"/>
                      <a:pt x="5044" y="4433"/>
                      <a:pt x="6215" y="3203"/>
                    </a:cubicBezTo>
                    <a:close/>
                    <a:moveTo>
                      <a:pt x="15377" y="3203"/>
                    </a:moveTo>
                    <a:cubicBezTo>
                      <a:pt x="16594" y="4476"/>
                      <a:pt x="17276" y="6206"/>
                      <a:pt x="17274" y="8009"/>
                    </a:cubicBezTo>
                    <a:cubicBezTo>
                      <a:pt x="17276" y="9812"/>
                      <a:pt x="16594" y="11541"/>
                      <a:pt x="15377" y="12814"/>
                    </a:cubicBezTo>
                    <a:lnTo>
                      <a:pt x="13849" y="11212"/>
                    </a:lnTo>
                    <a:cubicBezTo>
                      <a:pt x="14660" y="10363"/>
                      <a:pt x="15116" y="9210"/>
                      <a:pt x="15115" y="8009"/>
                    </a:cubicBezTo>
                    <a:cubicBezTo>
                      <a:pt x="15116" y="6807"/>
                      <a:pt x="14660" y="5654"/>
                      <a:pt x="13849" y="4806"/>
                    </a:cubicBezTo>
                    <a:lnTo>
                      <a:pt x="15377" y="3203"/>
                    </a:lnTo>
                    <a:close/>
                    <a:moveTo>
                      <a:pt x="10796" y="10274"/>
                    </a:moveTo>
                    <a:cubicBezTo>
                      <a:pt x="9603" y="10274"/>
                      <a:pt x="8637" y="9260"/>
                      <a:pt x="8637" y="8009"/>
                    </a:cubicBezTo>
                    <a:cubicBezTo>
                      <a:pt x="8637" y="6758"/>
                      <a:pt x="9603" y="5743"/>
                      <a:pt x="10796" y="5743"/>
                    </a:cubicBezTo>
                    <a:cubicBezTo>
                      <a:pt x="11989" y="5743"/>
                      <a:pt x="12955" y="6758"/>
                      <a:pt x="12955" y="8009"/>
                    </a:cubicBezTo>
                    <a:cubicBezTo>
                      <a:pt x="12955" y="9260"/>
                      <a:pt x="11989" y="10274"/>
                      <a:pt x="10796" y="10274"/>
                    </a:cubicBezTo>
                    <a:close/>
                    <a:moveTo>
                      <a:pt x="10796" y="12539"/>
                    </a:moveTo>
                    <a:cubicBezTo>
                      <a:pt x="11422" y="12539"/>
                      <a:pt x="11959" y="13007"/>
                      <a:pt x="12074" y="13652"/>
                    </a:cubicBezTo>
                    <a:lnTo>
                      <a:pt x="13495" y="21600"/>
                    </a:lnTo>
                    <a:lnTo>
                      <a:pt x="8097" y="21600"/>
                    </a:lnTo>
                    <a:lnTo>
                      <a:pt x="9518" y="13652"/>
                    </a:lnTo>
                    <a:cubicBezTo>
                      <a:pt x="9633" y="13007"/>
                      <a:pt x="10170" y="12539"/>
                      <a:pt x="10796" y="12539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>
                  <a:latin typeface="Verdana" panose="020B0604030504040204" pitchFamily="34" charset="0"/>
                  <a:ea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sp>
          <p:nvSpPr>
            <p:cNvPr id="25" name="任意形状 1216">
              <a:extLst>
                <a:ext uri="{FF2B5EF4-FFF2-40B4-BE49-F238E27FC236}">
                  <a16:creationId xmlns:a16="http://schemas.microsoft.com/office/drawing/2014/main" id="{87412BF5-AE30-B9ED-80A1-9C41DBB1CEFE}"/>
                </a:ext>
              </a:extLst>
            </p:cNvPr>
            <p:cNvSpPr/>
            <p:nvPr/>
          </p:nvSpPr>
          <p:spPr>
            <a:xfrm>
              <a:off x="5391246" y="3482041"/>
              <a:ext cx="342901" cy="3810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00" y="0"/>
                  </a:moveTo>
                  <a:lnTo>
                    <a:pt x="21600" y="5400"/>
                  </a:lnTo>
                  <a:lnTo>
                    <a:pt x="21600" y="20529"/>
                  </a:lnTo>
                  <a:cubicBezTo>
                    <a:pt x="21599" y="21120"/>
                    <a:pt x="21066" y="21600"/>
                    <a:pt x="20408" y="21600"/>
                  </a:cubicBezTo>
                  <a:lnTo>
                    <a:pt x="1192" y="21600"/>
                  </a:lnTo>
                  <a:cubicBezTo>
                    <a:pt x="536" y="21596"/>
                    <a:pt x="5" y="21119"/>
                    <a:pt x="0" y="20529"/>
                  </a:cubicBezTo>
                  <a:lnTo>
                    <a:pt x="0" y="1071"/>
                  </a:lnTo>
                  <a:cubicBezTo>
                    <a:pt x="0" y="480"/>
                    <a:pt x="534" y="0"/>
                    <a:pt x="1192" y="0"/>
                  </a:cubicBezTo>
                  <a:lnTo>
                    <a:pt x="15600" y="0"/>
                  </a:lnTo>
                  <a:close/>
                  <a:moveTo>
                    <a:pt x="6714" y="11677"/>
                  </a:moveTo>
                  <a:lnTo>
                    <a:pt x="5524" y="12295"/>
                  </a:lnTo>
                  <a:lnTo>
                    <a:pt x="6724" y="14165"/>
                  </a:lnTo>
                  <a:lnTo>
                    <a:pt x="7914" y="13546"/>
                  </a:lnTo>
                  <a:cubicBezTo>
                    <a:pt x="8386" y="13948"/>
                    <a:pt x="8962" y="14253"/>
                    <a:pt x="9600" y="14423"/>
                  </a:cubicBezTo>
                  <a:lnTo>
                    <a:pt x="9600" y="15660"/>
                  </a:lnTo>
                  <a:lnTo>
                    <a:pt x="12000" y="15660"/>
                  </a:lnTo>
                  <a:lnTo>
                    <a:pt x="12000" y="14423"/>
                  </a:lnTo>
                  <a:cubicBezTo>
                    <a:pt x="12631" y="14254"/>
                    <a:pt x="13208" y="13954"/>
                    <a:pt x="13686" y="13546"/>
                  </a:cubicBezTo>
                  <a:lnTo>
                    <a:pt x="14876" y="14165"/>
                  </a:lnTo>
                  <a:lnTo>
                    <a:pt x="16076" y="12295"/>
                  </a:lnTo>
                  <a:lnTo>
                    <a:pt x="14886" y="11676"/>
                  </a:lnTo>
                  <a:cubicBezTo>
                    <a:pt x="15038" y="11100"/>
                    <a:pt x="15038" y="10500"/>
                    <a:pt x="14886" y="9924"/>
                  </a:cubicBezTo>
                  <a:lnTo>
                    <a:pt x="16076" y="9305"/>
                  </a:lnTo>
                  <a:lnTo>
                    <a:pt x="14876" y="7435"/>
                  </a:lnTo>
                  <a:lnTo>
                    <a:pt x="13686" y="8054"/>
                  </a:lnTo>
                  <a:cubicBezTo>
                    <a:pt x="13208" y="7646"/>
                    <a:pt x="12631" y="7346"/>
                    <a:pt x="12000" y="7177"/>
                  </a:cubicBezTo>
                  <a:lnTo>
                    <a:pt x="12000" y="5940"/>
                  </a:lnTo>
                  <a:lnTo>
                    <a:pt x="9600" y="5940"/>
                  </a:lnTo>
                  <a:lnTo>
                    <a:pt x="9600" y="7177"/>
                  </a:lnTo>
                  <a:cubicBezTo>
                    <a:pt x="8969" y="7346"/>
                    <a:pt x="8392" y="7646"/>
                    <a:pt x="7914" y="8054"/>
                  </a:cubicBezTo>
                  <a:lnTo>
                    <a:pt x="6724" y="7435"/>
                  </a:lnTo>
                  <a:lnTo>
                    <a:pt x="5524" y="9305"/>
                  </a:lnTo>
                  <a:lnTo>
                    <a:pt x="6714" y="9924"/>
                  </a:lnTo>
                  <a:cubicBezTo>
                    <a:pt x="6562" y="10500"/>
                    <a:pt x="6562" y="11101"/>
                    <a:pt x="6714" y="11677"/>
                  </a:cubicBezTo>
                  <a:close/>
                  <a:moveTo>
                    <a:pt x="10800" y="12420"/>
                  </a:moveTo>
                  <a:cubicBezTo>
                    <a:pt x="9806" y="12420"/>
                    <a:pt x="9000" y="11695"/>
                    <a:pt x="9000" y="10800"/>
                  </a:cubicBezTo>
                  <a:cubicBezTo>
                    <a:pt x="9000" y="9905"/>
                    <a:pt x="9806" y="9180"/>
                    <a:pt x="10800" y="9180"/>
                  </a:cubicBezTo>
                  <a:cubicBezTo>
                    <a:pt x="11794" y="9180"/>
                    <a:pt x="12600" y="9905"/>
                    <a:pt x="12600" y="10800"/>
                  </a:cubicBezTo>
                  <a:cubicBezTo>
                    <a:pt x="12600" y="11695"/>
                    <a:pt x="11794" y="12420"/>
                    <a:pt x="10800" y="12420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endParaRPr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7357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9F81D7-2181-B336-DB57-06A5E735F8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F731F01-4882-E3EF-58D5-63A520E6C60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49867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731F01-4882-E3EF-58D5-63A520E6C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F9E95AAE-DC92-875F-2D00-8C9BCA203C95}"/>
              </a:ext>
            </a:extLst>
          </p:cNvPr>
          <p:cNvSpPr/>
          <p:nvPr/>
        </p:nvSpPr>
        <p:spPr>
          <a:xfrm>
            <a:off x="1004155" y="1633630"/>
            <a:ext cx="2634394" cy="4532220"/>
          </a:xfrm>
          <a:prstGeom prst="roundRect">
            <a:avLst>
              <a:gd name="adj" fmla="val 0"/>
            </a:avLst>
          </a:prstGeom>
          <a:solidFill>
            <a:srgbClr val="F2F3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88000" rIns="0" bIns="0" rtlCol="0" anchor="t" anchorCtr="0"/>
          <a:lstStyle/>
          <a:p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B5416AB4-67D7-0F4A-A81E-3F9238F3A96A}"/>
              </a:ext>
            </a:extLst>
          </p:cNvPr>
          <p:cNvSpPr/>
          <p:nvPr/>
        </p:nvSpPr>
        <p:spPr>
          <a:xfrm>
            <a:off x="3702905" y="1633630"/>
            <a:ext cx="2634394" cy="4532220"/>
          </a:xfrm>
          <a:prstGeom prst="roundRect">
            <a:avLst>
              <a:gd name="adj" fmla="val 0"/>
            </a:avLst>
          </a:prstGeom>
          <a:solidFill>
            <a:srgbClr val="F2F3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88000" rIns="0" bIns="0" rtlCol="0" anchor="t" anchorCtr="0"/>
          <a:lstStyle/>
          <a:p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32" name="Прямоугольник: скругленные углы 31">
            <a:extLst>
              <a:ext uri="{FF2B5EF4-FFF2-40B4-BE49-F238E27FC236}">
                <a16:creationId xmlns:a16="http://schemas.microsoft.com/office/drawing/2014/main" id="{AFA8E67A-1489-378A-0B3D-AC190188F9C9}"/>
              </a:ext>
            </a:extLst>
          </p:cNvPr>
          <p:cNvSpPr/>
          <p:nvPr/>
        </p:nvSpPr>
        <p:spPr>
          <a:xfrm>
            <a:off x="6401655" y="1633630"/>
            <a:ext cx="2634394" cy="4532220"/>
          </a:xfrm>
          <a:prstGeom prst="roundRect">
            <a:avLst>
              <a:gd name="adj" fmla="val 0"/>
            </a:avLst>
          </a:prstGeom>
          <a:solidFill>
            <a:srgbClr val="F2F3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88000" rIns="0" bIns="0" rtlCol="0" anchor="t" anchorCtr="0"/>
          <a:lstStyle/>
          <a:p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33" name="Прямоугольник: скругленные углы 32">
            <a:extLst>
              <a:ext uri="{FF2B5EF4-FFF2-40B4-BE49-F238E27FC236}">
                <a16:creationId xmlns:a16="http://schemas.microsoft.com/office/drawing/2014/main" id="{D97E46E1-0FF8-5508-970A-4A6DA4219635}"/>
              </a:ext>
            </a:extLst>
          </p:cNvPr>
          <p:cNvSpPr/>
          <p:nvPr/>
        </p:nvSpPr>
        <p:spPr>
          <a:xfrm>
            <a:off x="9100406" y="1633630"/>
            <a:ext cx="2634394" cy="4532220"/>
          </a:xfrm>
          <a:prstGeom prst="roundRect">
            <a:avLst>
              <a:gd name="adj" fmla="val 0"/>
            </a:avLst>
          </a:prstGeom>
          <a:solidFill>
            <a:srgbClr val="F2F3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88000" rIns="0" bIns="0" rtlCol="0" anchor="t" anchorCtr="0"/>
          <a:lstStyle/>
          <a:p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49A8FAF-D800-4112-1FC9-C09837356CF0}"/>
              </a:ext>
            </a:extLst>
          </p:cNvPr>
          <p:cNvSpPr/>
          <p:nvPr/>
        </p:nvSpPr>
        <p:spPr>
          <a:xfrm>
            <a:off x="6401655" y="1956303"/>
            <a:ext cx="2634393" cy="951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15144C6-3841-6DB0-2B9E-6EFBB530A752}"/>
              </a:ext>
            </a:extLst>
          </p:cNvPr>
          <p:cNvSpPr/>
          <p:nvPr/>
        </p:nvSpPr>
        <p:spPr>
          <a:xfrm>
            <a:off x="9100407" y="1956303"/>
            <a:ext cx="2634393" cy="951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CA45BB23-1E6C-0D9A-7E10-8D403185EFDF}"/>
              </a:ext>
            </a:extLst>
          </p:cNvPr>
          <p:cNvSpPr/>
          <p:nvPr/>
        </p:nvSpPr>
        <p:spPr>
          <a:xfrm>
            <a:off x="3702905" y="1956303"/>
            <a:ext cx="2634393" cy="951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531621AC-8BBD-8846-5449-C048A7089208}"/>
              </a:ext>
            </a:extLst>
          </p:cNvPr>
          <p:cNvSpPr/>
          <p:nvPr/>
        </p:nvSpPr>
        <p:spPr>
          <a:xfrm>
            <a:off x="1004155" y="1956303"/>
            <a:ext cx="2634393" cy="951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561553A6-9A5F-ED81-ED93-38D8D5D48E81}"/>
              </a:ext>
            </a:extLst>
          </p:cNvPr>
          <p:cNvSpPr/>
          <p:nvPr/>
        </p:nvSpPr>
        <p:spPr>
          <a:xfrm flipH="1">
            <a:off x="-1" y="1925305"/>
            <a:ext cx="939800" cy="4240545"/>
          </a:xfrm>
          <a:prstGeom prst="roundRect">
            <a:avLst>
              <a:gd name="adj" fmla="val 0"/>
            </a:avLst>
          </a:prstGeom>
          <a:gradFill>
            <a:gsLst>
              <a:gs pos="100000">
                <a:srgbClr val="D7DAE9"/>
              </a:gs>
              <a:gs pos="0">
                <a:srgbClr val="F1F2F7">
                  <a:alpha val="4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>
              <a:solidFill>
                <a:prstClr val="white"/>
              </a:solidFill>
              <a:latin typeface="Verdana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2D0CBD8F-EA16-EE55-2413-3C286D34D490}"/>
              </a:ext>
            </a:extLst>
          </p:cNvPr>
          <p:cNvGrpSpPr>
            <a:grpSpLocks noChangeAspect="1"/>
          </p:cNvGrpSpPr>
          <p:nvPr/>
        </p:nvGrpSpPr>
        <p:grpSpPr>
          <a:xfrm>
            <a:off x="-2" y="-17075"/>
            <a:ext cx="12204496" cy="1982283"/>
            <a:chOff x="-3124" y="107"/>
            <a:chExt cx="3051124" cy="502744"/>
          </a:xfrm>
        </p:grpSpPr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8CDD845E-35CD-C916-3708-D1E14B61C5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37479" b="33250"/>
            <a:stretch/>
          </p:blipFill>
          <p:spPr>
            <a:xfrm>
              <a:off x="0" y="142"/>
              <a:ext cx="3048000" cy="501863"/>
            </a:xfrm>
            <a:prstGeom prst="rect">
              <a:avLst/>
            </a:prstGeom>
          </p:spPr>
        </p:pic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4658BB9E-4215-7A72-1A26-B555910503C6}"/>
                </a:ext>
              </a:extLst>
            </p:cNvPr>
            <p:cNvSpPr/>
            <p:nvPr/>
          </p:nvSpPr>
          <p:spPr>
            <a:xfrm>
              <a:off x="-3124" y="107"/>
              <a:ext cx="3051124" cy="502744"/>
            </a:xfrm>
            <a:prstGeom prst="rect">
              <a:avLst/>
            </a:prstGeom>
            <a:gradFill>
              <a:gsLst>
                <a:gs pos="0">
                  <a:srgbClr val="0B1823">
                    <a:alpha val="63000"/>
                  </a:srgbClr>
                </a:gs>
                <a:gs pos="100000">
                  <a:srgbClr val="0B1823"/>
                </a:gs>
              </a:gsLst>
              <a:path path="circle">
                <a:fillToRect l="100000" b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9" name="Текст 18">
            <a:extLst>
              <a:ext uri="{FF2B5EF4-FFF2-40B4-BE49-F238E27FC236}">
                <a16:creationId xmlns:a16="http://schemas.microsoft.com/office/drawing/2014/main" id="{EA73901A-F022-7CB6-2883-6BE4D2AC9B3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ru-RU" dirty="0"/>
              <a:t>Источник: анализ </a:t>
            </a:r>
            <a:r>
              <a:rPr lang="en-US" dirty="0"/>
              <a:t>Strategy Partners </a:t>
            </a:r>
          </a:p>
        </p:txBody>
      </p:sp>
      <p:sp>
        <p:nvSpPr>
          <p:cNvPr id="36" name="Rectangle 2">
            <a:extLst>
              <a:ext uri="{FF2B5EF4-FFF2-40B4-BE49-F238E27FC236}">
                <a16:creationId xmlns:a16="http://schemas.microsoft.com/office/drawing/2014/main" id="{D1CAD3E1-DECB-E8AF-01FB-FD0E4517D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276999"/>
            <a:ext cx="8015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Прямоугольник: скругленные углы 21">
            <a:extLst>
              <a:ext uri="{FF2B5EF4-FFF2-40B4-BE49-F238E27FC236}">
                <a16:creationId xmlns:a16="http://schemas.microsoft.com/office/drawing/2014/main" id="{0E8F4895-A74F-AFF7-E91A-D0E1A7A7A2B2}"/>
              </a:ext>
            </a:extLst>
          </p:cNvPr>
          <p:cNvSpPr/>
          <p:nvPr/>
        </p:nvSpPr>
        <p:spPr>
          <a:xfrm>
            <a:off x="0" y="1828786"/>
            <a:ext cx="12204494" cy="13876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A334FE93-EEE1-6770-1F2D-F855C0EC221C}"/>
              </a:ext>
            </a:extLst>
          </p:cNvPr>
          <p:cNvSpPr/>
          <p:nvPr/>
        </p:nvSpPr>
        <p:spPr>
          <a:xfrm>
            <a:off x="1180451" y="1834327"/>
            <a:ext cx="127684" cy="12768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Заголовок 4">
            <a:extLst>
              <a:ext uri="{FF2B5EF4-FFF2-40B4-BE49-F238E27FC236}">
                <a16:creationId xmlns:a16="http://schemas.microsoft.com/office/drawing/2014/main" id="{83FBA29F-A329-791E-8EF9-282644F22E03}"/>
              </a:ext>
            </a:extLst>
          </p:cNvPr>
          <p:cNvSpPr txBox="1">
            <a:spLocks/>
          </p:cNvSpPr>
          <p:nvPr/>
        </p:nvSpPr>
        <p:spPr>
          <a:xfrm>
            <a:off x="691557" y="1476359"/>
            <a:ext cx="1105472" cy="238902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+mn-lt"/>
                <a:ea typeface="+mj-ea"/>
                <a:cs typeface="SB Sans Text Semibold" panose="020B0703040504020204" pitchFamily="34" charset="-5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2022</a:t>
            </a: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647BABCD-7751-7725-E883-0F5D97D8A4B5}"/>
              </a:ext>
            </a:extLst>
          </p:cNvPr>
          <p:cNvSpPr/>
          <p:nvPr/>
        </p:nvSpPr>
        <p:spPr>
          <a:xfrm>
            <a:off x="2857576" y="1834327"/>
            <a:ext cx="127684" cy="12768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Заголовок 4">
            <a:extLst>
              <a:ext uri="{FF2B5EF4-FFF2-40B4-BE49-F238E27FC236}">
                <a16:creationId xmlns:a16="http://schemas.microsoft.com/office/drawing/2014/main" id="{42ABAEF7-7D74-D79D-1698-BE2B070A555C}"/>
              </a:ext>
            </a:extLst>
          </p:cNvPr>
          <p:cNvSpPr txBox="1">
            <a:spLocks/>
          </p:cNvSpPr>
          <p:nvPr/>
        </p:nvSpPr>
        <p:spPr>
          <a:xfrm>
            <a:off x="2368682" y="1476359"/>
            <a:ext cx="1105472" cy="238902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+mn-lt"/>
                <a:ea typeface="+mj-ea"/>
                <a:cs typeface="SB Sans Text Semibold" panose="020B0703040504020204" pitchFamily="34" charset="-5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2023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Verdana"/>
              <a:ea typeface="+mj-ea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0FAB5E01-D7B7-3AFB-58E3-8CD401BCF03E}"/>
              </a:ext>
            </a:extLst>
          </p:cNvPr>
          <p:cNvSpPr/>
          <p:nvPr/>
        </p:nvSpPr>
        <p:spPr>
          <a:xfrm>
            <a:off x="1004155" y="3086099"/>
            <a:ext cx="2635200" cy="11557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08000" bIns="0" rtlCol="0" anchor="t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Уход зарубежных вендоров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Поддержка разработки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и продаж российских решений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95EB6E4B-3C90-5B0B-CDA8-3DF333692283}"/>
              </a:ext>
            </a:extLst>
          </p:cNvPr>
          <p:cNvSpPr/>
          <p:nvPr/>
        </p:nvSpPr>
        <p:spPr>
          <a:xfrm>
            <a:off x="1004155" y="4648943"/>
            <a:ext cx="2635200" cy="13388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0" rtlCol="0" anchor="t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Рост числа российских решений и их доли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на рынке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Фокус на закрытии критических разрывов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Реестровый статус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важен для роста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F991F082-AB13-7DC7-0D2F-DAD0C49E761D}"/>
              </a:ext>
            </a:extLst>
          </p:cNvPr>
          <p:cNvSpPr/>
          <p:nvPr/>
        </p:nvSpPr>
        <p:spPr>
          <a:xfrm>
            <a:off x="3702905" y="3086099"/>
            <a:ext cx="2635200" cy="11557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08000" bIns="0" rtlCol="0" anchor="t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</a:rPr>
              <a:t>Рост требований: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зрелость и совместимость; доказанная эффективность; безопасность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Рост стоимости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аппаратной части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3249208-E5E5-34F3-578C-74B735F6473E}"/>
              </a:ext>
            </a:extLst>
          </p:cNvPr>
          <p:cNvSpPr/>
          <p:nvPr/>
        </p:nvSpPr>
        <p:spPr>
          <a:xfrm>
            <a:off x="3702905" y="4648943"/>
            <a:ext cx="2635200" cy="13388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08000" bIns="0" rtlCol="0" anchor="t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Фокус на масштабном внедрении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Замедление темпов роста рынка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Рост популярности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сервисной модели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(OPEX вместо CAPEX)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AEE49BDC-4A68-A3AC-03EC-15EB5DB4B9DF}"/>
              </a:ext>
            </a:extLst>
          </p:cNvPr>
          <p:cNvSpPr/>
          <p:nvPr/>
        </p:nvSpPr>
        <p:spPr>
          <a:xfrm>
            <a:off x="6401655" y="3086099"/>
            <a:ext cx="2635200" cy="11557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08000" bIns="0" rtlCol="0" anchor="t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Жесткий контроль внедрений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Усиление требований к КИИ и сертификации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Рост рисков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по неподдерживаемым решениям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BE9BD9D3-74D6-D271-F755-9B42A5762A8D}"/>
              </a:ext>
            </a:extLst>
          </p:cNvPr>
          <p:cNvSpPr/>
          <p:nvPr/>
        </p:nvSpPr>
        <p:spPr>
          <a:xfrm>
            <a:off x="6401655" y="4648943"/>
            <a:ext cx="2635200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0" rtlCol="0" anchor="t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Рост зрелости российских ИТ-решений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Упор на экономический эффект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Интеграция и партнерства лидеров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20BADEE3-9E86-3666-FAF5-FA2AD2FEF13A}"/>
              </a:ext>
            </a:extLst>
          </p:cNvPr>
          <p:cNvSpPr/>
          <p:nvPr/>
        </p:nvSpPr>
        <p:spPr>
          <a:xfrm>
            <a:off x="9100406" y="3086099"/>
            <a:ext cx="2635200" cy="11557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08000" bIns="0" rtlCol="0" anchor="t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Спрос смещается к зрелым продуктам, экосистемам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и платформам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Отказ от неподдерживаемых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и несовместимых решений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Рост роли ИТ-услуг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D4BD584-DFD3-82CB-B9C8-12E96437CF32}"/>
              </a:ext>
            </a:extLst>
          </p:cNvPr>
          <p:cNvSpPr/>
          <p:nvPr/>
        </p:nvSpPr>
        <p:spPr>
          <a:xfrm>
            <a:off x="9100406" y="4648943"/>
            <a:ext cx="2635200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08000" bIns="0" rtlCol="0" anchor="t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Дальнейшая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консолидация рынка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Рост лидеров через интеграции и аналоги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Выход российских игроков на зарубежные рынки</a:t>
            </a:r>
          </a:p>
        </p:txBody>
      </p: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id="{DEB29DFA-740E-6B47-4826-9F4696849594}"/>
              </a:ext>
            </a:extLst>
          </p:cNvPr>
          <p:cNvCxnSpPr>
            <a:cxnSpLocks/>
          </p:cNvCxnSpPr>
          <p:nvPr/>
        </p:nvCxnSpPr>
        <p:spPr>
          <a:xfrm>
            <a:off x="0" y="4445372"/>
            <a:ext cx="12179506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Овал 60">
            <a:extLst>
              <a:ext uri="{FF2B5EF4-FFF2-40B4-BE49-F238E27FC236}">
                <a16:creationId xmlns:a16="http://schemas.microsoft.com/office/drawing/2014/main" id="{9222E2F5-357F-DE65-D90D-75E324FBD44D}"/>
              </a:ext>
            </a:extLst>
          </p:cNvPr>
          <p:cNvSpPr/>
          <p:nvPr/>
        </p:nvSpPr>
        <p:spPr>
          <a:xfrm>
            <a:off x="3895921" y="1834327"/>
            <a:ext cx="127684" cy="12768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Заголовок 4">
            <a:extLst>
              <a:ext uri="{FF2B5EF4-FFF2-40B4-BE49-F238E27FC236}">
                <a16:creationId xmlns:a16="http://schemas.microsoft.com/office/drawing/2014/main" id="{609EB56C-BDB1-1CA1-7D22-885E27C90ECA}"/>
              </a:ext>
            </a:extLst>
          </p:cNvPr>
          <p:cNvSpPr txBox="1">
            <a:spLocks/>
          </p:cNvSpPr>
          <p:nvPr/>
        </p:nvSpPr>
        <p:spPr>
          <a:xfrm>
            <a:off x="3407027" y="1476359"/>
            <a:ext cx="1105472" cy="238902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+mn-lt"/>
                <a:ea typeface="+mj-ea"/>
                <a:cs typeface="SB Sans Text Semibold" panose="020B0703040504020204" pitchFamily="34" charset="-5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20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4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Verdana"/>
              <a:ea typeface="+mj-ea"/>
            </a:endParaRPr>
          </a:p>
        </p:txBody>
      </p:sp>
      <p:sp>
        <p:nvSpPr>
          <p:cNvPr id="63" name="Овал 62">
            <a:extLst>
              <a:ext uri="{FF2B5EF4-FFF2-40B4-BE49-F238E27FC236}">
                <a16:creationId xmlns:a16="http://schemas.microsoft.com/office/drawing/2014/main" id="{C07E5F57-B2A8-D94F-A4A0-D708D8F3C5D1}"/>
              </a:ext>
            </a:extLst>
          </p:cNvPr>
          <p:cNvSpPr/>
          <p:nvPr/>
        </p:nvSpPr>
        <p:spPr>
          <a:xfrm>
            <a:off x="5779149" y="1834327"/>
            <a:ext cx="127684" cy="12768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Заголовок 4">
            <a:extLst>
              <a:ext uri="{FF2B5EF4-FFF2-40B4-BE49-F238E27FC236}">
                <a16:creationId xmlns:a16="http://schemas.microsoft.com/office/drawing/2014/main" id="{6B424C66-F0EA-31CE-4AFC-462712CB3F72}"/>
              </a:ext>
            </a:extLst>
          </p:cNvPr>
          <p:cNvSpPr txBox="1">
            <a:spLocks/>
          </p:cNvSpPr>
          <p:nvPr/>
        </p:nvSpPr>
        <p:spPr>
          <a:xfrm>
            <a:off x="5290255" y="1476359"/>
            <a:ext cx="1105472" cy="238902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+mn-lt"/>
                <a:ea typeface="+mj-ea"/>
                <a:cs typeface="SB Sans Text Semibold" panose="020B0703040504020204" pitchFamily="34" charset="-5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20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5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Verdana"/>
              <a:ea typeface="+mj-ea"/>
            </a:endParaRPr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id="{0F88D796-D978-8B89-831E-41135DA08D78}"/>
              </a:ext>
            </a:extLst>
          </p:cNvPr>
          <p:cNvSpPr/>
          <p:nvPr/>
        </p:nvSpPr>
        <p:spPr>
          <a:xfrm>
            <a:off x="6885667" y="1834327"/>
            <a:ext cx="127684" cy="12768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Заголовок 4">
            <a:extLst>
              <a:ext uri="{FF2B5EF4-FFF2-40B4-BE49-F238E27FC236}">
                <a16:creationId xmlns:a16="http://schemas.microsoft.com/office/drawing/2014/main" id="{8BABE536-EF1E-7E72-8C64-28D27212BE1E}"/>
              </a:ext>
            </a:extLst>
          </p:cNvPr>
          <p:cNvSpPr txBox="1">
            <a:spLocks/>
          </p:cNvSpPr>
          <p:nvPr/>
        </p:nvSpPr>
        <p:spPr>
          <a:xfrm>
            <a:off x="6396773" y="1476359"/>
            <a:ext cx="1105472" cy="238902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+mn-lt"/>
                <a:ea typeface="+mj-ea"/>
                <a:cs typeface="SB Sans Text Semibold" panose="020B0703040504020204" pitchFamily="34" charset="-5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20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6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Verdana"/>
              <a:ea typeface="+mj-ea"/>
            </a:endParaRPr>
          </a:p>
        </p:txBody>
      </p:sp>
      <p:sp>
        <p:nvSpPr>
          <p:cNvPr id="72" name="Овал 71">
            <a:extLst>
              <a:ext uri="{FF2B5EF4-FFF2-40B4-BE49-F238E27FC236}">
                <a16:creationId xmlns:a16="http://schemas.microsoft.com/office/drawing/2014/main" id="{551B3FAE-A056-63D6-AE48-27A471878303}"/>
              </a:ext>
            </a:extLst>
          </p:cNvPr>
          <p:cNvSpPr/>
          <p:nvPr/>
        </p:nvSpPr>
        <p:spPr>
          <a:xfrm>
            <a:off x="8689434" y="1834327"/>
            <a:ext cx="127684" cy="12768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Заголовок 4">
            <a:extLst>
              <a:ext uri="{FF2B5EF4-FFF2-40B4-BE49-F238E27FC236}">
                <a16:creationId xmlns:a16="http://schemas.microsoft.com/office/drawing/2014/main" id="{108DCE3F-6277-F824-14A8-8432F88A0EE5}"/>
              </a:ext>
            </a:extLst>
          </p:cNvPr>
          <p:cNvSpPr txBox="1">
            <a:spLocks/>
          </p:cNvSpPr>
          <p:nvPr/>
        </p:nvSpPr>
        <p:spPr>
          <a:xfrm>
            <a:off x="8200540" y="1476359"/>
            <a:ext cx="1105472" cy="238902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+mn-lt"/>
                <a:ea typeface="+mj-ea"/>
                <a:cs typeface="SB Sans Text Semibold" panose="020B0703040504020204" pitchFamily="34" charset="-5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20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7</a:t>
            </a:r>
            <a:r>
              <a:rPr kumimoji="0" lang="lv-LV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–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2028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Verdana"/>
              <a:ea typeface="+mj-ea"/>
            </a:endParaRPr>
          </a:p>
        </p:txBody>
      </p:sp>
      <p:sp>
        <p:nvSpPr>
          <p:cNvPr id="74" name="Овал 73">
            <a:extLst>
              <a:ext uri="{FF2B5EF4-FFF2-40B4-BE49-F238E27FC236}">
                <a16:creationId xmlns:a16="http://schemas.microsoft.com/office/drawing/2014/main" id="{CE033B1A-F92F-88EC-BCA6-45139EF3AE4B}"/>
              </a:ext>
            </a:extLst>
          </p:cNvPr>
          <p:cNvSpPr/>
          <p:nvPr/>
        </p:nvSpPr>
        <p:spPr>
          <a:xfrm>
            <a:off x="11200948" y="1834327"/>
            <a:ext cx="127684" cy="12768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Заголовок 4">
            <a:extLst>
              <a:ext uri="{FF2B5EF4-FFF2-40B4-BE49-F238E27FC236}">
                <a16:creationId xmlns:a16="http://schemas.microsoft.com/office/drawing/2014/main" id="{31F8CD21-173E-49C8-5B4C-5E2144E17B2C}"/>
              </a:ext>
            </a:extLst>
          </p:cNvPr>
          <p:cNvSpPr txBox="1">
            <a:spLocks/>
          </p:cNvSpPr>
          <p:nvPr/>
        </p:nvSpPr>
        <p:spPr>
          <a:xfrm>
            <a:off x="10712054" y="1476359"/>
            <a:ext cx="1105472" cy="238902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+mn-lt"/>
                <a:ea typeface="+mj-ea"/>
                <a:cs typeface="SB Sans Text Semibold" panose="020B0703040504020204" pitchFamily="34" charset="-5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20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9</a:t>
            </a:r>
            <a:r>
              <a:rPr kumimoji="0" lang="lv-LV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–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203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Verdana"/>
                <a:ea typeface="+mj-ea"/>
              </a:rPr>
              <a:t>0</a:t>
            </a:r>
          </a:p>
        </p:txBody>
      </p:sp>
      <p:sp>
        <p:nvSpPr>
          <p:cNvPr id="14" name="Текст 429">
            <a:extLst>
              <a:ext uri="{FF2B5EF4-FFF2-40B4-BE49-F238E27FC236}">
                <a16:creationId xmlns:a16="http://schemas.microsoft.com/office/drawing/2014/main" id="{6F1EBA97-E653-3F2E-5F9E-228ABA9C72BB}"/>
              </a:ext>
            </a:extLst>
          </p:cNvPr>
          <p:cNvSpPr txBox="1">
            <a:spLocks/>
          </p:cNvSpPr>
          <p:nvPr/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vert="horz" wrap="square" lIns="0" tIns="36000" rIns="0" bIns="3600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Российский рынок ИТ</a:t>
            </a:r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21C511BD-D906-536E-8B64-0BF665CB0641}"/>
              </a:ext>
            </a:extLst>
          </p:cNvPr>
          <p:cNvSpPr txBox="1">
            <a:spLocks/>
          </p:cNvSpPr>
          <p:nvPr/>
        </p:nvSpPr>
        <p:spPr>
          <a:xfrm>
            <a:off x="442913" y="451664"/>
            <a:ext cx="11050588" cy="688256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4000" dirty="0">
                <a:solidFill>
                  <a:schemeClr val="bg1"/>
                </a:solidFill>
              </a:rPr>
              <a:t>Зрелый этап роста российского рынка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33F91F8-403D-597C-83FE-79085AA55E93}"/>
              </a:ext>
            </a:extLst>
          </p:cNvPr>
          <p:cNvSpPr/>
          <p:nvPr/>
        </p:nvSpPr>
        <p:spPr>
          <a:xfrm rot="16200000">
            <a:off x="-580962" y="2964889"/>
            <a:ext cx="2414591" cy="50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ts val="1200"/>
              </a:lnSpc>
            </a:pPr>
            <a:r>
              <a:rPr lang="ru-RU" sz="1100" dirty="0"/>
              <a:t>Ключевые </a:t>
            </a:r>
            <a:br>
              <a:rPr lang="ru-RU" sz="1100" dirty="0"/>
            </a:br>
            <a:r>
              <a:rPr lang="ru-RU" sz="1100" dirty="0"/>
              <a:t>драйверы 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F2DF2491-F075-C3E9-7B2B-0A52167370D1}"/>
              </a:ext>
            </a:extLst>
          </p:cNvPr>
          <p:cNvSpPr/>
          <p:nvPr/>
        </p:nvSpPr>
        <p:spPr>
          <a:xfrm rot="16200000">
            <a:off x="-235907" y="5051609"/>
            <a:ext cx="1724481" cy="504000"/>
          </a:xfrm>
          <a:prstGeom prst="rect">
            <a:avLst/>
          </a:prstGeom>
          <a:noFill/>
        </p:spPr>
        <p:txBody>
          <a:bodyPr wrap="square" lIns="0" tIns="0" bIns="0" rtlCol="0" anchor="ctr" anchorCtr="0">
            <a:noAutofit/>
          </a:bodyPr>
          <a:lstStyle/>
          <a:p>
            <a:pPr algn="ctr">
              <a:lnSpc>
                <a:spcPts val="1200"/>
              </a:lnSpc>
            </a:pPr>
            <a:r>
              <a:rPr lang="ru-RU" sz="1100" dirty="0"/>
              <a:t>Влияние на </a:t>
            </a:r>
            <a:br>
              <a:rPr lang="en-US" sz="1100" dirty="0"/>
            </a:br>
            <a:r>
              <a:rPr lang="ru-RU" sz="1100" dirty="0"/>
              <a:t>российских ИТ-вендоров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8A93C08-0120-8592-25AD-C4214E674EB4}"/>
              </a:ext>
            </a:extLst>
          </p:cNvPr>
          <p:cNvSpPr/>
          <p:nvPr/>
        </p:nvSpPr>
        <p:spPr>
          <a:xfrm>
            <a:off x="1004155" y="2039032"/>
            <a:ext cx="2072419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08000" bIns="0" rtlCol="0" anchor="ctr" anchorCtr="0"/>
          <a:lstStyle/>
          <a:p>
            <a:pPr>
              <a:spcAft>
                <a:spcPts val="600"/>
              </a:spcAft>
            </a:pPr>
            <a:r>
              <a:rPr lang="ru-RU" sz="1200" b="1" dirty="0">
                <a:solidFill>
                  <a:schemeClr val="tx1"/>
                </a:solidFill>
              </a:rPr>
              <a:t>Импортозамещение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3BCF707-590B-E0EF-AF61-38631DE04CAC}"/>
              </a:ext>
            </a:extLst>
          </p:cNvPr>
          <p:cNvSpPr/>
          <p:nvPr/>
        </p:nvSpPr>
        <p:spPr>
          <a:xfrm>
            <a:off x="3702905" y="2039032"/>
            <a:ext cx="2001168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08000" bIns="0" rtlCol="0" anchor="ctr" anchorCtr="0"/>
          <a:lstStyle/>
          <a:p>
            <a:pPr>
              <a:spcAft>
                <a:spcPts val="600"/>
              </a:spcAft>
            </a:pPr>
            <a:r>
              <a:rPr lang="ru-RU" sz="1200" b="1" dirty="0">
                <a:solidFill>
                  <a:schemeClr val="tx1"/>
                </a:solidFill>
              </a:rPr>
              <a:t>Рост требований </a:t>
            </a:r>
            <a:br>
              <a:rPr lang="ru-RU" sz="1200" b="1" dirty="0">
                <a:solidFill>
                  <a:schemeClr val="tx1"/>
                </a:solidFill>
              </a:rPr>
            </a:br>
            <a:r>
              <a:rPr lang="ru-RU" sz="1200" b="1" dirty="0">
                <a:solidFill>
                  <a:schemeClr val="tx1"/>
                </a:solidFill>
              </a:rPr>
              <a:t>и внедрение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9B8EB74-6296-F03A-A036-6F59F97D281A}"/>
              </a:ext>
            </a:extLst>
          </p:cNvPr>
          <p:cNvSpPr/>
          <p:nvPr/>
        </p:nvSpPr>
        <p:spPr>
          <a:xfrm>
            <a:off x="6401655" y="2039032"/>
            <a:ext cx="2634394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08000" bIns="0" rtlCol="0" anchor="ctr" anchorCtr="0"/>
          <a:lstStyle/>
          <a:p>
            <a:pPr>
              <a:spcAft>
                <a:spcPts val="600"/>
              </a:spcAft>
            </a:pPr>
            <a:r>
              <a:rPr lang="ru-RU" sz="1200" b="1" dirty="0">
                <a:solidFill>
                  <a:schemeClr val="tx1"/>
                </a:solidFill>
              </a:rPr>
              <a:t>Увеличение </a:t>
            </a:r>
            <a:br>
              <a:rPr lang="ru-RU" sz="1200" b="1" dirty="0">
                <a:solidFill>
                  <a:schemeClr val="tx1"/>
                </a:solidFill>
              </a:rPr>
            </a:br>
            <a:r>
              <a:rPr lang="ru-RU" sz="1200" b="1" dirty="0">
                <a:solidFill>
                  <a:schemeClr val="tx1"/>
                </a:solidFill>
              </a:rPr>
              <a:t>зрелости продуктов </a:t>
            </a:r>
            <a:br>
              <a:rPr lang="ru-RU" sz="1200" b="1" dirty="0">
                <a:solidFill>
                  <a:schemeClr val="tx1"/>
                </a:solidFill>
              </a:rPr>
            </a:br>
            <a:r>
              <a:rPr lang="ru-RU" sz="1200" b="1" dirty="0">
                <a:solidFill>
                  <a:schemeClr val="tx1"/>
                </a:solidFill>
              </a:rPr>
              <a:t>и консолидация рынк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EC92A40-9791-4081-E7A4-8DE62953EC1B}"/>
              </a:ext>
            </a:extLst>
          </p:cNvPr>
          <p:cNvSpPr/>
          <p:nvPr/>
        </p:nvSpPr>
        <p:spPr>
          <a:xfrm>
            <a:off x="9100406" y="2039032"/>
            <a:ext cx="2072419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08000" bIns="0" rtlCol="0" anchor="ctr" anchorCtr="0"/>
          <a:lstStyle/>
          <a:p>
            <a:pPr>
              <a:spcAft>
                <a:spcPts val="600"/>
              </a:spcAft>
            </a:pPr>
            <a:r>
              <a:rPr lang="ru-RU" sz="1200" b="1" dirty="0">
                <a:solidFill>
                  <a:schemeClr val="tx1"/>
                </a:solidFill>
              </a:rPr>
              <a:t>Развитие зрелых ИТ-экосистем</a:t>
            </a:r>
          </a:p>
        </p:txBody>
      </p:sp>
      <p:sp>
        <p:nvSpPr>
          <p:cNvPr id="18" name="Заголовок 4">
            <a:extLst>
              <a:ext uri="{FF2B5EF4-FFF2-40B4-BE49-F238E27FC236}">
                <a16:creationId xmlns:a16="http://schemas.microsoft.com/office/drawing/2014/main" id="{A4A35682-9AD1-528D-C78E-E76A032414DC}"/>
              </a:ext>
            </a:extLst>
          </p:cNvPr>
          <p:cNvSpPr txBox="1">
            <a:spLocks/>
          </p:cNvSpPr>
          <p:nvPr/>
        </p:nvSpPr>
        <p:spPr>
          <a:xfrm>
            <a:off x="3140124" y="2669398"/>
            <a:ext cx="498424" cy="238902"/>
          </a:xfrm>
          <a:prstGeom prst="rect">
            <a:avLst/>
          </a:prstGeom>
        </p:spPr>
        <p:txBody>
          <a:bodyPr vert="horz" wrap="square" lIns="0" tIns="0" rIns="108000" bIns="720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+mn-lt"/>
                <a:ea typeface="+mj-ea"/>
                <a:cs typeface="SB Sans Text Semibold" panose="020B0703040504020204" pitchFamily="34" charset="-5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alpha val="61000"/>
                  </a:schemeClr>
                </a:solidFill>
                <a:effectLst/>
                <a:uLnTx/>
                <a:uFillTx/>
                <a:latin typeface="Verdana"/>
                <a:ea typeface="+mj-ea"/>
              </a:rPr>
              <a:t>01</a:t>
            </a:r>
          </a:p>
        </p:txBody>
      </p:sp>
      <p:sp>
        <p:nvSpPr>
          <p:cNvPr id="20" name="Заголовок 4">
            <a:extLst>
              <a:ext uri="{FF2B5EF4-FFF2-40B4-BE49-F238E27FC236}">
                <a16:creationId xmlns:a16="http://schemas.microsoft.com/office/drawing/2014/main" id="{1E3CF9F1-6C05-2F2B-938F-59EEFCAD7E66}"/>
              </a:ext>
            </a:extLst>
          </p:cNvPr>
          <p:cNvSpPr txBox="1">
            <a:spLocks/>
          </p:cNvSpPr>
          <p:nvPr/>
        </p:nvSpPr>
        <p:spPr>
          <a:xfrm>
            <a:off x="5838874" y="2669398"/>
            <a:ext cx="498424" cy="238902"/>
          </a:xfrm>
          <a:prstGeom prst="rect">
            <a:avLst/>
          </a:prstGeom>
        </p:spPr>
        <p:txBody>
          <a:bodyPr vert="horz" wrap="square" lIns="0" tIns="0" rIns="108000" bIns="720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+mn-lt"/>
                <a:ea typeface="+mj-ea"/>
                <a:cs typeface="SB Sans Text Semibold" panose="020B0703040504020204" pitchFamily="34" charset="-5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alpha val="61000"/>
                  </a:schemeClr>
                </a:solidFill>
                <a:effectLst/>
                <a:uLnTx/>
                <a:uFillTx/>
                <a:latin typeface="Verdana"/>
                <a:ea typeface="+mj-ea"/>
              </a:rPr>
              <a:t>02</a:t>
            </a:r>
          </a:p>
        </p:txBody>
      </p:sp>
      <p:sp>
        <p:nvSpPr>
          <p:cNvPr id="35" name="Заголовок 4">
            <a:extLst>
              <a:ext uri="{FF2B5EF4-FFF2-40B4-BE49-F238E27FC236}">
                <a16:creationId xmlns:a16="http://schemas.microsoft.com/office/drawing/2014/main" id="{DBB0C1CE-865E-F6AD-A5A6-32DCC126723C}"/>
              </a:ext>
            </a:extLst>
          </p:cNvPr>
          <p:cNvSpPr txBox="1">
            <a:spLocks/>
          </p:cNvSpPr>
          <p:nvPr/>
        </p:nvSpPr>
        <p:spPr>
          <a:xfrm>
            <a:off x="8537624" y="2669398"/>
            <a:ext cx="498424" cy="238902"/>
          </a:xfrm>
          <a:prstGeom prst="rect">
            <a:avLst/>
          </a:prstGeom>
        </p:spPr>
        <p:txBody>
          <a:bodyPr vert="horz" wrap="square" lIns="0" tIns="0" rIns="108000" bIns="720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+mn-lt"/>
                <a:ea typeface="+mj-ea"/>
                <a:cs typeface="SB Sans Text Semibold" panose="020B0703040504020204" pitchFamily="34" charset="-5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alpha val="61000"/>
                  </a:schemeClr>
                </a:solidFill>
                <a:effectLst/>
                <a:uLnTx/>
                <a:uFillTx/>
                <a:latin typeface="Verdana"/>
                <a:ea typeface="+mj-ea"/>
              </a:rPr>
              <a:t>03</a:t>
            </a:r>
          </a:p>
        </p:txBody>
      </p:sp>
      <p:sp>
        <p:nvSpPr>
          <p:cNvPr id="37" name="Заголовок 4">
            <a:extLst>
              <a:ext uri="{FF2B5EF4-FFF2-40B4-BE49-F238E27FC236}">
                <a16:creationId xmlns:a16="http://schemas.microsoft.com/office/drawing/2014/main" id="{B071C207-BA54-25AC-938D-ECC890D164FD}"/>
              </a:ext>
            </a:extLst>
          </p:cNvPr>
          <p:cNvSpPr txBox="1">
            <a:spLocks/>
          </p:cNvSpPr>
          <p:nvPr/>
        </p:nvSpPr>
        <p:spPr>
          <a:xfrm>
            <a:off x="11236376" y="2669398"/>
            <a:ext cx="498424" cy="238902"/>
          </a:xfrm>
          <a:prstGeom prst="rect">
            <a:avLst/>
          </a:prstGeom>
        </p:spPr>
        <p:txBody>
          <a:bodyPr vert="horz" wrap="square" lIns="0" tIns="0" rIns="108000" bIns="720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+mn-lt"/>
                <a:ea typeface="+mj-ea"/>
                <a:cs typeface="SB Sans Text Semibold" panose="020B0703040504020204" pitchFamily="34" charset="-5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alpha val="61000"/>
                  </a:schemeClr>
                </a:solidFill>
                <a:effectLst/>
                <a:uLnTx/>
                <a:uFillTx/>
                <a:latin typeface="Verdana"/>
                <a:ea typeface="+mj-ea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9931803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4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6" name="Текст 415">
            <a:extLst>
              <a:ext uri="{FF2B5EF4-FFF2-40B4-BE49-F238E27FC236}">
                <a16:creationId xmlns:a16="http://schemas.microsoft.com/office/drawing/2014/main" id="{BF9C001D-7A17-0A44-01A9-C41F49DBE2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17" name="Текст 416">
            <a:extLst>
              <a:ext uri="{FF2B5EF4-FFF2-40B4-BE49-F238E27FC236}">
                <a16:creationId xmlns:a16="http://schemas.microsoft.com/office/drawing/2014/main" id="{B48CCECD-3787-9AAB-11C7-DDC485B225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15" name="Текст 414">
            <a:extLst>
              <a:ext uri="{FF2B5EF4-FFF2-40B4-BE49-F238E27FC236}">
                <a16:creationId xmlns:a16="http://schemas.microsoft.com/office/drawing/2014/main" id="{D28F8E47-0DAB-FECE-7215-4AA5315A10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14" name="Заголовок 413">
            <a:extLst>
              <a:ext uri="{FF2B5EF4-FFF2-40B4-BE49-F238E27FC236}">
                <a16:creationId xmlns:a16="http://schemas.microsoft.com/office/drawing/2014/main" id="{80518CEF-057E-1DA5-1730-F171BE3038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491D5A47-2EAC-0901-5509-A782607E706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3000" r="13000"/>
          <a:stretch/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7DC263D7-277D-63B8-EB9C-588AB813BC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B1823">
                  <a:alpha val="35000"/>
                </a:srgbClr>
              </a:gs>
              <a:gs pos="96000">
                <a:srgbClr val="0B1823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Прямоугольник: скругленные углы 7">
            <a:extLst>
              <a:ext uri="{FF2B5EF4-FFF2-40B4-BE49-F238E27FC236}">
                <a16:creationId xmlns:a16="http://schemas.microsoft.com/office/drawing/2014/main" id="{8A8EEFE9-547D-4D17-6DF7-3AF4418214C2}"/>
              </a:ext>
            </a:extLst>
          </p:cNvPr>
          <p:cNvSpPr>
            <a:spLocks/>
          </p:cNvSpPr>
          <p:nvPr/>
        </p:nvSpPr>
        <p:spPr>
          <a:xfrm>
            <a:off x="444501" y="1619250"/>
            <a:ext cx="6794500" cy="4522035"/>
          </a:xfrm>
          <a:prstGeom prst="roundRect">
            <a:avLst>
              <a:gd name="adj" fmla="val 1970"/>
            </a:avLst>
          </a:prstGeom>
          <a:solidFill>
            <a:schemeClr val="bg1"/>
          </a:solidFill>
          <a:ln>
            <a:solidFill>
              <a:schemeClr val="bg1">
                <a:lumMod val="95000"/>
                <a:alpha val="90000"/>
              </a:schemeClr>
            </a:solidFill>
          </a:ln>
          <a:effectLst>
            <a:outerShdw blurRad="254000" dist="127000" dir="2700000" algn="ctr" rotWithShape="0">
              <a:srgbClr val="C8CBDE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Текст 6">
            <a:extLst>
              <a:ext uri="{FF2B5EF4-FFF2-40B4-BE49-F238E27FC236}">
                <a16:creationId xmlns:a16="http://schemas.microsoft.com/office/drawing/2014/main" id="{AA9F375B-4C22-2C69-1706-DF628145FCE9}"/>
              </a:ext>
            </a:extLst>
          </p:cNvPr>
          <p:cNvSpPr txBox="1">
            <a:spLocks/>
          </p:cNvSpPr>
          <p:nvPr/>
        </p:nvSpPr>
        <p:spPr>
          <a:xfrm>
            <a:off x="444295" y="6522684"/>
            <a:ext cx="10739325" cy="195814"/>
          </a:xfrm>
          <a:prstGeom prst="rect">
            <a:avLst/>
          </a:prstGeom>
        </p:spPr>
        <p:txBody>
          <a:bodyPr vert="horz" wrap="square" lIns="0" tIns="36000" rIns="0" bIns="36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75000"/>
                  </a:schemeClr>
                </a:solidFill>
              </a:rPr>
              <a:t>Источник: анализ 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trategy Partners</a:t>
            </a:r>
          </a:p>
        </p:txBody>
      </p:sp>
      <p:sp>
        <p:nvSpPr>
          <p:cNvPr id="21" name="Текст 4">
            <a:extLst>
              <a:ext uri="{FF2B5EF4-FFF2-40B4-BE49-F238E27FC236}">
                <a16:creationId xmlns:a16="http://schemas.microsoft.com/office/drawing/2014/main" id="{2DD6A686-DF0C-B9FB-BAE3-E25606C8D5DE}"/>
              </a:ext>
            </a:extLst>
          </p:cNvPr>
          <p:cNvSpPr txBox="1">
            <a:spLocks/>
          </p:cNvSpPr>
          <p:nvPr/>
        </p:nvSpPr>
        <p:spPr>
          <a:xfrm>
            <a:off x="442913" y="161862"/>
            <a:ext cx="11302048" cy="257369"/>
          </a:xfrm>
          <a:prstGeom prst="rect">
            <a:avLst/>
          </a:prstGeom>
        </p:spPr>
        <p:txBody>
          <a:bodyPr vert="horz" wrap="square" lIns="0" tIns="36000" rIns="0" bIns="3600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1pPr>
            <a:lvl2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2pPr>
            <a:lvl3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3pPr>
            <a:lvl4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Российский рынок ИТ</a:t>
            </a: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DF692DA5-DFE4-0DC5-D5A4-4C654EB1DD37}"/>
              </a:ext>
            </a:extLst>
          </p:cNvPr>
          <p:cNvSpPr txBox="1">
            <a:spLocks/>
          </p:cNvSpPr>
          <p:nvPr/>
        </p:nvSpPr>
        <p:spPr>
          <a:xfrm>
            <a:off x="442913" y="451664"/>
            <a:ext cx="11302048" cy="779243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defRPr>
            </a:lvl1pPr>
          </a:lstStyle>
          <a:p>
            <a:pPr>
              <a:lnSpc>
                <a:spcPct val="130000"/>
              </a:lnSpc>
            </a:pPr>
            <a:r>
              <a:rPr lang="ru-RU" sz="4000" dirty="0">
                <a:solidFill>
                  <a:schemeClr val="bg1"/>
                </a:solidFill>
              </a:rPr>
              <a:t>К 2030 году рынок превысит 8 трлн руб.</a:t>
            </a:r>
            <a:endParaRPr lang="ru-RU" sz="44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078C6AE-48B4-5E18-1BC1-B8E8FE4FE85F}"/>
              </a:ext>
            </a:extLst>
          </p:cNvPr>
          <p:cNvSpPr txBox="1"/>
          <p:nvPr/>
        </p:nvSpPr>
        <p:spPr>
          <a:xfrm>
            <a:off x="630237" y="1830195"/>
            <a:ext cx="5179823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/>
              <a:t>Объем и структура российского ИТ-рынка до 2030 г., </a:t>
            </a:r>
            <a:br>
              <a:rPr lang="en-US" sz="1200" b="1" dirty="0"/>
            </a:br>
            <a:r>
              <a:rPr lang="ru-RU" sz="1200" dirty="0"/>
              <a:t>млрд руб.</a:t>
            </a:r>
          </a:p>
        </p:txBody>
      </p:sp>
      <p:sp>
        <p:nvSpPr>
          <p:cNvPr id="74" name="Скругленный прямоугольник 47">
            <a:extLst>
              <a:ext uri="{FF2B5EF4-FFF2-40B4-BE49-F238E27FC236}">
                <a16:creationId xmlns:a16="http://schemas.microsoft.com/office/drawing/2014/main" id="{FD8EA73F-AE06-EC80-3107-5DE425D3ECAD}"/>
              </a:ext>
            </a:extLst>
          </p:cNvPr>
          <p:cNvSpPr>
            <a:spLocks/>
          </p:cNvSpPr>
          <p:nvPr/>
        </p:nvSpPr>
        <p:spPr>
          <a:xfrm>
            <a:off x="5931580" y="1952625"/>
            <a:ext cx="1028739" cy="3148943"/>
          </a:xfrm>
          <a:prstGeom prst="roundRect">
            <a:avLst>
              <a:gd name="adj" fmla="val 9196"/>
            </a:avLst>
          </a:prstGeom>
          <a:noFill/>
          <a:ln w="12700">
            <a:solidFill>
              <a:srgbClr val="DDDFEB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8400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6" name="Скругленный прямоугольник 66">
            <a:extLst>
              <a:ext uri="{FF2B5EF4-FFF2-40B4-BE49-F238E27FC236}">
                <a16:creationId xmlns:a16="http://schemas.microsoft.com/office/drawing/2014/main" id="{F77D547A-1C8D-E13A-67CF-5A7E851ACE91}"/>
              </a:ext>
            </a:extLst>
          </p:cNvPr>
          <p:cNvSpPr/>
          <p:nvPr/>
        </p:nvSpPr>
        <p:spPr>
          <a:xfrm>
            <a:off x="6085567" y="3423557"/>
            <a:ext cx="720000" cy="26642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5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%</a:t>
            </a:r>
          </a:p>
        </p:txBody>
      </p:sp>
      <p:sp>
        <p:nvSpPr>
          <p:cNvPr id="77" name="Скругленный прямоугольник 67">
            <a:extLst>
              <a:ext uri="{FF2B5EF4-FFF2-40B4-BE49-F238E27FC236}">
                <a16:creationId xmlns:a16="http://schemas.microsoft.com/office/drawing/2014/main" id="{DD2C3FBD-FC58-79B4-774C-F695EB0521B7}"/>
              </a:ext>
            </a:extLst>
          </p:cNvPr>
          <p:cNvSpPr/>
          <p:nvPr/>
        </p:nvSpPr>
        <p:spPr>
          <a:xfrm>
            <a:off x="6085567" y="2775404"/>
            <a:ext cx="720000" cy="26642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5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%</a:t>
            </a:r>
          </a:p>
        </p:txBody>
      </p:sp>
      <p:sp>
        <p:nvSpPr>
          <p:cNvPr id="78" name="Скругленный прямоугольник 68">
            <a:extLst>
              <a:ext uri="{FF2B5EF4-FFF2-40B4-BE49-F238E27FC236}">
                <a16:creationId xmlns:a16="http://schemas.microsoft.com/office/drawing/2014/main" id="{D5ADF343-6978-F647-72E2-6BF9A397E373}"/>
              </a:ext>
            </a:extLst>
          </p:cNvPr>
          <p:cNvSpPr/>
          <p:nvPr/>
        </p:nvSpPr>
        <p:spPr>
          <a:xfrm>
            <a:off x="6085567" y="4071710"/>
            <a:ext cx="720000" cy="266423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%</a:t>
            </a:r>
          </a:p>
        </p:txBody>
      </p:sp>
      <p:sp>
        <p:nvSpPr>
          <p:cNvPr id="80" name="Прямоугольник 19">
            <a:extLst>
              <a:ext uri="{FF2B5EF4-FFF2-40B4-BE49-F238E27FC236}">
                <a16:creationId xmlns:a16="http://schemas.microsoft.com/office/drawing/2014/main" id="{7A8C5E22-E635-EBC4-2E08-8945CD3AC734}"/>
              </a:ext>
            </a:extLst>
          </p:cNvPr>
          <p:cNvSpPr/>
          <p:nvPr/>
        </p:nvSpPr>
        <p:spPr>
          <a:xfrm>
            <a:off x="6125255" y="2033588"/>
            <a:ext cx="641605" cy="369332"/>
          </a:xfrm>
          <a:prstGeom prst="rect">
            <a:avLst/>
          </a:prstGeom>
          <a:noFill/>
          <a:ln w="127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CAG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25</a:t>
            </a:r>
            <a:r>
              <a:rPr kumimoji="0" lang="lv-LV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–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PT Astra Fact" panose="020B0503040504020204" pitchFamily="34" charset="-52"/>
                <a:cs typeface="+mn-cs"/>
              </a:rPr>
              <a:t>30</a:t>
            </a:r>
          </a:p>
        </p:txBody>
      </p:sp>
      <p:grpSp>
        <p:nvGrpSpPr>
          <p:cNvPr id="426" name="Группа 425">
            <a:extLst>
              <a:ext uri="{FF2B5EF4-FFF2-40B4-BE49-F238E27FC236}">
                <a16:creationId xmlns:a16="http://schemas.microsoft.com/office/drawing/2014/main" id="{BB14BF49-F2B8-CDDE-6DC1-E0DF558917B1}"/>
              </a:ext>
            </a:extLst>
          </p:cNvPr>
          <p:cNvGrpSpPr/>
          <p:nvPr/>
        </p:nvGrpSpPr>
        <p:grpSpPr>
          <a:xfrm>
            <a:off x="823697" y="5636087"/>
            <a:ext cx="2908789" cy="246221"/>
            <a:chOff x="823697" y="5636087"/>
            <a:chExt cx="2908789" cy="246221"/>
          </a:xfrm>
        </p:grpSpPr>
        <p:grpSp>
          <p:nvGrpSpPr>
            <p:cNvPr id="409" name="Группа 408">
              <a:extLst>
                <a:ext uri="{FF2B5EF4-FFF2-40B4-BE49-F238E27FC236}">
                  <a16:creationId xmlns:a16="http://schemas.microsoft.com/office/drawing/2014/main" id="{0FBB1B8F-35F4-50D0-A18E-9D2B88208DEB}"/>
                </a:ext>
              </a:extLst>
            </p:cNvPr>
            <p:cNvGrpSpPr/>
            <p:nvPr/>
          </p:nvGrpSpPr>
          <p:grpSpPr>
            <a:xfrm>
              <a:off x="823697" y="5636087"/>
              <a:ext cx="914616" cy="246221"/>
              <a:chOff x="823697" y="5636087"/>
              <a:chExt cx="914616" cy="246221"/>
            </a:xfrm>
          </p:grpSpPr>
          <p:sp>
            <p:nvSpPr>
              <p:cNvPr id="81" name="Прямоугольник: скругленные углы 80">
                <a:extLst>
                  <a:ext uri="{FF2B5EF4-FFF2-40B4-BE49-F238E27FC236}">
                    <a16:creationId xmlns:a16="http://schemas.microsoft.com/office/drawing/2014/main" id="{C8BCEDB2-049B-7E19-3B28-F1AB6647711C}"/>
                  </a:ext>
                </a:extLst>
              </p:cNvPr>
              <p:cNvSpPr/>
              <p:nvPr/>
            </p:nvSpPr>
            <p:spPr>
              <a:xfrm>
                <a:off x="823697" y="5636087"/>
                <a:ext cx="144000" cy="144000"/>
              </a:xfrm>
              <a:prstGeom prst="roundRect">
                <a:avLst>
                  <a:gd name="adj" fmla="val 24619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B792B547-2CC6-21EE-684C-4F475BBB68F0}"/>
                  </a:ext>
                </a:extLst>
              </p:cNvPr>
              <p:cNvSpPr txBox="1"/>
              <p:nvPr/>
            </p:nvSpPr>
            <p:spPr>
              <a:xfrm>
                <a:off x="1024263" y="5636087"/>
                <a:ext cx="714050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Программное обеспечение</a:t>
                </a:r>
              </a:p>
            </p:txBody>
          </p:sp>
        </p:grpSp>
        <p:grpSp>
          <p:nvGrpSpPr>
            <p:cNvPr id="410" name="Группа 409">
              <a:extLst>
                <a:ext uri="{FF2B5EF4-FFF2-40B4-BE49-F238E27FC236}">
                  <a16:creationId xmlns:a16="http://schemas.microsoft.com/office/drawing/2014/main" id="{40B7BD0E-3065-761D-6D87-53451E46D947}"/>
                </a:ext>
              </a:extLst>
            </p:cNvPr>
            <p:cNvGrpSpPr/>
            <p:nvPr/>
          </p:nvGrpSpPr>
          <p:grpSpPr>
            <a:xfrm>
              <a:off x="1894614" y="5636087"/>
              <a:ext cx="1095258" cy="144000"/>
              <a:chOff x="1874538" y="5636087"/>
              <a:chExt cx="1095258" cy="144000"/>
            </a:xfrm>
          </p:grpSpPr>
          <p:sp>
            <p:nvSpPr>
              <p:cNvPr id="83" name="Прямоугольник: скругленные углы 82">
                <a:extLst>
                  <a:ext uri="{FF2B5EF4-FFF2-40B4-BE49-F238E27FC236}">
                    <a16:creationId xmlns:a16="http://schemas.microsoft.com/office/drawing/2014/main" id="{F25F5CF3-C309-21E1-B737-2CB9FFCAAA4E}"/>
                  </a:ext>
                </a:extLst>
              </p:cNvPr>
              <p:cNvSpPr/>
              <p:nvPr/>
            </p:nvSpPr>
            <p:spPr>
              <a:xfrm>
                <a:off x="1874538" y="5636087"/>
                <a:ext cx="144000" cy="144000"/>
              </a:xfrm>
              <a:prstGeom prst="roundRect">
                <a:avLst>
                  <a:gd name="adj" fmla="val 24619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835C1076-53D3-ACA3-736F-D700D55F57C6}"/>
                  </a:ext>
                </a:extLst>
              </p:cNvPr>
              <p:cNvSpPr txBox="1"/>
              <p:nvPr/>
            </p:nvSpPr>
            <p:spPr>
              <a:xfrm>
                <a:off x="2075103" y="5636087"/>
                <a:ext cx="894693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ИТ-услуги</a:t>
                </a:r>
              </a:p>
            </p:txBody>
          </p:sp>
        </p:grpSp>
        <p:grpSp>
          <p:nvGrpSpPr>
            <p:cNvPr id="411" name="Группа 410">
              <a:extLst>
                <a:ext uri="{FF2B5EF4-FFF2-40B4-BE49-F238E27FC236}">
                  <a16:creationId xmlns:a16="http://schemas.microsoft.com/office/drawing/2014/main" id="{15479BCC-1300-DD32-600B-D7788AE3C4D8}"/>
                </a:ext>
              </a:extLst>
            </p:cNvPr>
            <p:cNvGrpSpPr/>
            <p:nvPr/>
          </p:nvGrpSpPr>
          <p:grpSpPr>
            <a:xfrm>
              <a:off x="2826133" y="5636087"/>
              <a:ext cx="906353" cy="144000"/>
              <a:chOff x="2800301" y="5636087"/>
              <a:chExt cx="906353" cy="144000"/>
            </a:xfrm>
          </p:grpSpPr>
          <p:sp>
            <p:nvSpPr>
              <p:cNvPr id="90" name="Прямоугольник: скругленные углы 89">
                <a:extLst>
                  <a:ext uri="{FF2B5EF4-FFF2-40B4-BE49-F238E27FC236}">
                    <a16:creationId xmlns:a16="http://schemas.microsoft.com/office/drawing/2014/main" id="{61AE1DDB-E174-56BD-82EA-76F33D2219B7}"/>
                  </a:ext>
                </a:extLst>
              </p:cNvPr>
              <p:cNvSpPr/>
              <p:nvPr/>
            </p:nvSpPr>
            <p:spPr>
              <a:xfrm>
                <a:off x="2800301" y="5636087"/>
                <a:ext cx="144000" cy="144000"/>
              </a:xfrm>
              <a:prstGeom prst="roundRect">
                <a:avLst>
                  <a:gd name="adj" fmla="val 25944"/>
                </a:avLst>
              </a:prstGeom>
              <a:solidFill>
                <a:srgbClr val="1084A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AFCF3D7A-680A-472D-4F4B-CE4E4B7B6FCF}"/>
                  </a:ext>
                </a:extLst>
              </p:cNvPr>
              <p:cNvSpPr txBox="1"/>
              <p:nvPr/>
            </p:nvSpPr>
            <p:spPr>
              <a:xfrm>
                <a:off x="3000866" y="5636087"/>
                <a:ext cx="705788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ВТ и ТКО</a:t>
                </a:r>
              </a:p>
            </p:txBody>
          </p:sp>
        </p:grpSp>
      </p:grpSp>
      <p:cxnSp>
        <p:nvCxnSpPr>
          <p:cNvPr id="386" name="Соединитель: уступ 385">
            <a:extLst>
              <a:ext uri="{FF2B5EF4-FFF2-40B4-BE49-F238E27FC236}">
                <a16:creationId xmlns:a16="http://schemas.microsoft.com/office/drawing/2014/main" id="{744F0B72-566A-8005-0132-790F50AE7442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711358" y="1019271"/>
            <a:ext cx="874711" cy="4198748"/>
          </a:xfrm>
          <a:prstGeom prst="bentConnector3">
            <a:avLst>
              <a:gd name="adj1" fmla="val 113835"/>
            </a:avLst>
          </a:prstGeom>
          <a:ln w="1905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8" name="TextBox 407">
            <a:extLst>
              <a:ext uri="{FF2B5EF4-FFF2-40B4-BE49-F238E27FC236}">
                <a16:creationId xmlns:a16="http://schemas.microsoft.com/office/drawing/2014/main" id="{2D595B73-FCD4-23E4-FE85-1A2D68FAA906}"/>
              </a:ext>
            </a:extLst>
          </p:cNvPr>
          <p:cNvSpPr txBox="1"/>
          <p:nvPr/>
        </p:nvSpPr>
        <p:spPr>
          <a:xfrm>
            <a:off x="2786100" y="2250609"/>
            <a:ext cx="72522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chemeClr val="accent1"/>
                </a:solidFill>
              </a:rPr>
              <a:t>1</a:t>
            </a:r>
            <a:r>
              <a:rPr lang="en-US" sz="1600" b="1" dirty="0">
                <a:solidFill>
                  <a:schemeClr val="accent1"/>
                </a:solidFill>
              </a:rPr>
              <a:t>3</a:t>
            </a:r>
            <a:r>
              <a:rPr lang="ru-RU" sz="1600" b="1" dirty="0">
                <a:solidFill>
                  <a:schemeClr val="accent1"/>
                </a:solidFill>
              </a:rPr>
              <a:t>%</a:t>
            </a:r>
            <a:endParaRPr lang="ru-RU" sz="1600" dirty="0">
              <a:solidFill>
                <a:schemeClr val="accent1"/>
              </a:solidFill>
            </a:endParaRPr>
          </a:p>
        </p:txBody>
      </p:sp>
      <p:sp>
        <p:nvSpPr>
          <p:cNvPr id="418" name="TextBox 417">
            <a:extLst>
              <a:ext uri="{FF2B5EF4-FFF2-40B4-BE49-F238E27FC236}">
                <a16:creationId xmlns:a16="http://schemas.microsoft.com/office/drawing/2014/main" id="{40F549F4-585D-61D3-F8DF-BFC4A0ECDA34}"/>
              </a:ext>
            </a:extLst>
          </p:cNvPr>
          <p:cNvSpPr txBox="1"/>
          <p:nvPr/>
        </p:nvSpPr>
        <p:spPr>
          <a:xfrm>
            <a:off x="776287" y="5093992"/>
            <a:ext cx="50641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2025</a:t>
            </a:r>
            <a:endParaRPr lang="ru-RU" sz="1200" dirty="0"/>
          </a:p>
        </p:txBody>
      </p:sp>
      <p:sp>
        <p:nvSpPr>
          <p:cNvPr id="421" name="TextBox 420">
            <a:extLst>
              <a:ext uri="{FF2B5EF4-FFF2-40B4-BE49-F238E27FC236}">
                <a16:creationId xmlns:a16="http://schemas.microsoft.com/office/drawing/2014/main" id="{EA7CC2FA-38E1-FA31-3BC5-043E1494EB16}"/>
              </a:ext>
            </a:extLst>
          </p:cNvPr>
          <p:cNvSpPr txBox="1"/>
          <p:nvPr/>
        </p:nvSpPr>
        <p:spPr>
          <a:xfrm>
            <a:off x="1620005" y="5093992"/>
            <a:ext cx="50641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2026</a:t>
            </a:r>
            <a:endParaRPr lang="ru-RU" sz="1200" dirty="0"/>
          </a:p>
        </p:txBody>
      </p:sp>
      <p:sp>
        <p:nvSpPr>
          <p:cNvPr id="422" name="TextBox 421">
            <a:extLst>
              <a:ext uri="{FF2B5EF4-FFF2-40B4-BE49-F238E27FC236}">
                <a16:creationId xmlns:a16="http://schemas.microsoft.com/office/drawing/2014/main" id="{D667E9EE-E8BC-0194-EDB9-31E7144F7C1D}"/>
              </a:ext>
            </a:extLst>
          </p:cNvPr>
          <p:cNvSpPr txBox="1"/>
          <p:nvPr/>
        </p:nvSpPr>
        <p:spPr>
          <a:xfrm>
            <a:off x="2463723" y="5093992"/>
            <a:ext cx="50641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2027</a:t>
            </a:r>
            <a:endParaRPr lang="ru-RU" sz="1200" dirty="0"/>
          </a:p>
        </p:txBody>
      </p:sp>
      <p:sp>
        <p:nvSpPr>
          <p:cNvPr id="423" name="TextBox 422">
            <a:extLst>
              <a:ext uri="{FF2B5EF4-FFF2-40B4-BE49-F238E27FC236}">
                <a16:creationId xmlns:a16="http://schemas.microsoft.com/office/drawing/2014/main" id="{A2D8467E-F6E4-AC96-225D-5BD1DB9849DF}"/>
              </a:ext>
            </a:extLst>
          </p:cNvPr>
          <p:cNvSpPr txBox="1"/>
          <p:nvPr/>
        </p:nvSpPr>
        <p:spPr>
          <a:xfrm>
            <a:off x="3307441" y="5093992"/>
            <a:ext cx="50641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2028</a:t>
            </a:r>
            <a:endParaRPr lang="ru-RU" sz="1200" dirty="0"/>
          </a:p>
        </p:txBody>
      </p:sp>
      <p:sp>
        <p:nvSpPr>
          <p:cNvPr id="424" name="TextBox 423">
            <a:extLst>
              <a:ext uri="{FF2B5EF4-FFF2-40B4-BE49-F238E27FC236}">
                <a16:creationId xmlns:a16="http://schemas.microsoft.com/office/drawing/2014/main" id="{1732DD29-F9DE-5A71-370B-FF2F26B98B0B}"/>
              </a:ext>
            </a:extLst>
          </p:cNvPr>
          <p:cNvSpPr txBox="1"/>
          <p:nvPr/>
        </p:nvSpPr>
        <p:spPr>
          <a:xfrm>
            <a:off x="4151159" y="5093992"/>
            <a:ext cx="50641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2029</a:t>
            </a:r>
            <a:endParaRPr lang="ru-RU" sz="1200" dirty="0"/>
          </a:p>
        </p:txBody>
      </p:sp>
      <p:sp>
        <p:nvSpPr>
          <p:cNvPr id="425" name="TextBox 424">
            <a:extLst>
              <a:ext uri="{FF2B5EF4-FFF2-40B4-BE49-F238E27FC236}">
                <a16:creationId xmlns:a16="http://schemas.microsoft.com/office/drawing/2014/main" id="{6A8042B6-410F-44F3-B7B6-C09824BAC075}"/>
              </a:ext>
            </a:extLst>
          </p:cNvPr>
          <p:cNvSpPr txBox="1"/>
          <p:nvPr/>
        </p:nvSpPr>
        <p:spPr>
          <a:xfrm>
            <a:off x="4994879" y="5093992"/>
            <a:ext cx="50641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2030</a:t>
            </a:r>
            <a:endParaRPr lang="ru-RU" sz="1200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B3497B-2C2A-6CFE-F021-14998D1DA5B4}"/>
              </a:ext>
            </a:extLst>
          </p:cNvPr>
          <p:cNvSpPr txBox="1">
            <a:spLocks/>
          </p:cNvSpPr>
          <p:nvPr/>
        </p:nvSpPr>
        <p:spPr>
          <a:xfrm>
            <a:off x="7721411" y="1484084"/>
            <a:ext cx="4051414" cy="2426489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Российский ИТ-рынок </a:t>
            </a:r>
            <a:b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</a:b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будет расти с темпом 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13</a:t>
            </a:r>
            <a:r>
              <a: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%</a:t>
            </a:r>
            <a:b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</a:br>
            <a:r>
              <a:rPr lang="ru-RU" dirty="0">
                <a:solidFill>
                  <a:schemeClr val="bg1"/>
                </a:solidFill>
              </a:rPr>
              <a:t>в год 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B Sans Text Semibold" panose="020B0703040504020204" pitchFamily="34" charset="-52"/>
              <a:sym typeface="Verdana" panose="020B060403050404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69F9EE8-FB91-4502-71A6-B66B50E781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48978" y="2538184"/>
            <a:ext cx="573879" cy="573879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E615051-3B90-7C91-6825-F1ED0250287B}"/>
              </a:ext>
            </a:extLst>
          </p:cNvPr>
          <p:cNvSpPr txBox="1">
            <a:spLocks/>
          </p:cNvSpPr>
          <p:nvPr/>
        </p:nvSpPr>
        <p:spPr>
          <a:xfrm>
            <a:off x="7721411" y="4778996"/>
            <a:ext cx="4051414" cy="1037604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8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rPr>
              <a:t>трлн руб.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B Sans Text Semibold" panose="020B0703040504020204" pitchFamily="34" charset="-52"/>
              <a:sym typeface="Verdana" panose="020B060403050404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ACDA03E-6189-CA7B-DF07-B66A505EBC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99890" y="5050513"/>
            <a:ext cx="573879" cy="573879"/>
          </a:xfrm>
          <a:prstGeom prst="rect">
            <a:avLst/>
          </a:prstGeom>
        </p:spPr>
      </p:pic>
      <p:graphicFrame>
        <p:nvGraphicFramePr>
          <p:cNvPr id="385" name="Chart 3">
            <a:extLst>
              <a:ext uri="{FF2B5EF4-FFF2-40B4-BE49-F238E27FC236}">
                <a16:creationId xmlns:a16="http://schemas.microsoft.com/office/drawing/2014/main" id="{D671688C-B30E-DF6B-F4B4-5A3F6F54636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549327"/>
              </p:ext>
            </p:extLst>
          </p:nvPr>
        </p:nvGraphicFramePr>
        <p:xfrm>
          <a:off x="541338" y="2482850"/>
          <a:ext cx="5208587" cy="2725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37" name="Прямоугольник: скругленные верхние углы 336">
            <a:extLst>
              <a:ext uri="{FF2B5EF4-FFF2-40B4-BE49-F238E27FC236}">
                <a16:creationId xmlns:a16="http://schemas.microsoft.com/office/drawing/2014/main" id="{9BF1A8E7-81D5-1F0F-4D42-B07240D3C29D}"/>
              </a:ext>
            </a:extLst>
          </p:cNvPr>
          <p:cNvSpPr/>
          <p:nvPr/>
        </p:nvSpPr>
        <p:spPr>
          <a:xfrm>
            <a:off x="4990911" y="2690814"/>
            <a:ext cx="514351" cy="432946"/>
          </a:xfrm>
          <a:prstGeom prst="round2SameRect">
            <a:avLst>
              <a:gd name="adj1" fmla="val 22983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altLang="en-US" sz="1200" spc="-20" dirty="0">
                <a:effectLst/>
                <a:latin typeface="+mn-lt"/>
                <a:ea typeface="+mn-ea"/>
              </a:rPr>
              <a:t>1 406</a:t>
            </a:r>
            <a:endParaRPr lang="ru-RU" sz="1200" spc="-20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354" name="Прямоугольник: скругленные верхние углы 353">
            <a:extLst>
              <a:ext uri="{FF2B5EF4-FFF2-40B4-BE49-F238E27FC236}">
                <a16:creationId xmlns:a16="http://schemas.microsoft.com/office/drawing/2014/main" id="{1AF5A288-3E3A-73C9-0EA0-BFAB56D5AC0A}"/>
              </a:ext>
            </a:extLst>
          </p:cNvPr>
          <p:cNvSpPr/>
          <p:nvPr/>
        </p:nvSpPr>
        <p:spPr>
          <a:xfrm>
            <a:off x="4153610" y="2947988"/>
            <a:ext cx="514351" cy="379985"/>
          </a:xfrm>
          <a:prstGeom prst="round2SameRect">
            <a:avLst>
              <a:gd name="adj1" fmla="val 25183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altLang="en-US" sz="1200" spc="-20" dirty="0">
                <a:effectLst/>
                <a:latin typeface="+mn-lt"/>
                <a:ea typeface="+mn-ea"/>
              </a:rPr>
              <a:t>1 224</a:t>
            </a:r>
            <a:endParaRPr lang="ru-RU" sz="1200" spc="-20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359" name="Прямоугольник: скругленные верхние углы 358">
            <a:extLst>
              <a:ext uri="{FF2B5EF4-FFF2-40B4-BE49-F238E27FC236}">
                <a16:creationId xmlns:a16="http://schemas.microsoft.com/office/drawing/2014/main" id="{D1D1A197-E673-6FDB-3CD0-F3E7A9436AEE}"/>
              </a:ext>
            </a:extLst>
          </p:cNvPr>
          <p:cNvSpPr/>
          <p:nvPr/>
        </p:nvSpPr>
        <p:spPr>
          <a:xfrm>
            <a:off x="3304504" y="3162300"/>
            <a:ext cx="514351" cy="349824"/>
          </a:xfrm>
          <a:prstGeom prst="round2SameRect">
            <a:avLst>
              <a:gd name="adj1" fmla="val 20995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altLang="en-US" sz="1200" spc="-20" dirty="0">
                <a:effectLst/>
                <a:latin typeface="+mn-lt"/>
                <a:ea typeface="+mn-ea"/>
              </a:rPr>
              <a:t>1 063</a:t>
            </a:r>
            <a:endParaRPr lang="ru-RU" sz="1200" spc="-20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364" name="Прямоугольник: скругленные верхние углы 363">
            <a:extLst>
              <a:ext uri="{FF2B5EF4-FFF2-40B4-BE49-F238E27FC236}">
                <a16:creationId xmlns:a16="http://schemas.microsoft.com/office/drawing/2014/main" id="{02DF1154-C959-178F-65A4-2B55CFB256E8}"/>
              </a:ext>
            </a:extLst>
          </p:cNvPr>
          <p:cNvSpPr/>
          <p:nvPr/>
        </p:nvSpPr>
        <p:spPr>
          <a:xfrm>
            <a:off x="2473664" y="3395664"/>
            <a:ext cx="514351" cy="287116"/>
          </a:xfrm>
          <a:prstGeom prst="round2SameRect">
            <a:avLst>
              <a:gd name="adj1" fmla="val 35520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altLang="en-US" sz="1200" dirty="0">
                <a:solidFill>
                  <a:schemeClr val="bg1"/>
                </a:solidFill>
                <a:effectLst/>
                <a:latin typeface="+mn-lt"/>
                <a:ea typeface="+mn-ea"/>
              </a:rPr>
              <a:t>888</a:t>
            </a:r>
            <a:endParaRPr lang="ru-RU" sz="1200" spc="-20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369" name="Прямоугольник: скругленные верхние углы 368">
            <a:extLst>
              <a:ext uri="{FF2B5EF4-FFF2-40B4-BE49-F238E27FC236}">
                <a16:creationId xmlns:a16="http://schemas.microsoft.com/office/drawing/2014/main" id="{A6D9031D-6565-06AC-E421-99B6CC4190AB}"/>
              </a:ext>
            </a:extLst>
          </p:cNvPr>
          <p:cNvSpPr/>
          <p:nvPr/>
        </p:nvSpPr>
        <p:spPr>
          <a:xfrm>
            <a:off x="1628774" y="3581400"/>
            <a:ext cx="514351" cy="240846"/>
          </a:xfrm>
          <a:prstGeom prst="round2SameRect">
            <a:avLst>
              <a:gd name="adj1" fmla="val 38200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altLang="en-US" sz="1200" dirty="0">
                <a:solidFill>
                  <a:schemeClr val="bg1"/>
                </a:solidFill>
                <a:effectLst/>
                <a:latin typeface="+mn-lt"/>
                <a:ea typeface="+mn-ea"/>
              </a:rPr>
              <a:t>775</a:t>
            </a:r>
            <a:endParaRPr lang="ru-RU" sz="1200" spc="-20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374" name="Прямоугольник: скругленные верхние углы 373">
            <a:extLst>
              <a:ext uri="{FF2B5EF4-FFF2-40B4-BE49-F238E27FC236}">
                <a16:creationId xmlns:a16="http://schemas.microsoft.com/office/drawing/2014/main" id="{0E05BF59-EBEB-52DD-830F-F2C56E109BB7}"/>
              </a:ext>
            </a:extLst>
          </p:cNvPr>
          <p:cNvSpPr/>
          <p:nvPr/>
        </p:nvSpPr>
        <p:spPr>
          <a:xfrm>
            <a:off x="787401" y="3707606"/>
            <a:ext cx="514351" cy="236578"/>
          </a:xfrm>
          <a:prstGeom prst="round2SameRect">
            <a:avLst>
              <a:gd name="adj1" fmla="val 41241"/>
              <a:gd name="adj2" fmla="val 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en-US" sz="1200" dirty="0">
                <a:solidFill>
                  <a:schemeClr val="bg1"/>
                </a:solidFill>
                <a:effectLst/>
                <a:latin typeface="+mn-lt"/>
                <a:ea typeface="+mn-ea"/>
              </a:rPr>
              <a:t>691</a:t>
            </a:r>
            <a:endParaRPr lang="ru-RU" sz="1200" spc="-20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387" name="Заголовок 1">
            <a:extLst>
              <a:ext uri="{FF2B5EF4-FFF2-40B4-BE49-F238E27FC236}">
                <a16:creationId xmlns:a16="http://schemas.microsoft.com/office/drawing/2014/main" id="{73A7CA1A-9C7B-DDE8-8702-8378983B6F78}"/>
              </a:ext>
            </a:extLst>
          </p:cNvPr>
          <p:cNvSpPr txBox="1">
            <a:spLocks/>
          </p:cNvSpPr>
          <p:nvPr/>
        </p:nvSpPr>
        <p:spPr>
          <a:xfrm>
            <a:off x="7721411" y="4434159"/>
            <a:ext cx="4051414" cy="425941"/>
          </a:xfrm>
          <a:prstGeom prst="rect">
            <a:avLst/>
          </a:prstGeom>
        </p:spPr>
        <p:txBody>
          <a:bodyPr vert="horz" wrap="square" lIns="0" tIns="36000" rIns="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SB Sans Text Semibold" panose="020B0703040504020204" pitchFamily="34" charset="-52"/>
                <a:sym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chemeClr val="bg1"/>
                </a:solidFill>
              </a:rPr>
              <a:t>и к 2030 г. превысит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B Sans Text Semibold" panose="020B0703040504020204" pitchFamily="34" charset="-52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586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823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848" imgH="851" progId="TCLayout.ActiveDocument.1">
                  <p:embed/>
                </p:oleObj>
              </mc:Choice>
              <mc:Fallback>
                <p:oleObj name="Слайд think-cell" r:id="rId3" imgW="848" imgH="851" progId="TCLayout.ActiveDocument.1">
                  <p:embed/>
                  <p:pic>
                    <p:nvPicPr>
                      <p:cNvPr id="2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84" name="Рисунок 1483" descr="Изображение выглядит как свет, круг, Красочность, завихрение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987FF88B-46C1-C77B-ADCD-A49E0A9778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18" t="55555" r="25964" b="2807"/>
          <a:stretch>
            <a:fillRect/>
          </a:stretch>
        </p:blipFill>
        <p:spPr>
          <a:xfrm>
            <a:off x="6096000" y="2726"/>
            <a:ext cx="6096000" cy="685527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48C3BA0-0746-B3E7-0EA7-3C904D9E9532}"/>
              </a:ext>
            </a:extLst>
          </p:cNvPr>
          <p:cNvSpPr txBox="1"/>
          <p:nvPr/>
        </p:nvSpPr>
        <p:spPr>
          <a:xfrm>
            <a:off x="6461125" y="1710428"/>
            <a:ext cx="50332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НОВОСТИ РЫНКА, ИНФОРМАЦИЯ О МЕРАХ ГОСПОДДЕРЖКИ, ИССЛЕДОВАНИЯ И КОММЕНТАРИИ ЭКСПЕРТОВ В НАШИХ СОЦИАЛЬНЫХ СЕТЯХ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737F645-1675-D43E-80F1-F09F8F05D10A}"/>
              </a:ext>
            </a:extLst>
          </p:cNvPr>
          <p:cNvSpPr/>
          <p:nvPr/>
        </p:nvSpPr>
        <p:spPr>
          <a:xfrm>
            <a:off x="6461125" y="3970059"/>
            <a:ext cx="980461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610845">
              <a:spcAft>
                <a:spcPts val="30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strategy.ru</a:t>
            </a:r>
            <a:endParaRPr lang="ru-RU" sz="1400" dirty="0">
              <a:solidFill>
                <a:schemeClr val="bg1"/>
              </a:solidFill>
              <a:latin typeface="Verdana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125D8EE-B9C5-A00E-0DD3-27A4B9E6B098}"/>
              </a:ext>
            </a:extLst>
          </p:cNvPr>
          <p:cNvSpPr/>
          <p:nvPr/>
        </p:nvSpPr>
        <p:spPr>
          <a:xfrm>
            <a:off x="8267796" y="3970059"/>
            <a:ext cx="150738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6108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t.me/strategy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SB Sans Text" panose="020B0503040504020204" pitchFamily="34" charset="0"/>
                <a:sym typeface="Verdana" panose="020B0604030504040204" pitchFamily="34" charset="0"/>
              </a:rPr>
              <a:t>partners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SB Sans Text" panose="020B0503040504020204" pitchFamily="34" charset="0"/>
              <a:sym typeface="Verdana" panose="020B0604030504040204" pitchFamily="34" charset="0"/>
            </a:endParaRPr>
          </a:p>
        </p:txBody>
      </p:sp>
      <p:sp>
        <p:nvSpPr>
          <p:cNvPr id="1066" name="Текст 16">
            <a:extLst>
              <a:ext uri="{FF2B5EF4-FFF2-40B4-BE49-F238E27FC236}">
                <a16:creationId xmlns:a16="http://schemas.microsoft.com/office/drawing/2014/main" id="{46D2048C-D141-F3BF-7462-EBA4422B8E5E}"/>
              </a:ext>
            </a:extLst>
          </p:cNvPr>
          <p:cNvSpPr txBox="1"/>
          <p:nvPr/>
        </p:nvSpPr>
        <p:spPr>
          <a:xfrm>
            <a:off x="1422569" y="2264426"/>
            <a:ext cx="2227039" cy="813043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ts val="200"/>
              </a:spcBef>
              <a:defRPr sz="3000">
                <a:solidFill>
                  <a:srgbClr val="FFFFFF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</a:lstStyle>
          <a:p>
            <a:pPr lvl="0">
              <a:defRPr sz="1000">
                <a:solidFill>
                  <a:srgbClr val="4C4856"/>
                </a:solidFill>
              </a:defRPr>
            </a:pPr>
            <a:r>
              <a:rPr lang="ru-RU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оман Тиняев</a:t>
            </a:r>
          </a:p>
          <a:p>
            <a:pPr lvl="0">
              <a:spcBef>
                <a:spcPts val="0"/>
              </a:spcBef>
              <a:spcAft>
                <a:spcPts val="600"/>
              </a:spcAft>
              <a:defRPr sz="1000">
                <a:solidFill>
                  <a:srgbClr val="4C4856"/>
                </a:solidFill>
              </a:defRPr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артнер</a:t>
            </a:r>
          </a:p>
          <a:p>
            <a:pPr>
              <a:spcAft>
                <a:spcPts val="200"/>
              </a:spcAft>
              <a:defRPr sz="1900"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7 (906) 789-59-31</a:t>
            </a:r>
          </a:p>
          <a:p>
            <a:pPr>
              <a:spcAft>
                <a:spcPts val="200"/>
              </a:spcAft>
              <a:defRPr sz="1900"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r>
              <a:rPr lang="en-US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nyaev@strategy.ru</a:t>
            </a:r>
          </a:p>
        </p:txBody>
      </p:sp>
      <p:grpSp>
        <p:nvGrpSpPr>
          <p:cNvPr id="16" name="Рисунок 4">
            <a:extLst>
              <a:ext uri="{FF2B5EF4-FFF2-40B4-BE49-F238E27FC236}">
                <a16:creationId xmlns:a16="http://schemas.microsoft.com/office/drawing/2014/main" id="{091D357B-5425-91F1-F602-C88B464D920C}"/>
              </a:ext>
            </a:extLst>
          </p:cNvPr>
          <p:cNvGrpSpPr/>
          <p:nvPr/>
        </p:nvGrpSpPr>
        <p:grpSpPr>
          <a:xfrm>
            <a:off x="8267796" y="2694213"/>
            <a:ext cx="1188000" cy="1188000"/>
            <a:chOff x="6450353" y="2684481"/>
            <a:chExt cx="1473380" cy="1467798"/>
          </a:xfrm>
          <a:solidFill>
            <a:schemeClr val="bg1"/>
          </a:solidFill>
        </p:grpSpPr>
        <p:sp>
          <p:nvSpPr>
            <p:cNvPr id="19" name="Полилиния 33">
              <a:extLst>
                <a:ext uri="{FF2B5EF4-FFF2-40B4-BE49-F238E27FC236}">
                  <a16:creationId xmlns:a16="http://schemas.microsoft.com/office/drawing/2014/main" id="{9ABC9262-07B7-9AEB-28EC-79BCC18292E2}"/>
                </a:ext>
              </a:extLst>
            </p:cNvPr>
            <p:cNvSpPr/>
            <p:nvPr/>
          </p:nvSpPr>
          <p:spPr>
            <a:xfrm>
              <a:off x="6852106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Полилиния 34">
              <a:extLst>
                <a:ext uri="{FF2B5EF4-FFF2-40B4-BE49-F238E27FC236}">
                  <a16:creationId xmlns:a16="http://schemas.microsoft.com/office/drawing/2014/main" id="{1362EB0F-0D90-1A88-29D6-0BB8BEA4D8E8}"/>
                </a:ext>
              </a:extLst>
            </p:cNvPr>
            <p:cNvSpPr/>
            <p:nvPr/>
          </p:nvSpPr>
          <p:spPr>
            <a:xfrm>
              <a:off x="6941480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Полилиния 35">
              <a:extLst>
                <a:ext uri="{FF2B5EF4-FFF2-40B4-BE49-F238E27FC236}">
                  <a16:creationId xmlns:a16="http://schemas.microsoft.com/office/drawing/2014/main" id="{F7E27D7D-5302-1C92-E2A0-B9CF7BE40D95}"/>
                </a:ext>
              </a:extLst>
            </p:cNvPr>
            <p:cNvSpPr/>
            <p:nvPr/>
          </p:nvSpPr>
          <p:spPr>
            <a:xfrm>
              <a:off x="720931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Полилиния 36">
              <a:extLst>
                <a:ext uri="{FF2B5EF4-FFF2-40B4-BE49-F238E27FC236}">
                  <a16:creationId xmlns:a16="http://schemas.microsoft.com/office/drawing/2014/main" id="{E05B0ED1-54E4-9364-B41A-C6860974673B}"/>
                </a:ext>
              </a:extLst>
            </p:cNvPr>
            <p:cNvSpPr/>
            <p:nvPr/>
          </p:nvSpPr>
          <p:spPr>
            <a:xfrm>
              <a:off x="725395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Полилиния 37">
              <a:extLst>
                <a:ext uri="{FF2B5EF4-FFF2-40B4-BE49-F238E27FC236}">
                  <a16:creationId xmlns:a16="http://schemas.microsoft.com/office/drawing/2014/main" id="{5B2F7605-FD3D-3987-04BA-6B39DE241DFE}"/>
                </a:ext>
              </a:extLst>
            </p:cNvPr>
            <p:cNvSpPr/>
            <p:nvPr/>
          </p:nvSpPr>
          <p:spPr>
            <a:xfrm>
              <a:off x="7298594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Полилиния 38">
              <a:extLst>
                <a:ext uri="{FF2B5EF4-FFF2-40B4-BE49-F238E27FC236}">
                  <a16:creationId xmlns:a16="http://schemas.microsoft.com/office/drawing/2014/main" id="{C42C2D34-4571-5967-6FD3-BB0613F67BDA}"/>
                </a:ext>
              </a:extLst>
            </p:cNvPr>
            <p:cNvSpPr/>
            <p:nvPr/>
          </p:nvSpPr>
          <p:spPr>
            <a:xfrm>
              <a:off x="738787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Полилиния 39">
              <a:extLst>
                <a:ext uri="{FF2B5EF4-FFF2-40B4-BE49-F238E27FC236}">
                  <a16:creationId xmlns:a16="http://schemas.microsoft.com/office/drawing/2014/main" id="{333EE758-8CF9-1C6B-7E4A-AB3C060421BE}"/>
                </a:ext>
              </a:extLst>
            </p:cNvPr>
            <p:cNvSpPr/>
            <p:nvPr/>
          </p:nvSpPr>
          <p:spPr>
            <a:xfrm>
              <a:off x="7432512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Полилиния 40">
              <a:extLst>
                <a:ext uri="{FF2B5EF4-FFF2-40B4-BE49-F238E27FC236}">
                  <a16:creationId xmlns:a16="http://schemas.microsoft.com/office/drawing/2014/main" id="{D11E8176-3B6D-B601-BAD7-1C473763A413}"/>
                </a:ext>
              </a:extLst>
            </p:cNvPr>
            <p:cNvSpPr/>
            <p:nvPr/>
          </p:nvSpPr>
          <p:spPr>
            <a:xfrm>
              <a:off x="7521885" y="268448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Полилиния 41">
              <a:extLst>
                <a:ext uri="{FF2B5EF4-FFF2-40B4-BE49-F238E27FC236}">
                  <a16:creationId xmlns:a16="http://schemas.microsoft.com/office/drawing/2014/main" id="{EEC3248C-AE5B-7FB0-3492-2948DAB04327}"/>
                </a:ext>
              </a:extLst>
            </p:cNvPr>
            <p:cNvSpPr/>
            <p:nvPr/>
          </p:nvSpPr>
          <p:spPr>
            <a:xfrm>
              <a:off x="680746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Полилиния 42">
              <a:extLst>
                <a:ext uri="{FF2B5EF4-FFF2-40B4-BE49-F238E27FC236}">
                  <a16:creationId xmlns:a16="http://schemas.microsoft.com/office/drawing/2014/main" id="{9F64D977-1EC4-104A-4597-855B84EF2CFF}"/>
                </a:ext>
              </a:extLst>
            </p:cNvPr>
            <p:cNvSpPr/>
            <p:nvPr/>
          </p:nvSpPr>
          <p:spPr>
            <a:xfrm>
              <a:off x="6986119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Полилиния 43">
              <a:extLst>
                <a:ext uri="{FF2B5EF4-FFF2-40B4-BE49-F238E27FC236}">
                  <a16:creationId xmlns:a16="http://schemas.microsoft.com/office/drawing/2014/main" id="{8812A686-08E9-E8A2-0E60-DE72480C8A21}"/>
                </a:ext>
              </a:extLst>
            </p:cNvPr>
            <p:cNvSpPr/>
            <p:nvPr/>
          </p:nvSpPr>
          <p:spPr>
            <a:xfrm>
              <a:off x="7120037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Полилиния 44">
              <a:extLst>
                <a:ext uri="{FF2B5EF4-FFF2-40B4-BE49-F238E27FC236}">
                  <a16:creationId xmlns:a16="http://schemas.microsoft.com/office/drawing/2014/main" id="{8926EDBB-0D90-9064-7D7D-274AA5F0C4D7}"/>
                </a:ext>
              </a:extLst>
            </p:cNvPr>
            <p:cNvSpPr/>
            <p:nvPr/>
          </p:nvSpPr>
          <p:spPr>
            <a:xfrm>
              <a:off x="720931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Полилиния 45">
              <a:extLst>
                <a:ext uri="{FF2B5EF4-FFF2-40B4-BE49-F238E27FC236}">
                  <a16:creationId xmlns:a16="http://schemas.microsoft.com/office/drawing/2014/main" id="{04F23908-C43C-CD5A-760A-80E83316921D}"/>
                </a:ext>
              </a:extLst>
            </p:cNvPr>
            <p:cNvSpPr/>
            <p:nvPr/>
          </p:nvSpPr>
          <p:spPr>
            <a:xfrm>
              <a:off x="7253955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Полилиния 46">
              <a:extLst>
                <a:ext uri="{FF2B5EF4-FFF2-40B4-BE49-F238E27FC236}">
                  <a16:creationId xmlns:a16="http://schemas.microsoft.com/office/drawing/2014/main" id="{3E80772F-8DA0-916C-77EE-53E262E76BE1}"/>
                </a:ext>
              </a:extLst>
            </p:cNvPr>
            <p:cNvSpPr/>
            <p:nvPr/>
          </p:nvSpPr>
          <p:spPr>
            <a:xfrm>
              <a:off x="7298594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Полилиния 47">
              <a:extLst>
                <a:ext uri="{FF2B5EF4-FFF2-40B4-BE49-F238E27FC236}">
                  <a16:creationId xmlns:a16="http://schemas.microsoft.com/office/drawing/2014/main" id="{D1C0BB71-89F0-1850-39E2-2CE629D3390F}"/>
                </a:ext>
              </a:extLst>
            </p:cNvPr>
            <p:cNvSpPr/>
            <p:nvPr/>
          </p:nvSpPr>
          <p:spPr>
            <a:xfrm>
              <a:off x="7432512" y="272895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Полилиния 48">
              <a:extLst>
                <a:ext uri="{FF2B5EF4-FFF2-40B4-BE49-F238E27FC236}">
                  <a16:creationId xmlns:a16="http://schemas.microsoft.com/office/drawing/2014/main" id="{CC33C5B9-D385-E5FE-F0D2-682F54E0FC22}"/>
                </a:ext>
              </a:extLst>
            </p:cNvPr>
            <p:cNvSpPr/>
            <p:nvPr/>
          </p:nvSpPr>
          <p:spPr>
            <a:xfrm>
              <a:off x="680746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Полилиния 49">
              <a:extLst>
                <a:ext uri="{FF2B5EF4-FFF2-40B4-BE49-F238E27FC236}">
                  <a16:creationId xmlns:a16="http://schemas.microsoft.com/office/drawing/2014/main" id="{26E620BD-F9A7-8194-E7EE-AC9B5318DE63}"/>
                </a:ext>
              </a:extLst>
            </p:cNvPr>
            <p:cNvSpPr/>
            <p:nvPr/>
          </p:nvSpPr>
          <p:spPr>
            <a:xfrm>
              <a:off x="703075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Полилиния 50">
              <a:extLst>
                <a:ext uri="{FF2B5EF4-FFF2-40B4-BE49-F238E27FC236}">
                  <a16:creationId xmlns:a16="http://schemas.microsoft.com/office/drawing/2014/main" id="{62E2A539-4F74-C2A4-00EC-700A7CACD0B5}"/>
                </a:ext>
              </a:extLst>
            </p:cNvPr>
            <p:cNvSpPr/>
            <p:nvPr/>
          </p:nvSpPr>
          <p:spPr>
            <a:xfrm>
              <a:off x="7075398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8" name="Полилиния 51">
              <a:extLst>
                <a:ext uri="{FF2B5EF4-FFF2-40B4-BE49-F238E27FC236}">
                  <a16:creationId xmlns:a16="http://schemas.microsoft.com/office/drawing/2014/main" id="{A48C07B8-1D43-5A09-7AA6-52E938AB7799}"/>
                </a:ext>
              </a:extLst>
            </p:cNvPr>
            <p:cNvSpPr/>
            <p:nvPr/>
          </p:nvSpPr>
          <p:spPr>
            <a:xfrm>
              <a:off x="7120037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9" name="Полилиния 52">
              <a:extLst>
                <a:ext uri="{FF2B5EF4-FFF2-40B4-BE49-F238E27FC236}">
                  <a16:creationId xmlns:a16="http://schemas.microsoft.com/office/drawing/2014/main" id="{20FAD536-D147-5CC4-8FEC-6A60A5551035}"/>
                </a:ext>
              </a:extLst>
            </p:cNvPr>
            <p:cNvSpPr/>
            <p:nvPr/>
          </p:nvSpPr>
          <p:spPr>
            <a:xfrm>
              <a:off x="720931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0" name="Полилиния 53">
              <a:extLst>
                <a:ext uri="{FF2B5EF4-FFF2-40B4-BE49-F238E27FC236}">
                  <a16:creationId xmlns:a16="http://schemas.microsoft.com/office/drawing/2014/main" id="{A190DF5E-F386-B759-48CA-A4B951DBCB55}"/>
                </a:ext>
              </a:extLst>
            </p:cNvPr>
            <p:cNvSpPr/>
            <p:nvPr/>
          </p:nvSpPr>
          <p:spPr>
            <a:xfrm>
              <a:off x="725395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Полилиния 54">
              <a:extLst>
                <a:ext uri="{FF2B5EF4-FFF2-40B4-BE49-F238E27FC236}">
                  <a16:creationId xmlns:a16="http://schemas.microsoft.com/office/drawing/2014/main" id="{43BDC2C8-6F01-FFCF-ACB9-34AAA9A5CE05}"/>
                </a:ext>
              </a:extLst>
            </p:cNvPr>
            <p:cNvSpPr/>
            <p:nvPr/>
          </p:nvSpPr>
          <p:spPr>
            <a:xfrm>
              <a:off x="7298594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Полилиния 55">
              <a:extLst>
                <a:ext uri="{FF2B5EF4-FFF2-40B4-BE49-F238E27FC236}">
                  <a16:creationId xmlns:a16="http://schemas.microsoft.com/office/drawing/2014/main" id="{4A53FD39-FEF6-B233-89EB-88AD623C467E}"/>
                </a:ext>
              </a:extLst>
            </p:cNvPr>
            <p:cNvSpPr/>
            <p:nvPr/>
          </p:nvSpPr>
          <p:spPr>
            <a:xfrm>
              <a:off x="7343233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Полилиния 56">
              <a:extLst>
                <a:ext uri="{FF2B5EF4-FFF2-40B4-BE49-F238E27FC236}">
                  <a16:creationId xmlns:a16="http://schemas.microsoft.com/office/drawing/2014/main" id="{A182392C-4BAE-E1B4-5092-90C83DE05EBE}"/>
                </a:ext>
              </a:extLst>
            </p:cNvPr>
            <p:cNvSpPr/>
            <p:nvPr/>
          </p:nvSpPr>
          <p:spPr>
            <a:xfrm>
              <a:off x="738787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4" name="Полилиния 57">
              <a:extLst>
                <a:ext uri="{FF2B5EF4-FFF2-40B4-BE49-F238E27FC236}">
                  <a16:creationId xmlns:a16="http://schemas.microsoft.com/office/drawing/2014/main" id="{300C7601-1235-F207-33AB-CD7338328895}"/>
                </a:ext>
              </a:extLst>
            </p:cNvPr>
            <p:cNvSpPr/>
            <p:nvPr/>
          </p:nvSpPr>
          <p:spPr>
            <a:xfrm>
              <a:off x="7432512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5" name="Полилиния 58">
              <a:extLst>
                <a:ext uri="{FF2B5EF4-FFF2-40B4-BE49-F238E27FC236}">
                  <a16:creationId xmlns:a16="http://schemas.microsoft.com/office/drawing/2014/main" id="{319C6BD8-E3E6-4E81-6EB1-D5D3D50D25E3}"/>
                </a:ext>
              </a:extLst>
            </p:cNvPr>
            <p:cNvSpPr/>
            <p:nvPr/>
          </p:nvSpPr>
          <p:spPr>
            <a:xfrm>
              <a:off x="7521885" y="277342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6" name="Полилиния 59">
              <a:extLst>
                <a:ext uri="{FF2B5EF4-FFF2-40B4-BE49-F238E27FC236}">
                  <a16:creationId xmlns:a16="http://schemas.microsoft.com/office/drawing/2014/main" id="{AF84EC99-3804-6A3B-3469-FC57FBE06200}"/>
                </a:ext>
              </a:extLst>
            </p:cNvPr>
            <p:cNvSpPr/>
            <p:nvPr/>
          </p:nvSpPr>
          <p:spPr>
            <a:xfrm>
              <a:off x="6807467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7" name="Полилиния 60">
              <a:extLst>
                <a:ext uri="{FF2B5EF4-FFF2-40B4-BE49-F238E27FC236}">
                  <a16:creationId xmlns:a16="http://schemas.microsoft.com/office/drawing/2014/main" id="{A1B6137D-7DC2-124E-43A1-4F5CB240C918}"/>
                </a:ext>
              </a:extLst>
            </p:cNvPr>
            <p:cNvSpPr/>
            <p:nvPr/>
          </p:nvSpPr>
          <p:spPr>
            <a:xfrm>
              <a:off x="689684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Полилиния 61">
              <a:extLst>
                <a:ext uri="{FF2B5EF4-FFF2-40B4-BE49-F238E27FC236}">
                  <a16:creationId xmlns:a16="http://schemas.microsoft.com/office/drawing/2014/main" id="{C6D707A2-EBFF-B3BB-6D11-49C10E7BCCCF}"/>
                </a:ext>
              </a:extLst>
            </p:cNvPr>
            <p:cNvSpPr/>
            <p:nvPr/>
          </p:nvSpPr>
          <p:spPr>
            <a:xfrm>
              <a:off x="6986119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Полилиния 62">
              <a:extLst>
                <a:ext uri="{FF2B5EF4-FFF2-40B4-BE49-F238E27FC236}">
                  <a16:creationId xmlns:a16="http://schemas.microsoft.com/office/drawing/2014/main" id="{5503E758-5C87-3B1F-4236-E71850BA19F1}"/>
                </a:ext>
              </a:extLst>
            </p:cNvPr>
            <p:cNvSpPr/>
            <p:nvPr/>
          </p:nvSpPr>
          <p:spPr>
            <a:xfrm>
              <a:off x="703075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0" name="Полилиния 63">
              <a:extLst>
                <a:ext uri="{FF2B5EF4-FFF2-40B4-BE49-F238E27FC236}">
                  <a16:creationId xmlns:a16="http://schemas.microsoft.com/office/drawing/2014/main" id="{CB587B8F-8580-D58C-3127-CA92BE1D1B17}"/>
                </a:ext>
              </a:extLst>
            </p:cNvPr>
            <p:cNvSpPr/>
            <p:nvPr/>
          </p:nvSpPr>
          <p:spPr>
            <a:xfrm>
              <a:off x="7075398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Полилиния 64">
              <a:extLst>
                <a:ext uri="{FF2B5EF4-FFF2-40B4-BE49-F238E27FC236}">
                  <a16:creationId xmlns:a16="http://schemas.microsoft.com/office/drawing/2014/main" id="{E2A4FFBF-E932-8A8F-4DE0-32F2D6EB04E3}"/>
                </a:ext>
              </a:extLst>
            </p:cNvPr>
            <p:cNvSpPr/>
            <p:nvPr/>
          </p:nvSpPr>
          <p:spPr>
            <a:xfrm>
              <a:off x="7164676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" name="Полилиния 65">
              <a:extLst>
                <a:ext uri="{FF2B5EF4-FFF2-40B4-BE49-F238E27FC236}">
                  <a16:creationId xmlns:a16="http://schemas.microsoft.com/office/drawing/2014/main" id="{EC4208FA-3E36-3BE2-52F9-F0AAC80FFC3A}"/>
                </a:ext>
              </a:extLst>
            </p:cNvPr>
            <p:cNvSpPr/>
            <p:nvPr/>
          </p:nvSpPr>
          <p:spPr>
            <a:xfrm>
              <a:off x="720931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" name="Полилиния 66">
              <a:extLst>
                <a:ext uri="{FF2B5EF4-FFF2-40B4-BE49-F238E27FC236}">
                  <a16:creationId xmlns:a16="http://schemas.microsoft.com/office/drawing/2014/main" id="{B96C97AB-1913-5559-2D19-0F4E4E4543FE}"/>
                </a:ext>
              </a:extLst>
            </p:cNvPr>
            <p:cNvSpPr/>
            <p:nvPr/>
          </p:nvSpPr>
          <p:spPr>
            <a:xfrm>
              <a:off x="7253955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" name="Полилиния 67">
              <a:extLst>
                <a:ext uri="{FF2B5EF4-FFF2-40B4-BE49-F238E27FC236}">
                  <a16:creationId xmlns:a16="http://schemas.microsoft.com/office/drawing/2014/main" id="{26B0DD4C-9E2B-CF9C-B5F5-544B1BFDCC80}"/>
                </a:ext>
              </a:extLst>
            </p:cNvPr>
            <p:cNvSpPr/>
            <p:nvPr/>
          </p:nvSpPr>
          <p:spPr>
            <a:xfrm>
              <a:off x="7298594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" name="Полилиния 68">
              <a:extLst>
                <a:ext uri="{FF2B5EF4-FFF2-40B4-BE49-F238E27FC236}">
                  <a16:creationId xmlns:a16="http://schemas.microsoft.com/office/drawing/2014/main" id="{12C7A587-C1C0-C4F6-BDB4-4602D0DFA6AC}"/>
                </a:ext>
              </a:extLst>
            </p:cNvPr>
            <p:cNvSpPr/>
            <p:nvPr/>
          </p:nvSpPr>
          <p:spPr>
            <a:xfrm>
              <a:off x="738787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" name="Полилиния 69">
              <a:extLst>
                <a:ext uri="{FF2B5EF4-FFF2-40B4-BE49-F238E27FC236}">
                  <a16:creationId xmlns:a16="http://schemas.microsoft.com/office/drawing/2014/main" id="{70FCD4C5-B647-0286-327D-17B86CF5AEA5}"/>
                </a:ext>
              </a:extLst>
            </p:cNvPr>
            <p:cNvSpPr/>
            <p:nvPr/>
          </p:nvSpPr>
          <p:spPr>
            <a:xfrm>
              <a:off x="7432512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" name="Полилиния 70">
              <a:extLst>
                <a:ext uri="{FF2B5EF4-FFF2-40B4-BE49-F238E27FC236}">
                  <a16:creationId xmlns:a16="http://schemas.microsoft.com/office/drawing/2014/main" id="{E721007F-2934-8A4F-FF8E-095A08630C36}"/>
                </a:ext>
              </a:extLst>
            </p:cNvPr>
            <p:cNvSpPr/>
            <p:nvPr/>
          </p:nvSpPr>
          <p:spPr>
            <a:xfrm>
              <a:off x="7477151" y="281789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" name="Полилиния 71">
              <a:extLst>
                <a:ext uri="{FF2B5EF4-FFF2-40B4-BE49-F238E27FC236}">
                  <a16:creationId xmlns:a16="http://schemas.microsoft.com/office/drawing/2014/main" id="{4BDC56DF-FB7C-3FE7-E89B-2E299BFB7AB2}"/>
                </a:ext>
              </a:extLst>
            </p:cNvPr>
            <p:cNvSpPr/>
            <p:nvPr/>
          </p:nvSpPr>
          <p:spPr>
            <a:xfrm>
              <a:off x="680746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" name="Полилиния 72">
              <a:extLst>
                <a:ext uri="{FF2B5EF4-FFF2-40B4-BE49-F238E27FC236}">
                  <a16:creationId xmlns:a16="http://schemas.microsoft.com/office/drawing/2014/main" id="{710F3629-7699-631A-76AF-8603824E2F68}"/>
                </a:ext>
              </a:extLst>
            </p:cNvPr>
            <p:cNvSpPr/>
            <p:nvPr/>
          </p:nvSpPr>
          <p:spPr>
            <a:xfrm>
              <a:off x="6852106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" name="Полилиния 73">
              <a:extLst>
                <a:ext uri="{FF2B5EF4-FFF2-40B4-BE49-F238E27FC236}">
                  <a16:creationId xmlns:a16="http://schemas.microsoft.com/office/drawing/2014/main" id="{6997654B-C694-B709-54D0-3B64B61B9D62}"/>
                </a:ext>
              </a:extLst>
            </p:cNvPr>
            <p:cNvSpPr/>
            <p:nvPr/>
          </p:nvSpPr>
          <p:spPr>
            <a:xfrm>
              <a:off x="689684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" name="Полилиния 74">
              <a:extLst>
                <a:ext uri="{FF2B5EF4-FFF2-40B4-BE49-F238E27FC236}">
                  <a16:creationId xmlns:a16="http://schemas.microsoft.com/office/drawing/2014/main" id="{5CDD29C4-9D7F-C733-AE5D-138EAC2D407F}"/>
                </a:ext>
              </a:extLst>
            </p:cNvPr>
            <p:cNvSpPr/>
            <p:nvPr/>
          </p:nvSpPr>
          <p:spPr>
            <a:xfrm>
              <a:off x="7030758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" name="Полилиния 75">
              <a:extLst>
                <a:ext uri="{FF2B5EF4-FFF2-40B4-BE49-F238E27FC236}">
                  <a16:creationId xmlns:a16="http://schemas.microsoft.com/office/drawing/2014/main" id="{3C962D2F-1E6E-F075-1C19-BACD3DC64530}"/>
                </a:ext>
              </a:extLst>
            </p:cNvPr>
            <p:cNvSpPr/>
            <p:nvPr/>
          </p:nvSpPr>
          <p:spPr>
            <a:xfrm>
              <a:off x="7120037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" name="Полилиния 76">
              <a:extLst>
                <a:ext uri="{FF2B5EF4-FFF2-40B4-BE49-F238E27FC236}">
                  <a16:creationId xmlns:a16="http://schemas.microsoft.com/office/drawing/2014/main" id="{CB52B0A1-0E9A-4241-5B52-44AC43070BBC}"/>
                </a:ext>
              </a:extLst>
            </p:cNvPr>
            <p:cNvSpPr/>
            <p:nvPr/>
          </p:nvSpPr>
          <p:spPr>
            <a:xfrm>
              <a:off x="720931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6" name="Полилиния 77">
              <a:extLst>
                <a:ext uri="{FF2B5EF4-FFF2-40B4-BE49-F238E27FC236}">
                  <a16:creationId xmlns:a16="http://schemas.microsoft.com/office/drawing/2014/main" id="{C121CC1F-5651-93BD-9B2E-82DCBB76437E}"/>
                </a:ext>
              </a:extLst>
            </p:cNvPr>
            <p:cNvSpPr/>
            <p:nvPr/>
          </p:nvSpPr>
          <p:spPr>
            <a:xfrm>
              <a:off x="7253955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7" name="Полилиния 78">
              <a:extLst>
                <a:ext uri="{FF2B5EF4-FFF2-40B4-BE49-F238E27FC236}">
                  <a16:creationId xmlns:a16="http://schemas.microsoft.com/office/drawing/2014/main" id="{95644AF8-E310-3FA6-E423-38C00BD3C459}"/>
                </a:ext>
              </a:extLst>
            </p:cNvPr>
            <p:cNvSpPr/>
            <p:nvPr/>
          </p:nvSpPr>
          <p:spPr>
            <a:xfrm>
              <a:off x="7387872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8" name="Полилиния 79">
              <a:extLst>
                <a:ext uri="{FF2B5EF4-FFF2-40B4-BE49-F238E27FC236}">
                  <a16:creationId xmlns:a16="http://schemas.microsoft.com/office/drawing/2014/main" id="{93A020F7-6392-1E26-346B-9F9749788AAB}"/>
                </a:ext>
              </a:extLst>
            </p:cNvPr>
            <p:cNvSpPr/>
            <p:nvPr/>
          </p:nvSpPr>
          <p:spPr>
            <a:xfrm>
              <a:off x="7477151" y="286236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9" name="Полилиния 80">
              <a:extLst>
                <a:ext uri="{FF2B5EF4-FFF2-40B4-BE49-F238E27FC236}">
                  <a16:creationId xmlns:a16="http://schemas.microsoft.com/office/drawing/2014/main" id="{A7705F88-2947-848A-1ED3-98A0A77BD763}"/>
                </a:ext>
              </a:extLst>
            </p:cNvPr>
            <p:cNvSpPr/>
            <p:nvPr/>
          </p:nvSpPr>
          <p:spPr>
            <a:xfrm>
              <a:off x="680746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0" name="Полилиния 81">
              <a:extLst>
                <a:ext uri="{FF2B5EF4-FFF2-40B4-BE49-F238E27FC236}">
                  <a16:creationId xmlns:a16="http://schemas.microsoft.com/office/drawing/2014/main" id="{76DD42AC-3826-84C9-EC19-45AC2BD6F021}"/>
                </a:ext>
              </a:extLst>
            </p:cNvPr>
            <p:cNvSpPr/>
            <p:nvPr/>
          </p:nvSpPr>
          <p:spPr>
            <a:xfrm>
              <a:off x="689684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1" name="Полилиния 82">
              <a:extLst>
                <a:ext uri="{FF2B5EF4-FFF2-40B4-BE49-F238E27FC236}">
                  <a16:creationId xmlns:a16="http://schemas.microsoft.com/office/drawing/2014/main" id="{C5F20266-B320-679D-A1EF-D93DD7341030}"/>
                </a:ext>
              </a:extLst>
            </p:cNvPr>
            <p:cNvSpPr/>
            <p:nvPr/>
          </p:nvSpPr>
          <p:spPr>
            <a:xfrm>
              <a:off x="6941480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2" name="Полилиния 83">
              <a:extLst>
                <a:ext uri="{FF2B5EF4-FFF2-40B4-BE49-F238E27FC236}">
                  <a16:creationId xmlns:a16="http://schemas.microsoft.com/office/drawing/2014/main" id="{0AD344C6-0585-A9AD-D445-6EF585D8E2DD}"/>
                </a:ext>
              </a:extLst>
            </p:cNvPr>
            <p:cNvSpPr/>
            <p:nvPr/>
          </p:nvSpPr>
          <p:spPr>
            <a:xfrm>
              <a:off x="7075398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3" name="Полилиния 84">
              <a:extLst>
                <a:ext uri="{FF2B5EF4-FFF2-40B4-BE49-F238E27FC236}">
                  <a16:creationId xmlns:a16="http://schemas.microsoft.com/office/drawing/2014/main" id="{242B2067-4C82-897D-2C88-DBF335006A91}"/>
                </a:ext>
              </a:extLst>
            </p:cNvPr>
            <p:cNvSpPr/>
            <p:nvPr/>
          </p:nvSpPr>
          <p:spPr>
            <a:xfrm>
              <a:off x="7120037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4" name="Полилиния 85">
              <a:extLst>
                <a:ext uri="{FF2B5EF4-FFF2-40B4-BE49-F238E27FC236}">
                  <a16:creationId xmlns:a16="http://schemas.microsoft.com/office/drawing/2014/main" id="{C0980E32-70B6-A387-D539-E0B968A97BF1}"/>
                </a:ext>
              </a:extLst>
            </p:cNvPr>
            <p:cNvSpPr/>
            <p:nvPr/>
          </p:nvSpPr>
          <p:spPr>
            <a:xfrm>
              <a:off x="7164676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5" name="Полилиния 86">
              <a:extLst>
                <a:ext uri="{FF2B5EF4-FFF2-40B4-BE49-F238E27FC236}">
                  <a16:creationId xmlns:a16="http://schemas.microsoft.com/office/drawing/2014/main" id="{7C8CD8A7-142A-3512-061A-EE428AD9518E}"/>
                </a:ext>
              </a:extLst>
            </p:cNvPr>
            <p:cNvSpPr/>
            <p:nvPr/>
          </p:nvSpPr>
          <p:spPr>
            <a:xfrm>
              <a:off x="7387872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6" name="Полилиния 87">
              <a:extLst>
                <a:ext uri="{FF2B5EF4-FFF2-40B4-BE49-F238E27FC236}">
                  <a16:creationId xmlns:a16="http://schemas.microsoft.com/office/drawing/2014/main" id="{74AE5147-A3F3-2805-BE05-8CFA742C6099}"/>
                </a:ext>
              </a:extLst>
            </p:cNvPr>
            <p:cNvSpPr/>
            <p:nvPr/>
          </p:nvSpPr>
          <p:spPr>
            <a:xfrm>
              <a:off x="7477151" y="290683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7" name="Полилиния 88">
              <a:extLst>
                <a:ext uri="{FF2B5EF4-FFF2-40B4-BE49-F238E27FC236}">
                  <a16:creationId xmlns:a16="http://schemas.microsoft.com/office/drawing/2014/main" id="{E9454432-B877-7B4B-C948-3E33E3800876}"/>
                </a:ext>
              </a:extLst>
            </p:cNvPr>
            <p:cNvSpPr/>
            <p:nvPr/>
          </p:nvSpPr>
          <p:spPr>
            <a:xfrm>
              <a:off x="6807467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8" name="Полилиния 89">
              <a:extLst>
                <a:ext uri="{FF2B5EF4-FFF2-40B4-BE49-F238E27FC236}">
                  <a16:creationId xmlns:a16="http://schemas.microsoft.com/office/drawing/2014/main" id="{083E9D9B-BD67-95DA-E934-8ED8DF9D8BD9}"/>
                </a:ext>
              </a:extLst>
            </p:cNvPr>
            <p:cNvSpPr/>
            <p:nvPr/>
          </p:nvSpPr>
          <p:spPr>
            <a:xfrm>
              <a:off x="6896841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9" name="Полилиния 90">
              <a:extLst>
                <a:ext uri="{FF2B5EF4-FFF2-40B4-BE49-F238E27FC236}">
                  <a16:creationId xmlns:a16="http://schemas.microsoft.com/office/drawing/2014/main" id="{CE6500E1-6E2B-AE7E-EEA7-439331AC12A0}"/>
                </a:ext>
              </a:extLst>
            </p:cNvPr>
            <p:cNvSpPr/>
            <p:nvPr/>
          </p:nvSpPr>
          <p:spPr>
            <a:xfrm>
              <a:off x="6986119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0" name="Полилиния 91">
              <a:extLst>
                <a:ext uri="{FF2B5EF4-FFF2-40B4-BE49-F238E27FC236}">
                  <a16:creationId xmlns:a16="http://schemas.microsoft.com/office/drawing/2014/main" id="{D90B1A4A-096E-ACCC-E2F3-38CA605EA6AE}"/>
                </a:ext>
              </a:extLst>
            </p:cNvPr>
            <p:cNvSpPr/>
            <p:nvPr/>
          </p:nvSpPr>
          <p:spPr>
            <a:xfrm>
              <a:off x="7075398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1" name="Полилиния 92">
              <a:extLst>
                <a:ext uri="{FF2B5EF4-FFF2-40B4-BE49-F238E27FC236}">
                  <a16:creationId xmlns:a16="http://schemas.microsoft.com/office/drawing/2014/main" id="{18483747-C2FF-757D-83D8-8D95C6773DF8}"/>
                </a:ext>
              </a:extLst>
            </p:cNvPr>
            <p:cNvSpPr/>
            <p:nvPr/>
          </p:nvSpPr>
          <p:spPr>
            <a:xfrm>
              <a:off x="7164676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4" name="Полилиния 93">
              <a:extLst>
                <a:ext uri="{FF2B5EF4-FFF2-40B4-BE49-F238E27FC236}">
                  <a16:creationId xmlns:a16="http://schemas.microsoft.com/office/drawing/2014/main" id="{6D0E646B-55B8-BE4E-2E97-A758D7FD3657}"/>
                </a:ext>
              </a:extLst>
            </p:cNvPr>
            <p:cNvSpPr/>
            <p:nvPr/>
          </p:nvSpPr>
          <p:spPr>
            <a:xfrm>
              <a:off x="725395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5" name="Полилиния 94">
              <a:extLst>
                <a:ext uri="{FF2B5EF4-FFF2-40B4-BE49-F238E27FC236}">
                  <a16:creationId xmlns:a16="http://schemas.microsoft.com/office/drawing/2014/main" id="{8ADB13F5-9E04-E68E-559F-D29635C5D2DF}"/>
                </a:ext>
              </a:extLst>
            </p:cNvPr>
            <p:cNvSpPr/>
            <p:nvPr/>
          </p:nvSpPr>
          <p:spPr>
            <a:xfrm>
              <a:off x="7343233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7" name="Полилиния 95">
              <a:extLst>
                <a:ext uri="{FF2B5EF4-FFF2-40B4-BE49-F238E27FC236}">
                  <a16:creationId xmlns:a16="http://schemas.microsoft.com/office/drawing/2014/main" id="{9B71C999-3633-9390-E507-290DADA65E2A}"/>
                </a:ext>
              </a:extLst>
            </p:cNvPr>
            <p:cNvSpPr/>
            <p:nvPr/>
          </p:nvSpPr>
          <p:spPr>
            <a:xfrm>
              <a:off x="7432512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0" name="Полилиния 96">
              <a:extLst>
                <a:ext uri="{FF2B5EF4-FFF2-40B4-BE49-F238E27FC236}">
                  <a16:creationId xmlns:a16="http://schemas.microsoft.com/office/drawing/2014/main" id="{44763994-F397-5D22-94E5-A69AE24FF20A}"/>
                </a:ext>
              </a:extLst>
            </p:cNvPr>
            <p:cNvSpPr/>
            <p:nvPr/>
          </p:nvSpPr>
          <p:spPr>
            <a:xfrm>
              <a:off x="7521885" y="295130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2" name="Полилиния 97">
              <a:extLst>
                <a:ext uri="{FF2B5EF4-FFF2-40B4-BE49-F238E27FC236}">
                  <a16:creationId xmlns:a16="http://schemas.microsoft.com/office/drawing/2014/main" id="{B567A59E-B743-93C7-05E3-BC371D4C1C67}"/>
                </a:ext>
              </a:extLst>
            </p:cNvPr>
            <p:cNvSpPr/>
            <p:nvPr/>
          </p:nvSpPr>
          <p:spPr>
            <a:xfrm>
              <a:off x="685210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3" name="Полилиния 98">
              <a:extLst>
                <a:ext uri="{FF2B5EF4-FFF2-40B4-BE49-F238E27FC236}">
                  <a16:creationId xmlns:a16="http://schemas.microsoft.com/office/drawing/2014/main" id="{BEC58888-39DD-0194-024A-50968F8F1564}"/>
                </a:ext>
              </a:extLst>
            </p:cNvPr>
            <p:cNvSpPr/>
            <p:nvPr/>
          </p:nvSpPr>
          <p:spPr>
            <a:xfrm>
              <a:off x="689684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4" name="Полилиния 99">
              <a:extLst>
                <a:ext uri="{FF2B5EF4-FFF2-40B4-BE49-F238E27FC236}">
                  <a16:creationId xmlns:a16="http://schemas.microsoft.com/office/drawing/2014/main" id="{499A28FC-9B93-9378-61A2-F67E68528131}"/>
                </a:ext>
              </a:extLst>
            </p:cNvPr>
            <p:cNvSpPr/>
            <p:nvPr/>
          </p:nvSpPr>
          <p:spPr>
            <a:xfrm>
              <a:off x="7030758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5" name="Полилиния 100">
              <a:extLst>
                <a:ext uri="{FF2B5EF4-FFF2-40B4-BE49-F238E27FC236}">
                  <a16:creationId xmlns:a16="http://schemas.microsoft.com/office/drawing/2014/main" id="{228CB9DC-0DDF-1C9C-BB94-5213A10527C7}"/>
                </a:ext>
              </a:extLst>
            </p:cNvPr>
            <p:cNvSpPr/>
            <p:nvPr/>
          </p:nvSpPr>
          <p:spPr>
            <a:xfrm>
              <a:off x="7164676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6" name="Полилиния 101">
              <a:extLst>
                <a:ext uri="{FF2B5EF4-FFF2-40B4-BE49-F238E27FC236}">
                  <a16:creationId xmlns:a16="http://schemas.microsoft.com/office/drawing/2014/main" id="{F0FC0E60-F02A-E563-EB4F-D2EABD5A792E}"/>
                </a:ext>
              </a:extLst>
            </p:cNvPr>
            <p:cNvSpPr/>
            <p:nvPr/>
          </p:nvSpPr>
          <p:spPr>
            <a:xfrm>
              <a:off x="7477151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7" name="Полилиния 102">
              <a:extLst>
                <a:ext uri="{FF2B5EF4-FFF2-40B4-BE49-F238E27FC236}">
                  <a16:creationId xmlns:a16="http://schemas.microsoft.com/office/drawing/2014/main" id="{D864F336-E334-7D70-7BDB-3781674AF725}"/>
                </a:ext>
              </a:extLst>
            </p:cNvPr>
            <p:cNvSpPr/>
            <p:nvPr/>
          </p:nvSpPr>
          <p:spPr>
            <a:xfrm>
              <a:off x="7521885" y="2995771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8" name="Полилиния 103">
              <a:extLst>
                <a:ext uri="{FF2B5EF4-FFF2-40B4-BE49-F238E27FC236}">
                  <a16:creationId xmlns:a16="http://schemas.microsoft.com/office/drawing/2014/main" id="{6972D5EB-806F-C8FB-CCEC-7747DBD03289}"/>
                </a:ext>
              </a:extLst>
            </p:cNvPr>
            <p:cNvSpPr/>
            <p:nvPr/>
          </p:nvSpPr>
          <p:spPr>
            <a:xfrm>
              <a:off x="653963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9" name="Полилиния 104">
              <a:extLst>
                <a:ext uri="{FF2B5EF4-FFF2-40B4-BE49-F238E27FC236}">
                  <a16:creationId xmlns:a16="http://schemas.microsoft.com/office/drawing/2014/main" id="{44435CB3-69FA-F9A0-15C9-DA23569D13E4}"/>
                </a:ext>
              </a:extLst>
            </p:cNvPr>
            <p:cNvSpPr/>
            <p:nvPr/>
          </p:nvSpPr>
          <p:spPr>
            <a:xfrm>
              <a:off x="667354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0" name="Полилиния 105">
              <a:extLst>
                <a:ext uri="{FF2B5EF4-FFF2-40B4-BE49-F238E27FC236}">
                  <a16:creationId xmlns:a16="http://schemas.microsoft.com/office/drawing/2014/main" id="{2A94E6C4-FE03-1D9E-19E4-8B3699BD6806}"/>
                </a:ext>
              </a:extLst>
            </p:cNvPr>
            <p:cNvSpPr/>
            <p:nvPr/>
          </p:nvSpPr>
          <p:spPr>
            <a:xfrm>
              <a:off x="6718189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1" name="Полилиния 106">
              <a:extLst>
                <a:ext uri="{FF2B5EF4-FFF2-40B4-BE49-F238E27FC236}">
                  <a16:creationId xmlns:a16="http://schemas.microsoft.com/office/drawing/2014/main" id="{1F692489-B1D8-01A6-DDAB-7FDC7B9E60E8}"/>
                </a:ext>
              </a:extLst>
            </p:cNvPr>
            <p:cNvSpPr/>
            <p:nvPr/>
          </p:nvSpPr>
          <p:spPr>
            <a:xfrm>
              <a:off x="676282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2" name="Полилиния 107">
              <a:extLst>
                <a:ext uri="{FF2B5EF4-FFF2-40B4-BE49-F238E27FC236}">
                  <a16:creationId xmlns:a16="http://schemas.microsoft.com/office/drawing/2014/main" id="{0ABEBEC5-57C8-CE02-2EA6-839421B6D84A}"/>
                </a:ext>
              </a:extLst>
            </p:cNvPr>
            <p:cNvSpPr/>
            <p:nvPr/>
          </p:nvSpPr>
          <p:spPr>
            <a:xfrm>
              <a:off x="680746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3" name="Полилиния 108">
              <a:extLst>
                <a:ext uri="{FF2B5EF4-FFF2-40B4-BE49-F238E27FC236}">
                  <a16:creationId xmlns:a16="http://schemas.microsoft.com/office/drawing/2014/main" id="{45D4F8C6-BC11-05B3-2B6F-F70FF518DC86}"/>
                </a:ext>
              </a:extLst>
            </p:cNvPr>
            <p:cNvSpPr/>
            <p:nvPr/>
          </p:nvSpPr>
          <p:spPr>
            <a:xfrm>
              <a:off x="689684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4" name="Полилиния 109">
              <a:extLst>
                <a:ext uri="{FF2B5EF4-FFF2-40B4-BE49-F238E27FC236}">
                  <a16:creationId xmlns:a16="http://schemas.microsoft.com/office/drawing/2014/main" id="{8E99A2FA-5754-C128-74C7-BB32BD3EEE72}"/>
                </a:ext>
              </a:extLst>
            </p:cNvPr>
            <p:cNvSpPr/>
            <p:nvPr/>
          </p:nvSpPr>
          <p:spPr>
            <a:xfrm>
              <a:off x="7030758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5" name="Полилиния 110">
              <a:extLst>
                <a:ext uri="{FF2B5EF4-FFF2-40B4-BE49-F238E27FC236}">
                  <a16:creationId xmlns:a16="http://schemas.microsoft.com/office/drawing/2014/main" id="{A47E11A8-268B-0CC1-BB5E-88958AC26050}"/>
                </a:ext>
              </a:extLst>
            </p:cNvPr>
            <p:cNvSpPr/>
            <p:nvPr/>
          </p:nvSpPr>
          <p:spPr>
            <a:xfrm>
              <a:off x="7120037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6" name="Полилиния 111">
              <a:extLst>
                <a:ext uri="{FF2B5EF4-FFF2-40B4-BE49-F238E27FC236}">
                  <a16:creationId xmlns:a16="http://schemas.microsoft.com/office/drawing/2014/main" id="{1451A160-FC60-C97C-0F60-F3A9AEFEA154}"/>
                </a:ext>
              </a:extLst>
            </p:cNvPr>
            <p:cNvSpPr/>
            <p:nvPr/>
          </p:nvSpPr>
          <p:spPr>
            <a:xfrm>
              <a:off x="7164676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7" name="Полилиния 112">
              <a:extLst>
                <a:ext uri="{FF2B5EF4-FFF2-40B4-BE49-F238E27FC236}">
                  <a16:creationId xmlns:a16="http://schemas.microsoft.com/office/drawing/2014/main" id="{40ED6A33-84AD-6F3A-B8C3-D36FB75F1E5D}"/>
                </a:ext>
              </a:extLst>
            </p:cNvPr>
            <p:cNvSpPr/>
            <p:nvPr/>
          </p:nvSpPr>
          <p:spPr>
            <a:xfrm>
              <a:off x="720931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8" name="Полилиния 113">
              <a:extLst>
                <a:ext uri="{FF2B5EF4-FFF2-40B4-BE49-F238E27FC236}">
                  <a16:creationId xmlns:a16="http://schemas.microsoft.com/office/drawing/2014/main" id="{B75D8CEF-D767-B47F-4EFB-922353252F84}"/>
                </a:ext>
              </a:extLst>
            </p:cNvPr>
            <p:cNvSpPr/>
            <p:nvPr/>
          </p:nvSpPr>
          <p:spPr>
            <a:xfrm>
              <a:off x="7253955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9" name="Полилиния 114">
              <a:extLst>
                <a:ext uri="{FF2B5EF4-FFF2-40B4-BE49-F238E27FC236}">
                  <a16:creationId xmlns:a16="http://schemas.microsoft.com/office/drawing/2014/main" id="{24001B8A-BAA7-B97E-A882-3A4C839EB20A}"/>
                </a:ext>
              </a:extLst>
            </p:cNvPr>
            <p:cNvSpPr/>
            <p:nvPr/>
          </p:nvSpPr>
          <p:spPr>
            <a:xfrm>
              <a:off x="734323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0" name="Полилиния 115">
              <a:extLst>
                <a:ext uri="{FF2B5EF4-FFF2-40B4-BE49-F238E27FC236}">
                  <a16:creationId xmlns:a16="http://schemas.microsoft.com/office/drawing/2014/main" id="{6581DE1C-74FD-5A66-8049-247603867B7E}"/>
                </a:ext>
              </a:extLst>
            </p:cNvPr>
            <p:cNvSpPr/>
            <p:nvPr/>
          </p:nvSpPr>
          <p:spPr>
            <a:xfrm>
              <a:off x="7566524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1" name="Полилиния 116">
              <a:extLst>
                <a:ext uri="{FF2B5EF4-FFF2-40B4-BE49-F238E27FC236}">
                  <a16:creationId xmlns:a16="http://schemas.microsoft.com/office/drawing/2014/main" id="{A7B3281D-067D-3157-32B5-4D211106EC83}"/>
                </a:ext>
              </a:extLst>
            </p:cNvPr>
            <p:cNvSpPr/>
            <p:nvPr/>
          </p:nvSpPr>
          <p:spPr>
            <a:xfrm>
              <a:off x="7655803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2" name="Полилиния 117">
              <a:extLst>
                <a:ext uri="{FF2B5EF4-FFF2-40B4-BE49-F238E27FC236}">
                  <a16:creationId xmlns:a16="http://schemas.microsoft.com/office/drawing/2014/main" id="{B8C5A43E-E96C-0BF3-EE46-5F2D2EC54F77}"/>
                </a:ext>
              </a:extLst>
            </p:cNvPr>
            <p:cNvSpPr/>
            <p:nvPr/>
          </p:nvSpPr>
          <p:spPr>
            <a:xfrm>
              <a:off x="7700442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3" name="Полилиния 118">
              <a:extLst>
                <a:ext uri="{FF2B5EF4-FFF2-40B4-BE49-F238E27FC236}">
                  <a16:creationId xmlns:a16="http://schemas.microsoft.com/office/drawing/2014/main" id="{7B34D4E6-1907-4465-7377-E95296DA981F}"/>
                </a:ext>
              </a:extLst>
            </p:cNvPr>
            <p:cNvSpPr/>
            <p:nvPr/>
          </p:nvSpPr>
          <p:spPr>
            <a:xfrm>
              <a:off x="774508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4" name="Полилиния 119">
              <a:extLst>
                <a:ext uri="{FF2B5EF4-FFF2-40B4-BE49-F238E27FC236}">
                  <a16:creationId xmlns:a16="http://schemas.microsoft.com/office/drawing/2014/main" id="{B4957295-B6D4-49BD-26BD-B4BB776C9E62}"/>
                </a:ext>
              </a:extLst>
            </p:cNvPr>
            <p:cNvSpPr/>
            <p:nvPr/>
          </p:nvSpPr>
          <p:spPr>
            <a:xfrm>
              <a:off x="7789721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5" name="Полилиния 120">
              <a:extLst>
                <a:ext uri="{FF2B5EF4-FFF2-40B4-BE49-F238E27FC236}">
                  <a16:creationId xmlns:a16="http://schemas.microsoft.com/office/drawing/2014/main" id="{A95711A7-6805-12D6-3B60-92C505603990}"/>
                </a:ext>
              </a:extLst>
            </p:cNvPr>
            <p:cNvSpPr/>
            <p:nvPr/>
          </p:nvSpPr>
          <p:spPr>
            <a:xfrm>
              <a:off x="7834360" y="304024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6" name="Полилиния 121">
              <a:extLst>
                <a:ext uri="{FF2B5EF4-FFF2-40B4-BE49-F238E27FC236}">
                  <a16:creationId xmlns:a16="http://schemas.microsoft.com/office/drawing/2014/main" id="{50D766E7-EF1E-CCBC-A9DD-0A269C1BFB18}"/>
                </a:ext>
              </a:extLst>
            </p:cNvPr>
            <p:cNvSpPr/>
            <p:nvPr/>
          </p:nvSpPr>
          <p:spPr>
            <a:xfrm>
              <a:off x="649499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7" name="Полилиния 122">
              <a:extLst>
                <a:ext uri="{FF2B5EF4-FFF2-40B4-BE49-F238E27FC236}">
                  <a16:creationId xmlns:a16="http://schemas.microsoft.com/office/drawing/2014/main" id="{A6295EAD-FEA8-16A2-2463-695738622B6D}"/>
                </a:ext>
              </a:extLst>
            </p:cNvPr>
            <p:cNvSpPr/>
            <p:nvPr/>
          </p:nvSpPr>
          <p:spPr>
            <a:xfrm>
              <a:off x="653963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8" name="Полилиния 123">
              <a:extLst>
                <a:ext uri="{FF2B5EF4-FFF2-40B4-BE49-F238E27FC236}">
                  <a16:creationId xmlns:a16="http://schemas.microsoft.com/office/drawing/2014/main" id="{F9120B61-7718-E493-6DC7-D6CEFD71750D}"/>
                </a:ext>
              </a:extLst>
            </p:cNvPr>
            <p:cNvSpPr/>
            <p:nvPr/>
          </p:nvSpPr>
          <p:spPr>
            <a:xfrm>
              <a:off x="667354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9" name="Полилиния 124">
              <a:extLst>
                <a:ext uri="{FF2B5EF4-FFF2-40B4-BE49-F238E27FC236}">
                  <a16:creationId xmlns:a16="http://schemas.microsoft.com/office/drawing/2014/main" id="{53E472B2-1D3D-ED60-74B4-B98783CDC918}"/>
                </a:ext>
              </a:extLst>
            </p:cNvPr>
            <p:cNvSpPr/>
            <p:nvPr/>
          </p:nvSpPr>
          <p:spPr>
            <a:xfrm>
              <a:off x="6852106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0" name="Полилиния 125">
              <a:extLst>
                <a:ext uri="{FF2B5EF4-FFF2-40B4-BE49-F238E27FC236}">
                  <a16:creationId xmlns:a16="http://schemas.microsoft.com/office/drawing/2014/main" id="{EE94D7DA-F850-8DE5-E131-4E5C4FCDB7A5}"/>
                </a:ext>
              </a:extLst>
            </p:cNvPr>
            <p:cNvSpPr/>
            <p:nvPr/>
          </p:nvSpPr>
          <p:spPr>
            <a:xfrm>
              <a:off x="6941480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1" name="Полилиния 126">
              <a:extLst>
                <a:ext uri="{FF2B5EF4-FFF2-40B4-BE49-F238E27FC236}">
                  <a16:creationId xmlns:a16="http://schemas.microsoft.com/office/drawing/2014/main" id="{88E5BCB1-D774-932F-8136-E44AE5C2DBD9}"/>
                </a:ext>
              </a:extLst>
            </p:cNvPr>
            <p:cNvSpPr/>
            <p:nvPr/>
          </p:nvSpPr>
          <p:spPr>
            <a:xfrm>
              <a:off x="7030758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2" name="Полилиния 127">
              <a:extLst>
                <a:ext uri="{FF2B5EF4-FFF2-40B4-BE49-F238E27FC236}">
                  <a16:creationId xmlns:a16="http://schemas.microsoft.com/office/drawing/2014/main" id="{2F324967-CAA3-BCD7-8DE2-C88EF8F947A8}"/>
                </a:ext>
              </a:extLst>
            </p:cNvPr>
            <p:cNvSpPr/>
            <p:nvPr/>
          </p:nvSpPr>
          <p:spPr>
            <a:xfrm>
              <a:off x="720931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3" name="Полилиния 128">
              <a:extLst>
                <a:ext uri="{FF2B5EF4-FFF2-40B4-BE49-F238E27FC236}">
                  <a16:creationId xmlns:a16="http://schemas.microsoft.com/office/drawing/2014/main" id="{E0C9BAAE-20F7-A0FC-7152-5C7EACC5CAC5}"/>
                </a:ext>
              </a:extLst>
            </p:cNvPr>
            <p:cNvSpPr/>
            <p:nvPr/>
          </p:nvSpPr>
          <p:spPr>
            <a:xfrm>
              <a:off x="725395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4" name="Полилиния 129">
              <a:extLst>
                <a:ext uri="{FF2B5EF4-FFF2-40B4-BE49-F238E27FC236}">
                  <a16:creationId xmlns:a16="http://schemas.microsoft.com/office/drawing/2014/main" id="{54FE5D3E-B373-D7D3-2BCD-B32555DBDC8D}"/>
                </a:ext>
              </a:extLst>
            </p:cNvPr>
            <p:cNvSpPr/>
            <p:nvPr/>
          </p:nvSpPr>
          <p:spPr>
            <a:xfrm>
              <a:off x="729859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5" name="Полилиния 130">
              <a:extLst>
                <a:ext uri="{FF2B5EF4-FFF2-40B4-BE49-F238E27FC236}">
                  <a16:creationId xmlns:a16="http://schemas.microsoft.com/office/drawing/2014/main" id="{C63DE22E-C0E0-17F9-B4B5-B09567495AC3}"/>
                </a:ext>
              </a:extLst>
            </p:cNvPr>
            <p:cNvSpPr/>
            <p:nvPr/>
          </p:nvSpPr>
          <p:spPr>
            <a:xfrm>
              <a:off x="7432512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6" name="Полилиния 131">
              <a:extLst>
                <a:ext uri="{FF2B5EF4-FFF2-40B4-BE49-F238E27FC236}">
                  <a16:creationId xmlns:a16="http://schemas.microsoft.com/office/drawing/2014/main" id="{E8E11BB2-D51B-1876-980A-B3F32E909AFC}"/>
                </a:ext>
              </a:extLst>
            </p:cNvPr>
            <p:cNvSpPr/>
            <p:nvPr/>
          </p:nvSpPr>
          <p:spPr>
            <a:xfrm>
              <a:off x="747715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7" name="Полилиния 132">
              <a:extLst>
                <a:ext uri="{FF2B5EF4-FFF2-40B4-BE49-F238E27FC236}">
                  <a16:creationId xmlns:a16="http://schemas.microsoft.com/office/drawing/2014/main" id="{DFEA9155-DC62-EF85-FC30-830A6420EF17}"/>
                </a:ext>
              </a:extLst>
            </p:cNvPr>
            <p:cNvSpPr/>
            <p:nvPr/>
          </p:nvSpPr>
          <p:spPr>
            <a:xfrm>
              <a:off x="7521885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8" name="Полилиния 133">
              <a:extLst>
                <a:ext uri="{FF2B5EF4-FFF2-40B4-BE49-F238E27FC236}">
                  <a16:creationId xmlns:a16="http://schemas.microsoft.com/office/drawing/2014/main" id="{5A4E57B8-3822-CC75-F543-839404E9D949}"/>
                </a:ext>
              </a:extLst>
            </p:cNvPr>
            <p:cNvSpPr/>
            <p:nvPr/>
          </p:nvSpPr>
          <p:spPr>
            <a:xfrm>
              <a:off x="756652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9" name="Полилиния 134">
              <a:extLst>
                <a:ext uri="{FF2B5EF4-FFF2-40B4-BE49-F238E27FC236}">
                  <a16:creationId xmlns:a16="http://schemas.microsoft.com/office/drawing/2014/main" id="{3DCF3D31-C10E-A668-4605-E912573E024C}"/>
                </a:ext>
              </a:extLst>
            </p:cNvPr>
            <p:cNvSpPr/>
            <p:nvPr/>
          </p:nvSpPr>
          <p:spPr>
            <a:xfrm>
              <a:off x="7611164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0" name="Полилиния 135">
              <a:extLst>
                <a:ext uri="{FF2B5EF4-FFF2-40B4-BE49-F238E27FC236}">
                  <a16:creationId xmlns:a16="http://schemas.microsoft.com/office/drawing/2014/main" id="{E7289349-98F5-5E98-7396-42BEEA8BA62C}"/>
                </a:ext>
              </a:extLst>
            </p:cNvPr>
            <p:cNvSpPr/>
            <p:nvPr/>
          </p:nvSpPr>
          <p:spPr>
            <a:xfrm>
              <a:off x="7655803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1" name="Полилиния 136">
              <a:extLst>
                <a:ext uri="{FF2B5EF4-FFF2-40B4-BE49-F238E27FC236}">
                  <a16:creationId xmlns:a16="http://schemas.microsoft.com/office/drawing/2014/main" id="{B01149E0-D873-936F-9338-B34711E1E642}"/>
                </a:ext>
              </a:extLst>
            </p:cNvPr>
            <p:cNvSpPr/>
            <p:nvPr/>
          </p:nvSpPr>
          <p:spPr>
            <a:xfrm>
              <a:off x="7745081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2" name="Полилиния 137">
              <a:extLst>
                <a:ext uri="{FF2B5EF4-FFF2-40B4-BE49-F238E27FC236}">
                  <a16:creationId xmlns:a16="http://schemas.microsoft.com/office/drawing/2014/main" id="{490D72F3-8DB1-652F-9207-9CC95585A332}"/>
                </a:ext>
              </a:extLst>
            </p:cNvPr>
            <p:cNvSpPr/>
            <p:nvPr/>
          </p:nvSpPr>
          <p:spPr>
            <a:xfrm>
              <a:off x="7878999" y="3084712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3" name="Полилиния 138">
              <a:extLst>
                <a:ext uri="{FF2B5EF4-FFF2-40B4-BE49-F238E27FC236}">
                  <a16:creationId xmlns:a16="http://schemas.microsoft.com/office/drawing/2014/main" id="{4F978674-1A4C-E6B8-9AEC-7F4FA968BC20}"/>
                </a:ext>
              </a:extLst>
            </p:cNvPr>
            <p:cNvSpPr/>
            <p:nvPr/>
          </p:nvSpPr>
          <p:spPr>
            <a:xfrm>
              <a:off x="671818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4" name="Полилиния 139">
              <a:extLst>
                <a:ext uri="{FF2B5EF4-FFF2-40B4-BE49-F238E27FC236}">
                  <a16:creationId xmlns:a16="http://schemas.microsoft.com/office/drawing/2014/main" id="{6B9AB5E5-7CF6-8CDF-DDAE-A94E0694D888}"/>
                </a:ext>
              </a:extLst>
            </p:cNvPr>
            <p:cNvSpPr/>
            <p:nvPr/>
          </p:nvSpPr>
          <p:spPr>
            <a:xfrm>
              <a:off x="676282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5" name="Полилиния 140">
              <a:extLst>
                <a:ext uri="{FF2B5EF4-FFF2-40B4-BE49-F238E27FC236}">
                  <a16:creationId xmlns:a16="http://schemas.microsoft.com/office/drawing/2014/main" id="{C1714634-A503-75FD-BB1D-60D1AAEED658}"/>
                </a:ext>
              </a:extLst>
            </p:cNvPr>
            <p:cNvSpPr/>
            <p:nvPr/>
          </p:nvSpPr>
          <p:spPr>
            <a:xfrm>
              <a:off x="685210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6" name="Полилиния 141">
              <a:extLst>
                <a:ext uri="{FF2B5EF4-FFF2-40B4-BE49-F238E27FC236}">
                  <a16:creationId xmlns:a16="http://schemas.microsoft.com/office/drawing/2014/main" id="{E0703966-80FC-D41E-61C3-721F99DA8045}"/>
                </a:ext>
              </a:extLst>
            </p:cNvPr>
            <p:cNvSpPr/>
            <p:nvPr/>
          </p:nvSpPr>
          <p:spPr>
            <a:xfrm>
              <a:off x="694148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7" name="Полилиния 142">
              <a:extLst>
                <a:ext uri="{FF2B5EF4-FFF2-40B4-BE49-F238E27FC236}">
                  <a16:creationId xmlns:a16="http://schemas.microsoft.com/office/drawing/2014/main" id="{57C6EEB4-D827-C6F7-261C-49F251A4F3D8}"/>
                </a:ext>
              </a:extLst>
            </p:cNvPr>
            <p:cNvSpPr/>
            <p:nvPr/>
          </p:nvSpPr>
          <p:spPr>
            <a:xfrm>
              <a:off x="703075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8" name="Полилиния 143">
              <a:extLst>
                <a:ext uri="{FF2B5EF4-FFF2-40B4-BE49-F238E27FC236}">
                  <a16:creationId xmlns:a16="http://schemas.microsoft.com/office/drawing/2014/main" id="{E772877C-DEDF-EEFF-6B23-A25A2B491F8E}"/>
                </a:ext>
              </a:extLst>
            </p:cNvPr>
            <p:cNvSpPr/>
            <p:nvPr/>
          </p:nvSpPr>
          <p:spPr>
            <a:xfrm>
              <a:off x="7075398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9" name="Полилиния 144">
              <a:extLst>
                <a:ext uri="{FF2B5EF4-FFF2-40B4-BE49-F238E27FC236}">
                  <a16:creationId xmlns:a16="http://schemas.microsoft.com/office/drawing/2014/main" id="{55BD0D1F-84C5-F4ED-C4C5-8400ECDE7823}"/>
                </a:ext>
              </a:extLst>
            </p:cNvPr>
            <p:cNvSpPr/>
            <p:nvPr/>
          </p:nvSpPr>
          <p:spPr>
            <a:xfrm>
              <a:off x="7120037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0" name="Полилиния 145">
              <a:extLst>
                <a:ext uri="{FF2B5EF4-FFF2-40B4-BE49-F238E27FC236}">
                  <a16:creationId xmlns:a16="http://schemas.microsoft.com/office/drawing/2014/main" id="{D5169C5C-249A-F37E-D5E0-AF80E080B2DC}"/>
                </a:ext>
              </a:extLst>
            </p:cNvPr>
            <p:cNvSpPr/>
            <p:nvPr/>
          </p:nvSpPr>
          <p:spPr>
            <a:xfrm>
              <a:off x="7164676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1" name="Полилиния 146">
              <a:extLst>
                <a:ext uri="{FF2B5EF4-FFF2-40B4-BE49-F238E27FC236}">
                  <a16:creationId xmlns:a16="http://schemas.microsoft.com/office/drawing/2014/main" id="{5FB26F84-234E-544E-7C02-7AD6FA668E3E}"/>
                </a:ext>
              </a:extLst>
            </p:cNvPr>
            <p:cNvSpPr/>
            <p:nvPr/>
          </p:nvSpPr>
          <p:spPr>
            <a:xfrm>
              <a:off x="7209315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2" name="Полилиния 147">
              <a:extLst>
                <a:ext uri="{FF2B5EF4-FFF2-40B4-BE49-F238E27FC236}">
                  <a16:creationId xmlns:a16="http://schemas.microsoft.com/office/drawing/2014/main" id="{E5D45EAD-79C2-E734-A16A-D609276FA327}"/>
                </a:ext>
              </a:extLst>
            </p:cNvPr>
            <p:cNvSpPr/>
            <p:nvPr/>
          </p:nvSpPr>
          <p:spPr>
            <a:xfrm>
              <a:off x="729859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3" name="Полилиния 148">
              <a:extLst>
                <a:ext uri="{FF2B5EF4-FFF2-40B4-BE49-F238E27FC236}">
                  <a16:creationId xmlns:a16="http://schemas.microsoft.com/office/drawing/2014/main" id="{7E9B047F-EC07-F8D5-285E-58FF54C4D581}"/>
                </a:ext>
              </a:extLst>
            </p:cNvPr>
            <p:cNvSpPr/>
            <p:nvPr/>
          </p:nvSpPr>
          <p:spPr>
            <a:xfrm>
              <a:off x="734323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4" name="Полилиния 149">
              <a:extLst>
                <a:ext uri="{FF2B5EF4-FFF2-40B4-BE49-F238E27FC236}">
                  <a16:creationId xmlns:a16="http://schemas.microsoft.com/office/drawing/2014/main" id="{DF44C4AF-AFDB-9A69-119B-0EF7AD97E04D}"/>
                </a:ext>
              </a:extLst>
            </p:cNvPr>
            <p:cNvSpPr/>
            <p:nvPr/>
          </p:nvSpPr>
          <p:spPr>
            <a:xfrm>
              <a:off x="738787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5" name="Полилиния 150">
              <a:extLst>
                <a:ext uri="{FF2B5EF4-FFF2-40B4-BE49-F238E27FC236}">
                  <a16:creationId xmlns:a16="http://schemas.microsoft.com/office/drawing/2014/main" id="{D3BBC748-61A4-58CE-40DD-57D5AD7BEB6A}"/>
                </a:ext>
              </a:extLst>
            </p:cNvPr>
            <p:cNvSpPr/>
            <p:nvPr/>
          </p:nvSpPr>
          <p:spPr>
            <a:xfrm>
              <a:off x="743251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" name="Полилиния 151">
              <a:extLst>
                <a:ext uri="{FF2B5EF4-FFF2-40B4-BE49-F238E27FC236}">
                  <a16:creationId xmlns:a16="http://schemas.microsoft.com/office/drawing/2014/main" id="{88F43170-29CC-6702-0742-E49CBC853007}"/>
                </a:ext>
              </a:extLst>
            </p:cNvPr>
            <p:cNvSpPr/>
            <p:nvPr/>
          </p:nvSpPr>
          <p:spPr>
            <a:xfrm>
              <a:off x="747715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" name="Полилиния 152">
              <a:extLst>
                <a:ext uri="{FF2B5EF4-FFF2-40B4-BE49-F238E27FC236}">
                  <a16:creationId xmlns:a16="http://schemas.microsoft.com/office/drawing/2014/main" id="{1FFABDFA-6882-FAA8-0165-9BE04F69C48D}"/>
                </a:ext>
              </a:extLst>
            </p:cNvPr>
            <p:cNvSpPr/>
            <p:nvPr/>
          </p:nvSpPr>
          <p:spPr>
            <a:xfrm>
              <a:off x="7611164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" name="Полилиния 153">
              <a:extLst>
                <a:ext uri="{FF2B5EF4-FFF2-40B4-BE49-F238E27FC236}">
                  <a16:creationId xmlns:a16="http://schemas.microsoft.com/office/drawing/2014/main" id="{F366B7AC-F5E4-9870-49EB-2CC389D34E71}"/>
                </a:ext>
              </a:extLst>
            </p:cNvPr>
            <p:cNvSpPr/>
            <p:nvPr/>
          </p:nvSpPr>
          <p:spPr>
            <a:xfrm>
              <a:off x="7655803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" name="Полилиния 154">
              <a:extLst>
                <a:ext uri="{FF2B5EF4-FFF2-40B4-BE49-F238E27FC236}">
                  <a16:creationId xmlns:a16="http://schemas.microsoft.com/office/drawing/2014/main" id="{DE40912C-E7F9-C062-F4DC-3BD4FB606E71}"/>
                </a:ext>
              </a:extLst>
            </p:cNvPr>
            <p:cNvSpPr/>
            <p:nvPr/>
          </p:nvSpPr>
          <p:spPr>
            <a:xfrm>
              <a:off x="7700442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" name="Полилиния 155">
              <a:extLst>
                <a:ext uri="{FF2B5EF4-FFF2-40B4-BE49-F238E27FC236}">
                  <a16:creationId xmlns:a16="http://schemas.microsoft.com/office/drawing/2014/main" id="{4971E4FA-8A02-DF94-EEB3-B91724AD44FB}"/>
                </a:ext>
              </a:extLst>
            </p:cNvPr>
            <p:cNvSpPr/>
            <p:nvPr/>
          </p:nvSpPr>
          <p:spPr>
            <a:xfrm>
              <a:off x="774508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" name="Полилиния 156">
              <a:extLst>
                <a:ext uri="{FF2B5EF4-FFF2-40B4-BE49-F238E27FC236}">
                  <a16:creationId xmlns:a16="http://schemas.microsoft.com/office/drawing/2014/main" id="{9ADC8EE8-7815-F6FF-F0D0-830E3A3399CA}"/>
                </a:ext>
              </a:extLst>
            </p:cNvPr>
            <p:cNvSpPr/>
            <p:nvPr/>
          </p:nvSpPr>
          <p:spPr>
            <a:xfrm>
              <a:off x="7789721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" name="Полилиния 157">
              <a:extLst>
                <a:ext uri="{FF2B5EF4-FFF2-40B4-BE49-F238E27FC236}">
                  <a16:creationId xmlns:a16="http://schemas.microsoft.com/office/drawing/2014/main" id="{72157A51-F600-BD81-12A3-6CCDB561A133}"/>
                </a:ext>
              </a:extLst>
            </p:cNvPr>
            <p:cNvSpPr/>
            <p:nvPr/>
          </p:nvSpPr>
          <p:spPr>
            <a:xfrm>
              <a:off x="7834360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" name="Полилиния 158">
              <a:extLst>
                <a:ext uri="{FF2B5EF4-FFF2-40B4-BE49-F238E27FC236}">
                  <a16:creationId xmlns:a16="http://schemas.microsoft.com/office/drawing/2014/main" id="{EA18AA31-6379-A5E5-787D-7D3DFADC8029}"/>
                </a:ext>
              </a:extLst>
            </p:cNvPr>
            <p:cNvSpPr/>
            <p:nvPr/>
          </p:nvSpPr>
          <p:spPr>
            <a:xfrm>
              <a:off x="7878999" y="312927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" name="Полилиния 159">
              <a:extLst>
                <a:ext uri="{FF2B5EF4-FFF2-40B4-BE49-F238E27FC236}">
                  <a16:creationId xmlns:a16="http://schemas.microsoft.com/office/drawing/2014/main" id="{6997DE44-D098-73DC-4C7A-BE45A336CE9A}"/>
                </a:ext>
              </a:extLst>
            </p:cNvPr>
            <p:cNvSpPr/>
            <p:nvPr/>
          </p:nvSpPr>
          <p:spPr>
            <a:xfrm>
              <a:off x="649499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" name="Полилиния 160">
              <a:extLst>
                <a:ext uri="{FF2B5EF4-FFF2-40B4-BE49-F238E27FC236}">
                  <a16:creationId xmlns:a16="http://schemas.microsoft.com/office/drawing/2014/main" id="{685DDEA7-CC98-FEB4-4BBD-DE40E4267A25}"/>
                </a:ext>
              </a:extLst>
            </p:cNvPr>
            <p:cNvSpPr/>
            <p:nvPr/>
          </p:nvSpPr>
          <p:spPr>
            <a:xfrm>
              <a:off x="653963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" name="Полилиния 161">
              <a:extLst>
                <a:ext uri="{FF2B5EF4-FFF2-40B4-BE49-F238E27FC236}">
                  <a16:creationId xmlns:a16="http://schemas.microsoft.com/office/drawing/2014/main" id="{F02AF818-657F-7773-7213-1FC31D95693E}"/>
                </a:ext>
              </a:extLst>
            </p:cNvPr>
            <p:cNvSpPr/>
            <p:nvPr/>
          </p:nvSpPr>
          <p:spPr>
            <a:xfrm>
              <a:off x="6628910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" name="Полилиния 162">
              <a:extLst>
                <a:ext uri="{FF2B5EF4-FFF2-40B4-BE49-F238E27FC236}">
                  <a16:creationId xmlns:a16="http://schemas.microsoft.com/office/drawing/2014/main" id="{146984D5-FBD6-0F04-7276-0A8CC2CE0F8E}"/>
                </a:ext>
              </a:extLst>
            </p:cNvPr>
            <p:cNvSpPr/>
            <p:nvPr/>
          </p:nvSpPr>
          <p:spPr>
            <a:xfrm>
              <a:off x="667354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" name="Полилиния 163">
              <a:extLst>
                <a:ext uri="{FF2B5EF4-FFF2-40B4-BE49-F238E27FC236}">
                  <a16:creationId xmlns:a16="http://schemas.microsoft.com/office/drawing/2014/main" id="{052B67C5-C658-AC4A-6FB9-4BD968935A2F}"/>
                </a:ext>
              </a:extLst>
            </p:cNvPr>
            <p:cNvSpPr/>
            <p:nvPr/>
          </p:nvSpPr>
          <p:spPr>
            <a:xfrm>
              <a:off x="685210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" name="Полилиния 164">
              <a:extLst>
                <a:ext uri="{FF2B5EF4-FFF2-40B4-BE49-F238E27FC236}">
                  <a16:creationId xmlns:a16="http://schemas.microsoft.com/office/drawing/2014/main" id="{48FC6ABF-FE8F-461F-3CDF-819D7CE078C1}"/>
                </a:ext>
              </a:extLst>
            </p:cNvPr>
            <p:cNvSpPr/>
            <p:nvPr/>
          </p:nvSpPr>
          <p:spPr>
            <a:xfrm>
              <a:off x="6986119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" name="Полилиния 165">
              <a:extLst>
                <a:ext uri="{FF2B5EF4-FFF2-40B4-BE49-F238E27FC236}">
                  <a16:creationId xmlns:a16="http://schemas.microsoft.com/office/drawing/2014/main" id="{AB91F32C-7C26-166B-4977-367A7051EF3F}"/>
                </a:ext>
              </a:extLst>
            </p:cNvPr>
            <p:cNvSpPr/>
            <p:nvPr/>
          </p:nvSpPr>
          <p:spPr>
            <a:xfrm>
              <a:off x="7030758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" name="Полилиния 166">
              <a:extLst>
                <a:ext uri="{FF2B5EF4-FFF2-40B4-BE49-F238E27FC236}">
                  <a16:creationId xmlns:a16="http://schemas.microsoft.com/office/drawing/2014/main" id="{06552B5F-CF3D-72FA-CC9B-EC2E7D26FBA1}"/>
                </a:ext>
              </a:extLst>
            </p:cNvPr>
            <p:cNvSpPr/>
            <p:nvPr/>
          </p:nvSpPr>
          <p:spPr>
            <a:xfrm>
              <a:off x="7164676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" name="Полилиния 167">
              <a:extLst>
                <a:ext uri="{FF2B5EF4-FFF2-40B4-BE49-F238E27FC236}">
                  <a16:creationId xmlns:a16="http://schemas.microsoft.com/office/drawing/2014/main" id="{6DBB8B6D-AD40-45B8-FF49-CF74B02E8B8A}"/>
                </a:ext>
              </a:extLst>
            </p:cNvPr>
            <p:cNvSpPr/>
            <p:nvPr/>
          </p:nvSpPr>
          <p:spPr>
            <a:xfrm>
              <a:off x="720931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" name="Полилиния 168">
              <a:extLst>
                <a:ext uri="{FF2B5EF4-FFF2-40B4-BE49-F238E27FC236}">
                  <a16:creationId xmlns:a16="http://schemas.microsoft.com/office/drawing/2014/main" id="{1F7A35C0-9F74-7F99-BC75-7E60C633B143}"/>
                </a:ext>
              </a:extLst>
            </p:cNvPr>
            <p:cNvSpPr/>
            <p:nvPr/>
          </p:nvSpPr>
          <p:spPr>
            <a:xfrm>
              <a:off x="7253955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4" name="Полилиния 169">
              <a:extLst>
                <a:ext uri="{FF2B5EF4-FFF2-40B4-BE49-F238E27FC236}">
                  <a16:creationId xmlns:a16="http://schemas.microsoft.com/office/drawing/2014/main" id="{1068210E-CF01-3EC0-9200-9386B9281941}"/>
                </a:ext>
              </a:extLst>
            </p:cNvPr>
            <p:cNvSpPr/>
            <p:nvPr/>
          </p:nvSpPr>
          <p:spPr>
            <a:xfrm>
              <a:off x="729859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5" name="Полилиния 170">
              <a:extLst>
                <a:ext uri="{FF2B5EF4-FFF2-40B4-BE49-F238E27FC236}">
                  <a16:creationId xmlns:a16="http://schemas.microsoft.com/office/drawing/2014/main" id="{282BDADC-5440-E55E-7A77-A815D8D9A0EF}"/>
                </a:ext>
              </a:extLst>
            </p:cNvPr>
            <p:cNvSpPr/>
            <p:nvPr/>
          </p:nvSpPr>
          <p:spPr>
            <a:xfrm>
              <a:off x="734323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6" name="Полилиния 171">
              <a:extLst>
                <a:ext uri="{FF2B5EF4-FFF2-40B4-BE49-F238E27FC236}">
                  <a16:creationId xmlns:a16="http://schemas.microsoft.com/office/drawing/2014/main" id="{59B2DC1A-35CE-95AE-E614-1A3218625D35}"/>
                </a:ext>
              </a:extLst>
            </p:cNvPr>
            <p:cNvSpPr/>
            <p:nvPr/>
          </p:nvSpPr>
          <p:spPr>
            <a:xfrm>
              <a:off x="7432512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7" name="Полилиния 172">
              <a:extLst>
                <a:ext uri="{FF2B5EF4-FFF2-40B4-BE49-F238E27FC236}">
                  <a16:creationId xmlns:a16="http://schemas.microsoft.com/office/drawing/2014/main" id="{D30F1E0F-EEF1-8D5B-9D40-751E51ED401E}"/>
                </a:ext>
              </a:extLst>
            </p:cNvPr>
            <p:cNvSpPr/>
            <p:nvPr/>
          </p:nvSpPr>
          <p:spPr>
            <a:xfrm>
              <a:off x="7566524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8" name="Полилиния 173">
              <a:extLst>
                <a:ext uri="{FF2B5EF4-FFF2-40B4-BE49-F238E27FC236}">
                  <a16:creationId xmlns:a16="http://schemas.microsoft.com/office/drawing/2014/main" id="{76DE341D-5D93-D73D-1911-A59C216EFA6D}"/>
                </a:ext>
              </a:extLst>
            </p:cNvPr>
            <p:cNvSpPr/>
            <p:nvPr/>
          </p:nvSpPr>
          <p:spPr>
            <a:xfrm>
              <a:off x="7655803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9" name="Полилиния 174">
              <a:extLst>
                <a:ext uri="{FF2B5EF4-FFF2-40B4-BE49-F238E27FC236}">
                  <a16:creationId xmlns:a16="http://schemas.microsoft.com/office/drawing/2014/main" id="{0802AD9E-09D9-D34B-5EB0-BF4E6E0C9DD6}"/>
                </a:ext>
              </a:extLst>
            </p:cNvPr>
            <p:cNvSpPr/>
            <p:nvPr/>
          </p:nvSpPr>
          <p:spPr>
            <a:xfrm>
              <a:off x="7745081" y="317374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0" name="Полилиния 175">
              <a:extLst>
                <a:ext uri="{FF2B5EF4-FFF2-40B4-BE49-F238E27FC236}">
                  <a16:creationId xmlns:a16="http://schemas.microsoft.com/office/drawing/2014/main" id="{613E48F1-7B2B-A476-6EA1-AF853634C9C6}"/>
                </a:ext>
              </a:extLst>
            </p:cNvPr>
            <p:cNvSpPr/>
            <p:nvPr/>
          </p:nvSpPr>
          <p:spPr>
            <a:xfrm>
              <a:off x="649499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1" name="Полилиния 176">
              <a:extLst>
                <a:ext uri="{FF2B5EF4-FFF2-40B4-BE49-F238E27FC236}">
                  <a16:creationId xmlns:a16="http://schemas.microsoft.com/office/drawing/2014/main" id="{4007B8B8-18C0-F6C8-A5EB-72B43963A494}"/>
                </a:ext>
              </a:extLst>
            </p:cNvPr>
            <p:cNvSpPr/>
            <p:nvPr/>
          </p:nvSpPr>
          <p:spPr>
            <a:xfrm>
              <a:off x="658427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2" name="Полилиния 177">
              <a:extLst>
                <a:ext uri="{FF2B5EF4-FFF2-40B4-BE49-F238E27FC236}">
                  <a16:creationId xmlns:a16="http://schemas.microsoft.com/office/drawing/2014/main" id="{0A068150-E918-FC7E-457D-F9DE6BEBFE22}"/>
                </a:ext>
              </a:extLst>
            </p:cNvPr>
            <p:cNvSpPr/>
            <p:nvPr/>
          </p:nvSpPr>
          <p:spPr>
            <a:xfrm>
              <a:off x="662891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3" name="Полилиния 178">
              <a:extLst>
                <a:ext uri="{FF2B5EF4-FFF2-40B4-BE49-F238E27FC236}">
                  <a16:creationId xmlns:a16="http://schemas.microsoft.com/office/drawing/2014/main" id="{1F4FBBD0-3D05-728B-0AEF-605D2AC9EFD5}"/>
                </a:ext>
              </a:extLst>
            </p:cNvPr>
            <p:cNvSpPr/>
            <p:nvPr/>
          </p:nvSpPr>
          <p:spPr>
            <a:xfrm>
              <a:off x="667354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4" name="Полилиния 179">
              <a:extLst>
                <a:ext uri="{FF2B5EF4-FFF2-40B4-BE49-F238E27FC236}">
                  <a16:creationId xmlns:a16="http://schemas.microsoft.com/office/drawing/2014/main" id="{48EB9270-14A4-48F4-4FCE-E8CF9F9BD5F9}"/>
                </a:ext>
              </a:extLst>
            </p:cNvPr>
            <p:cNvSpPr/>
            <p:nvPr/>
          </p:nvSpPr>
          <p:spPr>
            <a:xfrm>
              <a:off x="671818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5" name="Полилиния 180">
              <a:extLst>
                <a:ext uri="{FF2B5EF4-FFF2-40B4-BE49-F238E27FC236}">
                  <a16:creationId xmlns:a16="http://schemas.microsoft.com/office/drawing/2014/main" id="{B3563CDF-805F-E19F-407A-E7CC08FA7DA6}"/>
                </a:ext>
              </a:extLst>
            </p:cNvPr>
            <p:cNvSpPr/>
            <p:nvPr/>
          </p:nvSpPr>
          <p:spPr>
            <a:xfrm>
              <a:off x="676282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6" name="Полилиния 181">
              <a:extLst>
                <a:ext uri="{FF2B5EF4-FFF2-40B4-BE49-F238E27FC236}">
                  <a16:creationId xmlns:a16="http://schemas.microsoft.com/office/drawing/2014/main" id="{4EFE59C6-0090-768A-6FFC-68B4AAA2B7DF}"/>
                </a:ext>
              </a:extLst>
            </p:cNvPr>
            <p:cNvSpPr/>
            <p:nvPr/>
          </p:nvSpPr>
          <p:spPr>
            <a:xfrm>
              <a:off x="6941480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7" name="Полилиния 182">
              <a:extLst>
                <a:ext uri="{FF2B5EF4-FFF2-40B4-BE49-F238E27FC236}">
                  <a16:creationId xmlns:a16="http://schemas.microsoft.com/office/drawing/2014/main" id="{A4707AB3-A186-4794-AB23-D9B9B361551F}"/>
                </a:ext>
              </a:extLst>
            </p:cNvPr>
            <p:cNvSpPr/>
            <p:nvPr/>
          </p:nvSpPr>
          <p:spPr>
            <a:xfrm>
              <a:off x="698611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8" name="Полилиния 183">
              <a:extLst>
                <a:ext uri="{FF2B5EF4-FFF2-40B4-BE49-F238E27FC236}">
                  <a16:creationId xmlns:a16="http://schemas.microsoft.com/office/drawing/2014/main" id="{650C842E-E5F4-374E-5848-1A99E6122E98}"/>
                </a:ext>
              </a:extLst>
            </p:cNvPr>
            <p:cNvSpPr/>
            <p:nvPr/>
          </p:nvSpPr>
          <p:spPr>
            <a:xfrm>
              <a:off x="7030758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9" name="Полилиния 184">
              <a:extLst>
                <a:ext uri="{FF2B5EF4-FFF2-40B4-BE49-F238E27FC236}">
                  <a16:creationId xmlns:a16="http://schemas.microsoft.com/office/drawing/2014/main" id="{3F306BF0-BB64-24E7-CA53-3E78DE03EEAC}"/>
                </a:ext>
              </a:extLst>
            </p:cNvPr>
            <p:cNvSpPr/>
            <p:nvPr/>
          </p:nvSpPr>
          <p:spPr>
            <a:xfrm>
              <a:off x="7120037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0" name="Полилиния 185">
              <a:extLst>
                <a:ext uri="{FF2B5EF4-FFF2-40B4-BE49-F238E27FC236}">
                  <a16:creationId xmlns:a16="http://schemas.microsoft.com/office/drawing/2014/main" id="{D7673074-8B37-3B22-32A3-4ECE839415A5}"/>
                </a:ext>
              </a:extLst>
            </p:cNvPr>
            <p:cNvSpPr/>
            <p:nvPr/>
          </p:nvSpPr>
          <p:spPr>
            <a:xfrm>
              <a:off x="7209315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1" name="Полилиния 186">
              <a:extLst>
                <a:ext uri="{FF2B5EF4-FFF2-40B4-BE49-F238E27FC236}">
                  <a16:creationId xmlns:a16="http://schemas.microsoft.com/office/drawing/2014/main" id="{66A227F8-6A02-BD59-A757-539FFECAD917}"/>
                </a:ext>
              </a:extLst>
            </p:cNvPr>
            <p:cNvSpPr/>
            <p:nvPr/>
          </p:nvSpPr>
          <p:spPr>
            <a:xfrm>
              <a:off x="738787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2" name="Полилиния 187">
              <a:extLst>
                <a:ext uri="{FF2B5EF4-FFF2-40B4-BE49-F238E27FC236}">
                  <a16:creationId xmlns:a16="http://schemas.microsoft.com/office/drawing/2014/main" id="{7F369155-3B10-9677-5E85-B8D850FF55DB}"/>
                </a:ext>
              </a:extLst>
            </p:cNvPr>
            <p:cNvSpPr/>
            <p:nvPr/>
          </p:nvSpPr>
          <p:spPr>
            <a:xfrm>
              <a:off x="743251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3" name="Полилиния 188">
              <a:extLst>
                <a:ext uri="{FF2B5EF4-FFF2-40B4-BE49-F238E27FC236}">
                  <a16:creationId xmlns:a16="http://schemas.microsoft.com/office/drawing/2014/main" id="{FDFC0DF5-6DC7-69BA-F776-0E35CC221388}"/>
                </a:ext>
              </a:extLst>
            </p:cNvPr>
            <p:cNvSpPr/>
            <p:nvPr/>
          </p:nvSpPr>
          <p:spPr>
            <a:xfrm>
              <a:off x="747715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4" name="Полилиния 189">
              <a:extLst>
                <a:ext uri="{FF2B5EF4-FFF2-40B4-BE49-F238E27FC236}">
                  <a16:creationId xmlns:a16="http://schemas.microsoft.com/office/drawing/2014/main" id="{63E4B9C0-BC3B-78C9-CEDE-AE8D5C67B74C}"/>
                </a:ext>
              </a:extLst>
            </p:cNvPr>
            <p:cNvSpPr/>
            <p:nvPr/>
          </p:nvSpPr>
          <p:spPr>
            <a:xfrm>
              <a:off x="756652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5" name="Полилиния 190">
              <a:extLst>
                <a:ext uri="{FF2B5EF4-FFF2-40B4-BE49-F238E27FC236}">
                  <a16:creationId xmlns:a16="http://schemas.microsoft.com/office/drawing/2014/main" id="{F35066B6-CAB3-6AC3-0AE0-F7CAAD7FD3F4}"/>
                </a:ext>
              </a:extLst>
            </p:cNvPr>
            <p:cNvSpPr/>
            <p:nvPr/>
          </p:nvSpPr>
          <p:spPr>
            <a:xfrm>
              <a:off x="7611164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6" name="Полилиния 191">
              <a:extLst>
                <a:ext uri="{FF2B5EF4-FFF2-40B4-BE49-F238E27FC236}">
                  <a16:creationId xmlns:a16="http://schemas.microsoft.com/office/drawing/2014/main" id="{76447D06-B833-D850-1398-D5AEFE4E6818}"/>
                </a:ext>
              </a:extLst>
            </p:cNvPr>
            <p:cNvSpPr/>
            <p:nvPr/>
          </p:nvSpPr>
          <p:spPr>
            <a:xfrm>
              <a:off x="7655803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7" name="Полилиния 192">
              <a:extLst>
                <a:ext uri="{FF2B5EF4-FFF2-40B4-BE49-F238E27FC236}">
                  <a16:creationId xmlns:a16="http://schemas.microsoft.com/office/drawing/2014/main" id="{8BE730F3-CA07-90FA-59AD-323BC3E23E37}"/>
                </a:ext>
              </a:extLst>
            </p:cNvPr>
            <p:cNvSpPr/>
            <p:nvPr/>
          </p:nvSpPr>
          <p:spPr>
            <a:xfrm>
              <a:off x="7700442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8" name="Полилиния 193">
              <a:extLst>
                <a:ext uri="{FF2B5EF4-FFF2-40B4-BE49-F238E27FC236}">
                  <a16:creationId xmlns:a16="http://schemas.microsoft.com/office/drawing/2014/main" id="{D4DECFD0-B152-A56C-CBC6-20BB37353C5E}"/>
                </a:ext>
              </a:extLst>
            </p:cNvPr>
            <p:cNvSpPr/>
            <p:nvPr/>
          </p:nvSpPr>
          <p:spPr>
            <a:xfrm>
              <a:off x="7745081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9" name="Полилиния 194">
              <a:extLst>
                <a:ext uri="{FF2B5EF4-FFF2-40B4-BE49-F238E27FC236}">
                  <a16:creationId xmlns:a16="http://schemas.microsoft.com/office/drawing/2014/main" id="{74923A04-B121-DF87-F9A2-C2F6B8B278B9}"/>
                </a:ext>
              </a:extLst>
            </p:cNvPr>
            <p:cNvSpPr/>
            <p:nvPr/>
          </p:nvSpPr>
          <p:spPr>
            <a:xfrm>
              <a:off x="7878999" y="321821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70" name="Полилиния 195">
              <a:extLst>
                <a:ext uri="{FF2B5EF4-FFF2-40B4-BE49-F238E27FC236}">
                  <a16:creationId xmlns:a16="http://schemas.microsoft.com/office/drawing/2014/main" id="{C9F4F5E0-DD37-FAEA-4474-51ADC1E9A4FF}"/>
                </a:ext>
              </a:extLst>
            </p:cNvPr>
            <p:cNvSpPr/>
            <p:nvPr/>
          </p:nvSpPr>
          <p:spPr>
            <a:xfrm>
              <a:off x="645035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71" name="Полилиния 196">
              <a:extLst>
                <a:ext uri="{FF2B5EF4-FFF2-40B4-BE49-F238E27FC236}">
                  <a16:creationId xmlns:a16="http://schemas.microsoft.com/office/drawing/2014/main" id="{C14B7D7D-D37B-4600-FCEE-20144BF85638}"/>
                </a:ext>
              </a:extLst>
            </p:cNvPr>
            <p:cNvSpPr/>
            <p:nvPr/>
          </p:nvSpPr>
          <p:spPr>
            <a:xfrm>
              <a:off x="6941480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72" name="Полилиния 197">
              <a:extLst>
                <a:ext uri="{FF2B5EF4-FFF2-40B4-BE49-F238E27FC236}">
                  <a16:creationId xmlns:a16="http://schemas.microsoft.com/office/drawing/2014/main" id="{80FC0B79-9155-BC10-1116-0C4FCEA116BE}"/>
                </a:ext>
              </a:extLst>
            </p:cNvPr>
            <p:cNvSpPr/>
            <p:nvPr/>
          </p:nvSpPr>
          <p:spPr>
            <a:xfrm>
              <a:off x="698611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73" name="Полилиния 198">
              <a:extLst>
                <a:ext uri="{FF2B5EF4-FFF2-40B4-BE49-F238E27FC236}">
                  <a16:creationId xmlns:a16="http://schemas.microsoft.com/office/drawing/2014/main" id="{2DC2E16C-AA32-6248-D4B5-5DF3A18AFA0C}"/>
                </a:ext>
              </a:extLst>
            </p:cNvPr>
            <p:cNvSpPr/>
            <p:nvPr/>
          </p:nvSpPr>
          <p:spPr>
            <a:xfrm>
              <a:off x="703075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74" name="Полилиния 199">
              <a:extLst>
                <a:ext uri="{FF2B5EF4-FFF2-40B4-BE49-F238E27FC236}">
                  <a16:creationId xmlns:a16="http://schemas.microsoft.com/office/drawing/2014/main" id="{5A0A6761-23E4-38F1-09EF-0E58DCBA47D9}"/>
                </a:ext>
              </a:extLst>
            </p:cNvPr>
            <p:cNvSpPr/>
            <p:nvPr/>
          </p:nvSpPr>
          <p:spPr>
            <a:xfrm>
              <a:off x="7075398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75" name="Полилиния 200">
              <a:extLst>
                <a:ext uri="{FF2B5EF4-FFF2-40B4-BE49-F238E27FC236}">
                  <a16:creationId xmlns:a16="http://schemas.microsoft.com/office/drawing/2014/main" id="{81C6FEA3-690A-12E8-6A7C-594E4EE140FA}"/>
                </a:ext>
              </a:extLst>
            </p:cNvPr>
            <p:cNvSpPr/>
            <p:nvPr/>
          </p:nvSpPr>
          <p:spPr>
            <a:xfrm>
              <a:off x="7164676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76" name="Полилиния 201">
              <a:extLst>
                <a:ext uri="{FF2B5EF4-FFF2-40B4-BE49-F238E27FC236}">
                  <a16:creationId xmlns:a16="http://schemas.microsoft.com/office/drawing/2014/main" id="{1477B351-003D-E198-F45A-F4E9E7C42678}"/>
                </a:ext>
              </a:extLst>
            </p:cNvPr>
            <p:cNvSpPr/>
            <p:nvPr/>
          </p:nvSpPr>
          <p:spPr>
            <a:xfrm>
              <a:off x="720931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77" name="Полилиния 202">
              <a:extLst>
                <a:ext uri="{FF2B5EF4-FFF2-40B4-BE49-F238E27FC236}">
                  <a16:creationId xmlns:a16="http://schemas.microsoft.com/office/drawing/2014/main" id="{537D2187-73F9-C299-F660-F949DA36B0D3}"/>
                </a:ext>
              </a:extLst>
            </p:cNvPr>
            <p:cNvSpPr/>
            <p:nvPr/>
          </p:nvSpPr>
          <p:spPr>
            <a:xfrm>
              <a:off x="725395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78" name="Полилиния 203">
              <a:extLst>
                <a:ext uri="{FF2B5EF4-FFF2-40B4-BE49-F238E27FC236}">
                  <a16:creationId xmlns:a16="http://schemas.microsoft.com/office/drawing/2014/main" id="{DDDB64EF-757C-0E06-99F3-48612E568182}"/>
                </a:ext>
              </a:extLst>
            </p:cNvPr>
            <p:cNvSpPr/>
            <p:nvPr/>
          </p:nvSpPr>
          <p:spPr>
            <a:xfrm>
              <a:off x="729859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79" name="Полилиния 204">
              <a:extLst>
                <a:ext uri="{FF2B5EF4-FFF2-40B4-BE49-F238E27FC236}">
                  <a16:creationId xmlns:a16="http://schemas.microsoft.com/office/drawing/2014/main" id="{DBA95DAF-205B-A6D4-1152-D7FEEF8ECB3E}"/>
                </a:ext>
              </a:extLst>
            </p:cNvPr>
            <p:cNvSpPr/>
            <p:nvPr/>
          </p:nvSpPr>
          <p:spPr>
            <a:xfrm>
              <a:off x="7343233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0" name="Полилиния 205">
              <a:extLst>
                <a:ext uri="{FF2B5EF4-FFF2-40B4-BE49-F238E27FC236}">
                  <a16:creationId xmlns:a16="http://schemas.microsoft.com/office/drawing/2014/main" id="{619F997A-9FBB-B26B-DB50-89B5550466C2}"/>
                </a:ext>
              </a:extLst>
            </p:cNvPr>
            <p:cNvSpPr/>
            <p:nvPr/>
          </p:nvSpPr>
          <p:spPr>
            <a:xfrm>
              <a:off x="738787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1" name="Полилиния 206">
              <a:extLst>
                <a:ext uri="{FF2B5EF4-FFF2-40B4-BE49-F238E27FC236}">
                  <a16:creationId xmlns:a16="http://schemas.microsoft.com/office/drawing/2014/main" id="{FAF56464-BE6F-75F1-05DD-90539E19920A}"/>
                </a:ext>
              </a:extLst>
            </p:cNvPr>
            <p:cNvSpPr/>
            <p:nvPr/>
          </p:nvSpPr>
          <p:spPr>
            <a:xfrm>
              <a:off x="7432512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2" name="Полилиния 207">
              <a:extLst>
                <a:ext uri="{FF2B5EF4-FFF2-40B4-BE49-F238E27FC236}">
                  <a16:creationId xmlns:a16="http://schemas.microsoft.com/office/drawing/2014/main" id="{66CE5F8E-1700-BED9-B358-1DFB96B41AEC}"/>
                </a:ext>
              </a:extLst>
            </p:cNvPr>
            <p:cNvSpPr/>
            <p:nvPr/>
          </p:nvSpPr>
          <p:spPr>
            <a:xfrm>
              <a:off x="747715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3" name="Полилиния 208">
              <a:extLst>
                <a:ext uri="{FF2B5EF4-FFF2-40B4-BE49-F238E27FC236}">
                  <a16:creationId xmlns:a16="http://schemas.microsoft.com/office/drawing/2014/main" id="{811AE853-A880-6280-E48A-BFC81CBEDBEF}"/>
                </a:ext>
              </a:extLst>
            </p:cNvPr>
            <p:cNvSpPr/>
            <p:nvPr/>
          </p:nvSpPr>
          <p:spPr>
            <a:xfrm>
              <a:off x="7521885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4" name="Полилиния 209">
              <a:extLst>
                <a:ext uri="{FF2B5EF4-FFF2-40B4-BE49-F238E27FC236}">
                  <a16:creationId xmlns:a16="http://schemas.microsoft.com/office/drawing/2014/main" id="{E7376525-DFB5-BE39-ED44-5465443021CB}"/>
                </a:ext>
              </a:extLst>
            </p:cNvPr>
            <p:cNvSpPr/>
            <p:nvPr/>
          </p:nvSpPr>
          <p:spPr>
            <a:xfrm>
              <a:off x="7611164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5" name="Полилиния 210">
              <a:extLst>
                <a:ext uri="{FF2B5EF4-FFF2-40B4-BE49-F238E27FC236}">
                  <a16:creationId xmlns:a16="http://schemas.microsoft.com/office/drawing/2014/main" id="{49040752-7454-BDF1-81B5-023223325916}"/>
                </a:ext>
              </a:extLst>
            </p:cNvPr>
            <p:cNvSpPr/>
            <p:nvPr/>
          </p:nvSpPr>
          <p:spPr>
            <a:xfrm>
              <a:off x="7745081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6" name="Полилиния 211">
              <a:extLst>
                <a:ext uri="{FF2B5EF4-FFF2-40B4-BE49-F238E27FC236}">
                  <a16:creationId xmlns:a16="http://schemas.microsoft.com/office/drawing/2014/main" id="{E44646D6-5077-281D-076C-7475AA99669F}"/>
                </a:ext>
              </a:extLst>
            </p:cNvPr>
            <p:cNvSpPr/>
            <p:nvPr/>
          </p:nvSpPr>
          <p:spPr>
            <a:xfrm>
              <a:off x="7878999" y="326268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7" name="Полилиния 212">
              <a:extLst>
                <a:ext uri="{FF2B5EF4-FFF2-40B4-BE49-F238E27FC236}">
                  <a16:creationId xmlns:a16="http://schemas.microsoft.com/office/drawing/2014/main" id="{B825A389-3AEC-610C-CE13-34A0D6E05622}"/>
                </a:ext>
              </a:extLst>
            </p:cNvPr>
            <p:cNvSpPr/>
            <p:nvPr/>
          </p:nvSpPr>
          <p:spPr>
            <a:xfrm>
              <a:off x="649499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8" name="Полилиния 213">
              <a:extLst>
                <a:ext uri="{FF2B5EF4-FFF2-40B4-BE49-F238E27FC236}">
                  <a16:creationId xmlns:a16="http://schemas.microsoft.com/office/drawing/2014/main" id="{5B9048C6-D056-4C74-0977-28EDC4BFF76C}"/>
                </a:ext>
              </a:extLst>
            </p:cNvPr>
            <p:cNvSpPr/>
            <p:nvPr/>
          </p:nvSpPr>
          <p:spPr>
            <a:xfrm>
              <a:off x="653963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9" name="Полилиния 214">
              <a:extLst>
                <a:ext uri="{FF2B5EF4-FFF2-40B4-BE49-F238E27FC236}">
                  <a16:creationId xmlns:a16="http://schemas.microsoft.com/office/drawing/2014/main" id="{F8B3A2B6-F33A-896B-9208-0934FDC768DC}"/>
                </a:ext>
              </a:extLst>
            </p:cNvPr>
            <p:cNvSpPr/>
            <p:nvPr/>
          </p:nvSpPr>
          <p:spPr>
            <a:xfrm>
              <a:off x="658427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0" name="Полилиния 215">
              <a:extLst>
                <a:ext uri="{FF2B5EF4-FFF2-40B4-BE49-F238E27FC236}">
                  <a16:creationId xmlns:a16="http://schemas.microsoft.com/office/drawing/2014/main" id="{85026A10-C5C3-5ED2-A21F-C232694A11A5}"/>
                </a:ext>
              </a:extLst>
            </p:cNvPr>
            <p:cNvSpPr/>
            <p:nvPr/>
          </p:nvSpPr>
          <p:spPr>
            <a:xfrm>
              <a:off x="6628910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1" name="Полилиния 216">
              <a:extLst>
                <a:ext uri="{FF2B5EF4-FFF2-40B4-BE49-F238E27FC236}">
                  <a16:creationId xmlns:a16="http://schemas.microsoft.com/office/drawing/2014/main" id="{6F34008C-2289-4E14-319A-678685AF3EA6}"/>
                </a:ext>
              </a:extLst>
            </p:cNvPr>
            <p:cNvSpPr/>
            <p:nvPr/>
          </p:nvSpPr>
          <p:spPr>
            <a:xfrm>
              <a:off x="671818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2" name="Полилиния 217">
              <a:extLst>
                <a:ext uri="{FF2B5EF4-FFF2-40B4-BE49-F238E27FC236}">
                  <a16:creationId xmlns:a16="http://schemas.microsoft.com/office/drawing/2014/main" id="{B5C0B235-DCE6-4299-7C4F-D2F6CA2F7D05}"/>
                </a:ext>
              </a:extLst>
            </p:cNvPr>
            <p:cNvSpPr/>
            <p:nvPr/>
          </p:nvSpPr>
          <p:spPr>
            <a:xfrm>
              <a:off x="676282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3" name="Полилиния 218">
              <a:extLst>
                <a:ext uri="{FF2B5EF4-FFF2-40B4-BE49-F238E27FC236}">
                  <a16:creationId xmlns:a16="http://schemas.microsoft.com/office/drawing/2014/main" id="{61A0E38B-D998-76B1-201F-3D5A144E647D}"/>
                </a:ext>
              </a:extLst>
            </p:cNvPr>
            <p:cNvSpPr/>
            <p:nvPr/>
          </p:nvSpPr>
          <p:spPr>
            <a:xfrm>
              <a:off x="698611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4" name="Полилиния 219">
              <a:extLst>
                <a:ext uri="{FF2B5EF4-FFF2-40B4-BE49-F238E27FC236}">
                  <a16:creationId xmlns:a16="http://schemas.microsoft.com/office/drawing/2014/main" id="{442A46C8-8215-4229-AB00-999AC791CF0F}"/>
                </a:ext>
              </a:extLst>
            </p:cNvPr>
            <p:cNvSpPr/>
            <p:nvPr/>
          </p:nvSpPr>
          <p:spPr>
            <a:xfrm>
              <a:off x="7075398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5" name="Полилиния 220">
              <a:extLst>
                <a:ext uri="{FF2B5EF4-FFF2-40B4-BE49-F238E27FC236}">
                  <a16:creationId xmlns:a16="http://schemas.microsoft.com/office/drawing/2014/main" id="{38E90B15-AA04-F591-C3B9-8930ECD6A52A}"/>
                </a:ext>
              </a:extLst>
            </p:cNvPr>
            <p:cNvSpPr/>
            <p:nvPr/>
          </p:nvSpPr>
          <p:spPr>
            <a:xfrm>
              <a:off x="7120037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6" name="Полилиния 221">
              <a:extLst>
                <a:ext uri="{FF2B5EF4-FFF2-40B4-BE49-F238E27FC236}">
                  <a16:creationId xmlns:a16="http://schemas.microsoft.com/office/drawing/2014/main" id="{87D9C0EE-DC1F-4F99-80DB-73CB1985984C}"/>
                </a:ext>
              </a:extLst>
            </p:cNvPr>
            <p:cNvSpPr/>
            <p:nvPr/>
          </p:nvSpPr>
          <p:spPr>
            <a:xfrm>
              <a:off x="7164676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7" name="Полилиния 222">
              <a:extLst>
                <a:ext uri="{FF2B5EF4-FFF2-40B4-BE49-F238E27FC236}">
                  <a16:creationId xmlns:a16="http://schemas.microsoft.com/office/drawing/2014/main" id="{68A90F18-83E7-B828-5ED9-D77EEFABD19D}"/>
                </a:ext>
              </a:extLst>
            </p:cNvPr>
            <p:cNvSpPr/>
            <p:nvPr/>
          </p:nvSpPr>
          <p:spPr>
            <a:xfrm>
              <a:off x="720931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8" name="Полилиния 223">
              <a:extLst>
                <a:ext uri="{FF2B5EF4-FFF2-40B4-BE49-F238E27FC236}">
                  <a16:creationId xmlns:a16="http://schemas.microsoft.com/office/drawing/2014/main" id="{3783FCA1-2798-A615-F11F-68604678A334}"/>
                </a:ext>
              </a:extLst>
            </p:cNvPr>
            <p:cNvSpPr/>
            <p:nvPr/>
          </p:nvSpPr>
          <p:spPr>
            <a:xfrm>
              <a:off x="7253955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9" name="Полилиния 224">
              <a:extLst>
                <a:ext uri="{FF2B5EF4-FFF2-40B4-BE49-F238E27FC236}">
                  <a16:creationId xmlns:a16="http://schemas.microsoft.com/office/drawing/2014/main" id="{35B66B35-E956-42A3-7697-890D31F00B0B}"/>
                </a:ext>
              </a:extLst>
            </p:cNvPr>
            <p:cNvSpPr/>
            <p:nvPr/>
          </p:nvSpPr>
          <p:spPr>
            <a:xfrm>
              <a:off x="7343233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0" name="Полилиния 225">
              <a:extLst>
                <a:ext uri="{FF2B5EF4-FFF2-40B4-BE49-F238E27FC236}">
                  <a16:creationId xmlns:a16="http://schemas.microsoft.com/office/drawing/2014/main" id="{471807C4-F62B-079C-4098-4ABF6362E84D}"/>
                </a:ext>
              </a:extLst>
            </p:cNvPr>
            <p:cNvSpPr/>
            <p:nvPr/>
          </p:nvSpPr>
          <p:spPr>
            <a:xfrm>
              <a:off x="747715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1" name="Полилиния 226">
              <a:extLst>
                <a:ext uri="{FF2B5EF4-FFF2-40B4-BE49-F238E27FC236}">
                  <a16:creationId xmlns:a16="http://schemas.microsoft.com/office/drawing/2014/main" id="{5F0775A7-86BA-F8B1-8E82-2C729B7048C2}"/>
                </a:ext>
              </a:extLst>
            </p:cNvPr>
            <p:cNvSpPr/>
            <p:nvPr/>
          </p:nvSpPr>
          <p:spPr>
            <a:xfrm>
              <a:off x="7566524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2" name="Полилиния 227">
              <a:extLst>
                <a:ext uri="{FF2B5EF4-FFF2-40B4-BE49-F238E27FC236}">
                  <a16:creationId xmlns:a16="http://schemas.microsoft.com/office/drawing/2014/main" id="{140C1536-819A-768C-B1F5-56F28D1676A0}"/>
                </a:ext>
              </a:extLst>
            </p:cNvPr>
            <p:cNvSpPr/>
            <p:nvPr/>
          </p:nvSpPr>
          <p:spPr>
            <a:xfrm>
              <a:off x="7789721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3" name="Полилиния 228">
              <a:extLst>
                <a:ext uri="{FF2B5EF4-FFF2-40B4-BE49-F238E27FC236}">
                  <a16:creationId xmlns:a16="http://schemas.microsoft.com/office/drawing/2014/main" id="{2E6F89C3-B813-57BD-AA16-C509CDCFEDF0}"/>
                </a:ext>
              </a:extLst>
            </p:cNvPr>
            <p:cNvSpPr/>
            <p:nvPr/>
          </p:nvSpPr>
          <p:spPr>
            <a:xfrm>
              <a:off x="7878999" y="330715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4" name="Полилиния 229">
              <a:extLst>
                <a:ext uri="{FF2B5EF4-FFF2-40B4-BE49-F238E27FC236}">
                  <a16:creationId xmlns:a16="http://schemas.microsoft.com/office/drawing/2014/main" id="{1CCFBC91-64DC-E13D-AB52-AAC6D01B711B}"/>
                </a:ext>
              </a:extLst>
            </p:cNvPr>
            <p:cNvSpPr/>
            <p:nvPr/>
          </p:nvSpPr>
          <p:spPr>
            <a:xfrm>
              <a:off x="645035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5" name="Полилиния 230">
              <a:extLst>
                <a:ext uri="{FF2B5EF4-FFF2-40B4-BE49-F238E27FC236}">
                  <a16:creationId xmlns:a16="http://schemas.microsoft.com/office/drawing/2014/main" id="{8AB6D7AC-1A6C-C6A8-6F59-6A4365B6D78F}"/>
                </a:ext>
              </a:extLst>
            </p:cNvPr>
            <p:cNvSpPr/>
            <p:nvPr/>
          </p:nvSpPr>
          <p:spPr>
            <a:xfrm>
              <a:off x="6494993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6" name="Полилиния 231">
              <a:extLst>
                <a:ext uri="{FF2B5EF4-FFF2-40B4-BE49-F238E27FC236}">
                  <a16:creationId xmlns:a16="http://schemas.microsoft.com/office/drawing/2014/main" id="{AB01ABC2-22B9-1079-4578-B6CE30D3A56C}"/>
                </a:ext>
              </a:extLst>
            </p:cNvPr>
            <p:cNvSpPr/>
            <p:nvPr/>
          </p:nvSpPr>
          <p:spPr>
            <a:xfrm>
              <a:off x="653963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7" name="Полилиния 232">
              <a:extLst>
                <a:ext uri="{FF2B5EF4-FFF2-40B4-BE49-F238E27FC236}">
                  <a16:creationId xmlns:a16="http://schemas.microsoft.com/office/drawing/2014/main" id="{DC4C2EC1-A27D-97ED-07E4-8321F30E0344}"/>
                </a:ext>
              </a:extLst>
            </p:cNvPr>
            <p:cNvSpPr/>
            <p:nvPr/>
          </p:nvSpPr>
          <p:spPr>
            <a:xfrm>
              <a:off x="658427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8" name="Полилиния 233">
              <a:extLst>
                <a:ext uri="{FF2B5EF4-FFF2-40B4-BE49-F238E27FC236}">
                  <a16:creationId xmlns:a16="http://schemas.microsoft.com/office/drawing/2014/main" id="{AA48CBF0-C723-352E-6B77-EABF29CE10F3}"/>
                </a:ext>
              </a:extLst>
            </p:cNvPr>
            <p:cNvSpPr/>
            <p:nvPr/>
          </p:nvSpPr>
          <p:spPr>
            <a:xfrm>
              <a:off x="662891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9" name="Полилиния 234">
              <a:extLst>
                <a:ext uri="{FF2B5EF4-FFF2-40B4-BE49-F238E27FC236}">
                  <a16:creationId xmlns:a16="http://schemas.microsoft.com/office/drawing/2014/main" id="{D49C2A4C-9659-32EF-D6ED-D0815E2F6BEA}"/>
                </a:ext>
              </a:extLst>
            </p:cNvPr>
            <p:cNvSpPr/>
            <p:nvPr/>
          </p:nvSpPr>
          <p:spPr>
            <a:xfrm>
              <a:off x="676282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0" name="Полилиния 235">
              <a:extLst>
                <a:ext uri="{FF2B5EF4-FFF2-40B4-BE49-F238E27FC236}">
                  <a16:creationId xmlns:a16="http://schemas.microsoft.com/office/drawing/2014/main" id="{9935E34F-82CE-6C5A-3702-603BDA45E312}"/>
                </a:ext>
              </a:extLst>
            </p:cNvPr>
            <p:cNvSpPr/>
            <p:nvPr/>
          </p:nvSpPr>
          <p:spPr>
            <a:xfrm>
              <a:off x="680746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1" name="Полилиния 236">
              <a:extLst>
                <a:ext uri="{FF2B5EF4-FFF2-40B4-BE49-F238E27FC236}">
                  <a16:creationId xmlns:a16="http://schemas.microsoft.com/office/drawing/2014/main" id="{82A27ADA-E6E1-EBAC-ADCE-45FBD816A40C}"/>
                </a:ext>
              </a:extLst>
            </p:cNvPr>
            <p:cNvSpPr/>
            <p:nvPr/>
          </p:nvSpPr>
          <p:spPr>
            <a:xfrm>
              <a:off x="689684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2" name="Полилиния 237">
              <a:extLst>
                <a:ext uri="{FF2B5EF4-FFF2-40B4-BE49-F238E27FC236}">
                  <a16:creationId xmlns:a16="http://schemas.microsoft.com/office/drawing/2014/main" id="{045FD8D2-5B45-1973-A6CF-7672BF5D2768}"/>
                </a:ext>
              </a:extLst>
            </p:cNvPr>
            <p:cNvSpPr/>
            <p:nvPr/>
          </p:nvSpPr>
          <p:spPr>
            <a:xfrm>
              <a:off x="7030758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3" name="Полилиния 238">
              <a:extLst>
                <a:ext uri="{FF2B5EF4-FFF2-40B4-BE49-F238E27FC236}">
                  <a16:creationId xmlns:a16="http://schemas.microsoft.com/office/drawing/2014/main" id="{63E75A51-DCC8-1209-6424-263FCA903942}"/>
                </a:ext>
              </a:extLst>
            </p:cNvPr>
            <p:cNvSpPr/>
            <p:nvPr/>
          </p:nvSpPr>
          <p:spPr>
            <a:xfrm>
              <a:off x="7120037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4" name="Полилиния 239">
              <a:extLst>
                <a:ext uri="{FF2B5EF4-FFF2-40B4-BE49-F238E27FC236}">
                  <a16:creationId xmlns:a16="http://schemas.microsoft.com/office/drawing/2014/main" id="{D8DEFEC6-6842-3591-8CE3-7E3A60543025}"/>
                </a:ext>
              </a:extLst>
            </p:cNvPr>
            <p:cNvSpPr/>
            <p:nvPr/>
          </p:nvSpPr>
          <p:spPr>
            <a:xfrm>
              <a:off x="720931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5" name="Полилиния 240">
              <a:extLst>
                <a:ext uri="{FF2B5EF4-FFF2-40B4-BE49-F238E27FC236}">
                  <a16:creationId xmlns:a16="http://schemas.microsoft.com/office/drawing/2014/main" id="{F2C23F8D-ED91-0902-92BE-BD95A54C1D2A}"/>
                </a:ext>
              </a:extLst>
            </p:cNvPr>
            <p:cNvSpPr/>
            <p:nvPr/>
          </p:nvSpPr>
          <p:spPr>
            <a:xfrm>
              <a:off x="7253955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6" name="Полилиния 241">
              <a:extLst>
                <a:ext uri="{FF2B5EF4-FFF2-40B4-BE49-F238E27FC236}">
                  <a16:creationId xmlns:a16="http://schemas.microsoft.com/office/drawing/2014/main" id="{C4C5FB47-F959-A2AB-34B7-0B98F05FCB3B}"/>
                </a:ext>
              </a:extLst>
            </p:cNvPr>
            <p:cNvSpPr/>
            <p:nvPr/>
          </p:nvSpPr>
          <p:spPr>
            <a:xfrm>
              <a:off x="729859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7" name="Полилиния 242">
              <a:extLst>
                <a:ext uri="{FF2B5EF4-FFF2-40B4-BE49-F238E27FC236}">
                  <a16:creationId xmlns:a16="http://schemas.microsoft.com/office/drawing/2014/main" id="{D7EC1ACE-E1D0-19BC-C302-C5802BDD2EDC}"/>
                </a:ext>
              </a:extLst>
            </p:cNvPr>
            <p:cNvSpPr/>
            <p:nvPr/>
          </p:nvSpPr>
          <p:spPr>
            <a:xfrm>
              <a:off x="7432512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8" name="Полилиния 243">
              <a:extLst>
                <a:ext uri="{FF2B5EF4-FFF2-40B4-BE49-F238E27FC236}">
                  <a16:creationId xmlns:a16="http://schemas.microsoft.com/office/drawing/2014/main" id="{4881481D-FECF-ED4C-83D2-385B0A40ED7A}"/>
                </a:ext>
              </a:extLst>
            </p:cNvPr>
            <p:cNvSpPr/>
            <p:nvPr/>
          </p:nvSpPr>
          <p:spPr>
            <a:xfrm>
              <a:off x="747715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9" name="Полилиния 244">
              <a:extLst>
                <a:ext uri="{FF2B5EF4-FFF2-40B4-BE49-F238E27FC236}">
                  <a16:creationId xmlns:a16="http://schemas.microsoft.com/office/drawing/2014/main" id="{78AA02C9-B18C-449F-F7D4-DD6FBA912237}"/>
                </a:ext>
              </a:extLst>
            </p:cNvPr>
            <p:cNvSpPr/>
            <p:nvPr/>
          </p:nvSpPr>
          <p:spPr>
            <a:xfrm>
              <a:off x="7566524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20" name="Полилиния 245">
              <a:extLst>
                <a:ext uri="{FF2B5EF4-FFF2-40B4-BE49-F238E27FC236}">
                  <a16:creationId xmlns:a16="http://schemas.microsoft.com/office/drawing/2014/main" id="{A25845CE-DB96-0DBD-D6D4-8FBB694650A4}"/>
                </a:ext>
              </a:extLst>
            </p:cNvPr>
            <p:cNvSpPr/>
            <p:nvPr/>
          </p:nvSpPr>
          <p:spPr>
            <a:xfrm>
              <a:off x="7745081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21" name="Полилиния 246">
              <a:extLst>
                <a:ext uri="{FF2B5EF4-FFF2-40B4-BE49-F238E27FC236}">
                  <a16:creationId xmlns:a16="http://schemas.microsoft.com/office/drawing/2014/main" id="{C4F4CE9F-845D-6712-573D-54ADF4E96A61}"/>
                </a:ext>
              </a:extLst>
            </p:cNvPr>
            <p:cNvSpPr/>
            <p:nvPr/>
          </p:nvSpPr>
          <p:spPr>
            <a:xfrm>
              <a:off x="7834360" y="335162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22" name="Полилиния 247">
              <a:extLst>
                <a:ext uri="{FF2B5EF4-FFF2-40B4-BE49-F238E27FC236}">
                  <a16:creationId xmlns:a16="http://schemas.microsoft.com/office/drawing/2014/main" id="{AEB616D9-83D0-C5F2-B476-FF47B754D6D2}"/>
                </a:ext>
              </a:extLst>
            </p:cNvPr>
            <p:cNvSpPr/>
            <p:nvPr/>
          </p:nvSpPr>
          <p:spPr>
            <a:xfrm>
              <a:off x="653963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23" name="Полилиния 248">
              <a:extLst>
                <a:ext uri="{FF2B5EF4-FFF2-40B4-BE49-F238E27FC236}">
                  <a16:creationId xmlns:a16="http://schemas.microsoft.com/office/drawing/2014/main" id="{6A12641B-45D4-8BC2-4443-3B1D78BA5FC7}"/>
                </a:ext>
              </a:extLst>
            </p:cNvPr>
            <p:cNvSpPr/>
            <p:nvPr/>
          </p:nvSpPr>
          <p:spPr>
            <a:xfrm>
              <a:off x="6628910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24" name="Полилиния 249">
              <a:extLst>
                <a:ext uri="{FF2B5EF4-FFF2-40B4-BE49-F238E27FC236}">
                  <a16:creationId xmlns:a16="http://schemas.microsoft.com/office/drawing/2014/main" id="{B973B267-63EC-6FF6-1272-E9528913A1F4}"/>
                </a:ext>
              </a:extLst>
            </p:cNvPr>
            <p:cNvSpPr/>
            <p:nvPr/>
          </p:nvSpPr>
          <p:spPr>
            <a:xfrm>
              <a:off x="667354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25" name="Полилиния 250">
              <a:extLst>
                <a:ext uri="{FF2B5EF4-FFF2-40B4-BE49-F238E27FC236}">
                  <a16:creationId xmlns:a16="http://schemas.microsoft.com/office/drawing/2014/main" id="{D06C8C34-AAC3-409D-3013-F1392CE2AFC1}"/>
                </a:ext>
              </a:extLst>
            </p:cNvPr>
            <p:cNvSpPr/>
            <p:nvPr/>
          </p:nvSpPr>
          <p:spPr>
            <a:xfrm>
              <a:off x="6718189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26" name="Полилиния 251">
              <a:extLst>
                <a:ext uri="{FF2B5EF4-FFF2-40B4-BE49-F238E27FC236}">
                  <a16:creationId xmlns:a16="http://schemas.microsoft.com/office/drawing/2014/main" id="{CB498D92-07A6-33E2-7B3B-03779AEE83B6}"/>
                </a:ext>
              </a:extLst>
            </p:cNvPr>
            <p:cNvSpPr/>
            <p:nvPr/>
          </p:nvSpPr>
          <p:spPr>
            <a:xfrm>
              <a:off x="6852106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27" name="Полилиния 252">
              <a:extLst>
                <a:ext uri="{FF2B5EF4-FFF2-40B4-BE49-F238E27FC236}">
                  <a16:creationId xmlns:a16="http://schemas.microsoft.com/office/drawing/2014/main" id="{86F848DC-EEC2-9414-607E-248528DA3D93}"/>
                </a:ext>
              </a:extLst>
            </p:cNvPr>
            <p:cNvSpPr/>
            <p:nvPr/>
          </p:nvSpPr>
          <p:spPr>
            <a:xfrm>
              <a:off x="7253955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28" name="Полилиния 253">
              <a:extLst>
                <a:ext uri="{FF2B5EF4-FFF2-40B4-BE49-F238E27FC236}">
                  <a16:creationId xmlns:a16="http://schemas.microsoft.com/office/drawing/2014/main" id="{D7FB7F75-EF3D-3C11-1D5F-1A0DF141447D}"/>
                </a:ext>
              </a:extLst>
            </p:cNvPr>
            <p:cNvSpPr/>
            <p:nvPr/>
          </p:nvSpPr>
          <p:spPr>
            <a:xfrm>
              <a:off x="7432512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29" name="Полилиния 254">
              <a:extLst>
                <a:ext uri="{FF2B5EF4-FFF2-40B4-BE49-F238E27FC236}">
                  <a16:creationId xmlns:a16="http://schemas.microsoft.com/office/drawing/2014/main" id="{E44B8654-1CE9-32CE-20DC-495442158841}"/>
                </a:ext>
              </a:extLst>
            </p:cNvPr>
            <p:cNvSpPr/>
            <p:nvPr/>
          </p:nvSpPr>
          <p:spPr>
            <a:xfrm>
              <a:off x="7477151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0" name="Полилиния 255">
              <a:extLst>
                <a:ext uri="{FF2B5EF4-FFF2-40B4-BE49-F238E27FC236}">
                  <a16:creationId xmlns:a16="http://schemas.microsoft.com/office/drawing/2014/main" id="{5D387431-C99E-3389-BCAE-13A38263C68B}"/>
                </a:ext>
              </a:extLst>
            </p:cNvPr>
            <p:cNvSpPr/>
            <p:nvPr/>
          </p:nvSpPr>
          <p:spPr>
            <a:xfrm>
              <a:off x="7611164" y="339609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1" name="Полилиния 256">
              <a:extLst>
                <a:ext uri="{FF2B5EF4-FFF2-40B4-BE49-F238E27FC236}">
                  <a16:creationId xmlns:a16="http://schemas.microsoft.com/office/drawing/2014/main" id="{F7A349E7-1A38-6249-3254-CBC71154483F}"/>
                </a:ext>
              </a:extLst>
            </p:cNvPr>
            <p:cNvSpPr/>
            <p:nvPr/>
          </p:nvSpPr>
          <p:spPr>
            <a:xfrm>
              <a:off x="649499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2" name="Полилиния 257">
              <a:extLst>
                <a:ext uri="{FF2B5EF4-FFF2-40B4-BE49-F238E27FC236}">
                  <a16:creationId xmlns:a16="http://schemas.microsoft.com/office/drawing/2014/main" id="{A6D3D343-1990-954E-F936-6BD7140D2B5C}"/>
                </a:ext>
              </a:extLst>
            </p:cNvPr>
            <p:cNvSpPr/>
            <p:nvPr/>
          </p:nvSpPr>
          <p:spPr>
            <a:xfrm>
              <a:off x="6628910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3" name="Полилиния 258">
              <a:extLst>
                <a:ext uri="{FF2B5EF4-FFF2-40B4-BE49-F238E27FC236}">
                  <a16:creationId xmlns:a16="http://schemas.microsoft.com/office/drawing/2014/main" id="{64A65410-978C-6383-7DF1-38C9BA191A55}"/>
                </a:ext>
              </a:extLst>
            </p:cNvPr>
            <p:cNvSpPr/>
            <p:nvPr/>
          </p:nvSpPr>
          <p:spPr>
            <a:xfrm>
              <a:off x="667354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4" name="Полилиния 259">
              <a:extLst>
                <a:ext uri="{FF2B5EF4-FFF2-40B4-BE49-F238E27FC236}">
                  <a16:creationId xmlns:a16="http://schemas.microsoft.com/office/drawing/2014/main" id="{5360C659-4246-0832-7375-ED52439FA525}"/>
                </a:ext>
              </a:extLst>
            </p:cNvPr>
            <p:cNvSpPr/>
            <p:nvPr/>
          </p:nvSpPr>
          <p:spPr>
            <a:xfrm>
              <a:off x="685210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5" name="Полилиния 260">
              <a:extLst>
                <a:ext uri="{FF2B5EF4-FFF2-40B4-BE49-F238E27FC236}">
                  <a16:creationId xmlns:a16="http://schemas.microsoft.com/office/drawing/2014/main" id="{262E61B2-2B8E-C63A-36AA-2290FAF81D24}"/>
                </a:ext>
              </a:extLst>
            </p:cNvPr>
            <p:cNvSpPr/>
            <p:nvPr/>
          </p:nvSpPr>
          <p:spPr>
            <a:xfrm>
              <a:off x="689684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6" name="Полилиния 261">
              <a:extLst>
                <a:ext uri="{FF2B5EF4-FFF2-40B4-BE49-F238E27FC236}">
                  <a16:creationId xmlns:a16="http://schemas.microsoft.com/office/drawing/2014/main" id="{CC0D9546-58B5-B83C-368F-601FCCEAF7F6}"/>
                </a:ext>
              </a:extLst>
            </p:cNvPr>
            <p:cNvSpPr/>
            <p:nvPr/>
          </p:nvSpPr>
          <p:spPr>
            <a:xfrm>
              <a:off x="7075398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7" name="Полилиния 262">
              <a:extLst>
                <a:ext uri="{FF2B5EF4-FFF2-40B4-BE49-F238E27FC236}">
                  <a16:creationId xmlns:a16="http://schemas.microsoft.com/office/drawing/2014/main" id="{64CF0D28-3501-CCC3-2228-715863DA3B3C}"/>
                </a:ext>
              </a:extLst>
            </p:cNvPr>
            <p:cNvSpPr/>
            <p:nvPr/>
          </p:nvSpPr>
          <p:spPr>
            <a:xfrm>
              <a:off x="7164676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8" name="Полилиния 263">
              <a:extLst>
                <a:ext uri="{FF2B5EF4-FFF2-40B4-BE49-F238E27FC236}">
                  <a16:creationId xmlns:a16="http://schemas.microsoft.com/office/drawing/2014/main" id="{6858737A-9A24-C672-5EA3-A6BEE5C616D7}"/>
                </a:ext>
              </a:extLst>
            </p:cNvPr>
            <p:cNvSpPr/>
            <p:nvPr/>
          </p:nvSpPr>
          <p:spPr>
            <a:xfrm>
              <a:off x="7209315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9" name="Полилиния 264">
              <a:extLst>
                <a:ext uri="{FF2B5EF4-FFF2-40B4-BE49-F238E27FC236}">
                  <a16:creationId xmlns:a16="http://schemas.microsoft.com/office/drawing/2014/main" id="{DBF6D27D-E9AB-3454-1487-0FD3186FC858}"/>
                </a:ext>
              </a:extLst>
            </p:cNvPr>
            <p:cNvSpPr/>
            <p:nvPr/>
          </p:nvSpPr>
          <p:spPr>
            <a:xfrm>
              <a:off x="734323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0" name="Полилиния 265">
              <a:extLst>
                <a:ext uri="{FF2B5EF4-FFF2-40B4-BE49-F238E27FC236}">
                  <a16:creationId xmlns:a16="http://schemas.microsoft.com/office/drawing/2014/main" id="{C40E3987-EF54-54C7-C84A-36982DECB761}"/>
                </a:ext>
              </a:extLst>
            </p:cNvPr>
            <p:cNvSpPr/>
            <p:nvPr/>
          </p:nvSpPr>
          <p:spPr>
            <a:xfrm>
              <a:off x="747715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1" name="Полилиния 266">
              <a:extLst>
                <a:ext uri="{FF2B5EF4-FFF2-40B4-BE49-F238E27FC236}">
                  <a16:creationId xmlns:a16="http://schemas.microsoft.com/office/drawing/2014/main" id="{F9D33FD5-40C5-C8B6-D95E-0F7F9360F99E}"/>
                </a:ext>
              </a:extLst>
            </p:cNvPr>
            <p:cNvSpPr/>
            <p:nvPr/>
          </p:nvSpPr>
          <p:spPr>
            <a:xfrm>
              <a:off x="7566524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2" name="Полилиния 268">
              <a:extLst>
                <a:ext uri="{FF2B5EF4-FFF2-40B4-BE49-F238E27FC236}">
                  <a16:creationId xmlns:a16="http://schemas.microsoft.com/office/drawing/2014/main" id="{BE24D2CA-76EF-743D-AEE8-A2C7F6E180C9}"/>
                </a:ext>
              </a:extLst>
            </p:cNvPr>
            <p:cNvSpPr/>
            <p:nvPr/>
          </p:nvSpPr>
          <p:spPr>
            <a:xfrm>
              <a:off x="7655803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3" name="Полилиния 269">
              <a:extLst>
                <a:ext uri="{FF2B5EF4-FFF2-40B4-BE49-F238E27FC236}">
                  <a16:creationId xmlns:a16="http://schemas.microsoft.com/office/drawing/2014/main" id="{FAE752EA-D06C-0F5B-A6E1-24A04634758A}"/>
                </a:ext>
              </a:extLst>
            </p:cNvPr>
            <p:cNvSpPr/>
            <p:nvPr/>
          </p:nvSpPr>
          <p:spPr>
            <a:xfrm>
              <a:off x="7789721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4" name="Полилиния 270">
              <a:extLst>
                <a:ext uri="{FF2B5EF4-FFF2-40B4-BE49-F238E27FC236}">
                  <a16:creationId xmlns:a16="http://schemas.microsoft.com/office/drawing/2014/main" id="{20168949-0077-5E65-AE6B-3C4F70CBAA21}"/>
                </a:ext>
              </a:extLst>
            </p:cNvPr>
            <p:cNvSpPr/>
            <p:nvPr/>
          </p:nvSpPr>
          <p:spPr>
            <a:xfrm>
              <a:off x="7878999" y="3440567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5" name="Полилиния 271">
              <a:extLst>
                <a:ext uri="{FF2B5EF4-FFF2-40B4-BE49-F238E27FC236}">
                  <a16:creationId xmlns:a16="http://schemas.microsoft.com/office/drawing/2014/main" id="{F36CEA02-2B1D-75C8-B408-C0FE432634FB}"/>
                </a:ext>
              </a:extLst>
            </p:cNvPr>
            <p:cNvSpPr/>
            <p:nvPr/>
          </p:nvSpPr>
          <p:spPr>
            <a:xfrm>
              <a:off x="645035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6" name="Полилиния 272">
              <a:extLst>
                <a:ext uri="{FF2B5EF4-FFF2-40B4-BE49-F238E27FC236}">
                  <a16:creationId xmlns:a16="http://schemas.microsoft.com/office/drawing/2014/main" id="{387C8D1F-5406-0886-9493-40EF45685253}"/>
                </a:ext>
              </a:extLst>
            </p:cNvPr>
            <p:cNvSpPr/>
            <p:nvPr/>
          </p:nvSpPr>
          <p:spPr>
            <a:xfrm>
              <a:off x="653963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7" name="Полилиния 273">
              <a:extLst>
                <a:ext uri="{FF2B5EF4-FFF2-40B4-BE49-F238E27FC236}">
                  <a16:creationId xmlns:a16="http://schemas.microsoft.com/office/drawing/2014/main" id="{BC60A93D-2E17-6A5F-BCDC-C013702CAE8F}"/>
                </a:ext>
              </a:extLst>
            </p:cNvPr>
            <p:cNvSpPr/>
            <p:nvPr/>
          </p:nvSpPr>
          <p:spPr>
            <a:xfrm>
              <a:off x="658427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8" name="Полилиния 274">
              <a:extLst>
                <a:ext uri="{FF2B5EF4-FFF2-40B4-BE49-F238E27FC236}">
                  <a16:creationId xmlns:a16="http://schemas.microsoft.com/office/drawing/2014/main" id="{6B1D9031-A212-4E38-4EE0-B1687415A06A}"/>
                </a:ext>
              </a:extLst>
            </p:cNvPr>
            <p:cNvSpPr/>
            <p:nvPr/>
          </p:nvSpPr>
          <p:spPr>
            <a:xfrm>
              <a:off x="662891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9" name="Полилиния 275">
              <a:extLst>
                <a:ext uri="{FF2B5EF4-FFF2-40B4-BE49-F238E27FC236}">
                  <a16:creationId xmlns:a16="http://schemas.microsoft.com/office/drawing/2014/main" id="{54B5D342-D124-386C-0E54-003313258C75}"/>
                </a:ext>
              </a:extLst>
            </p:cNvPr>
            <p:cNvSpPr/>
            <p:nvPr/>
          </p:nvSpPr>
          <p:spPr>
            <a:xfrm>
              <a:off x="667354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0" name="Полилиния 276">
              <a:extLst>
                <a:ext uri="{FF2B5EF4-FFF2-40B4-BE49-F238E27FC236}">
                  <a16:creationId xmlns:a16="http://schemas.microsoft.com/office/drawing/2014/main" id="{83C53157-FF69-9A15-1E9C-1BC1382A8EA8}"/>
                </a:ext>
              </a:extLst>
            </p:cNvPr>
            <p:cNvSpPr/>
            <p:nvPr/>
          </p:nvSpPr>
          <p:spPr>
            <a:xfrm>
              <a:off x="671818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1" name="Полилиния 277">
              <a:extLst>
                <a:ext uri="{FF2B5EF4-FFF2-40B4-BE49-F238E27FC236}">
                  <a16:creationId xmlns:a16="http://schemas.microsoft.com/office/drawing/2014/main" id="{1EA45314-1052-98EF-ABBB-41486DF99EA4}"/>
                </a:ext>
              </a:extLst>
            </p:cNvPr>
            <p:cNvSpPr/>
            <p:nvPr/>
          </p:nvSpPr>
          <p:spPr>
            <a:xfrm>
              <a:off x="6762828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2" name="Полилиния 278">
              <a:extLst>
                <a:ext uri="{FF2B5EF4-FFF2-40B4-BE49-F238E27FC236}">
                  <a16:creationId xmlns:a16="http://schemas.microsoft.com/office/drawing/2014/main" id="{E2DAAE4A-0FEE-3B48-DB2D-05CC857D1FD0}"/>
                </a:ext>
              </a:extLst>
            </p:cNvPr>
            <p:cNvSpPr/>
            <p:nvPr/>
          </p:nvSpPr>
          <p:spPr>
            <a:xfrm>
              <a:off x="680746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3" name="Полилиния 279">
              <a:extLst>
                <a:ext uri="{FF2B5EF4-FFF2-40B4-BE49-F238E27FC236}">
                  <a16:creationId xmlns:a16="http://schemas.microsoft.com/office/drawing/2014/main" id="{7532ABED-563F-5CE2-961A-9D3ACABEAFB2}"/>
                </a:ext>
              </a:extLst>
            </p:cNvPr>
            <p:cNvSpPr/>
            <p:nvPr/>
          </p:nvSpPr>
          <p:spPr>
            <a:xfrm>
              <a:off x="6852106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4" name="Полилиния 280">
              <a:extLst>
                <a:ext uri="{FF2B5EF4-FFF2-40B4-BE49-F238E27FC236}">
                  <a16:creationId xmlns:a16="http://schemas.microsoft.com/office/drawing/2014/main" id="{A6107EA0-E650-303B-BE34-6F721C17247A}"/>
                </a:ext>
              </a:extLst>
            </p:cNvPr>
            <p:cNvSpPr/>
            <p:nvPr/>
          </p:nvSpPr>
          <p:spPr>
            <a:xfrm>
              <a:off x="689684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5" name="Полилиния 281">
              <a:extLst>
                <a:ext uri="{FF2B5EF4-FFF2-40B4-BE49-F238E27FC236}">
                  <a16:creationId xmlns:a16="http://schemas.microsoft.com/office/drawing/2014/main" id="{CE5B037A-18E3-944B-03EF-D36579013D2E}"/>
                </a:ext>
              </a:extLst>
            </p:cNvPr>
            <p:cNvSpPr/>
            <p:nvPr/>
          </p:nvSpPr>
          <p:spPr>
            <a:xfrm>
              <a:off x="6941480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6" name="Полилиния 282">
              <a:extLst>
                <a:ext uri="{FF2B5EF4-FFF2-40B4-BE49-F238E27FC236}">
                  <a16:creationId xmlns:a16="http://schemas.microsoft.com/office/drawing/2014/main" id="{43EDF17B-1DEF-DC00-815A-490BB8F04F58}"/>
                </a:ext>
              </a:extLst>
            </p:cNvPr>
            <p:cNvSpPr/>
            <p:nvPr/>
          </p:nvSpPr>
          <p:spPr>
            <a:xfrm>
              <a:off x="7120037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7" name="Полилиния 283">
              <a:extLst>
                <a:ext uri="{FF2B5EF4-FFF2-40B4-BE49-F238E27FC236}">
                  <a16:creationId xmlns:a16="http://schemas.microsoft.com/office/drawing/2014/main" id="{558E28BA-8A96-BA29-2FBB-9BAA8915EFA6}"/>
                </a:ext>
              </a:extLst>
            </p:cNvPr>
            <p:cNvSpPr/>
            <p:nvPr/>
          </p:nvSpPr>
          <p:spPr>
            <a:xfrm>
              <a:off x="7343233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8" name="Полилиния 284">
              <a:extLst>
                <a:ext uri="{FF2B5EF4-FFF2-40B4-BE49-F238E27FC236}">
                  <a16:creationId xmlns:a16="http://schemas.microsoft.com/office/drawing/2014/main" id="{7B165182-F31C-2712-4144-1372D3AF4BA8}"/>
                </a:ext>
              </a:extLst>
            </p:cNvPr>
            <p:cNvSpPr/>
            <p:nvPr/>
          </p:nvSpPr>
          <p:spPr>
            <a:xfrm>
              <a:off x="7432512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9" name="Полилиния 285">
              <a:extLst>
                <a:ext uri="{FF2B5EF4-FFF2-40B4-BE49-F238E27FC236}">
                  <a16:creationId xmlns:a16="http://schemas.microsoft.com/office/drawing/2014/main" id="{3BC86ED2-D891-47FB-6365-5AEB82B4A213}"/>
                </a:ext>
              </a:extLst>
            </p:cNvPr>
            <p:cNvSpPr/>
            <p:nvPr/>
          </p:nvSpPr>
          <p:spPr>
            <a:xfrm>
              <a:off x="747715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60" name="Полилиния 286">
              <a:extLst>
                <a:ext uri="{FF2B5EF4-FFF2-40B4-BE49-F238E27FC236}">
                  <a16:creationId xmlns:a16="http://schemas.microsoft.com/office/drawing/2014/main" id="{5E465779-E5B0-9781-230D-70113355012C}"/>
                </a:ext>
              </a:extLst>
            </p:cNvPr>
            <p:cNvSpPr/>
            <p:nvPr/>
          </p:nvSpPr>
          <p:spPr>
            <a:xfrm>
              <a:off x="774508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61" name="Полилиния 287">
              <a:extLst>
                <a:ext uri="{FF2B5EF4-FFF2-40B4-BE49-F238E27FC236}">
                  <a16:creationId xmlns:a16="http://schemas.microsoft.com/office/drawing/2014/main" id="{DBE33DDE-C499-E051-A166-78A8D5B8D9C8}"/>
                </a:ext>
              </a:extLst>
            </p:cNvPr>
            <p:cNvSpPr/>
            <p:nvPr/>
          </p:nvSpPr>
          <p:spPr>
            <a:xfrm>
              <a:off x="7789721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62" name="Полилиния 288">
              <a:extLst>
                <a:ext uri="{FF2B5EF4-FFF2-40B4-BE49-F238E27FC236}">
                  <a16:creationId xmlns:a16="http://schemas.microsoft.com/office/drawing/2014/main" id="{F57E89E3-8BB2-305C-250A-6F352B0448D9}"/>
                </a:ext>
              </a:extLst>
            </p:cNvPr>
            <p:cNvSpPr/>
            <p:nvPr/>
          </p:nvSpPr>
          <p:spPr>
            <a:xfrm>
              <a:off x="7878999" y="348503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63" name="Полилиния 289">
              <a:extLst>
                <a:ext uri="{FF2B5EF4-FFF2-40B4-BE49-F238E27FC236}">
                  <a16:creationId xmlns:a16="http://schemas.microsoft.com/office/drawing/2014/main" id="{2C674D2C-7D55-3C66-98E5-CDE25744DC19}"/>
                </a:ext>
              </a:extLst>
            </p:cNvPr>
            <p:cNvSpPr/>
            <p:nvPr/>
          </p:nvSpPr>
          <p:spPr>
            <a:xfrm>
              <a:off x="649499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64" name="Полилиния 290">
              <a:extLst>
                <a:ext uri="{FF2B5EF4-FFF2-40B4-BE49-F238E27FC236}">
                  <a16:creationId xmlns:a16="http://schemas.microsoft.com/office/drawing/2014/main" id="{90007871-34E5-D522-CCD0-83E06FF7929D}"/>
                </a:ext>
              </a:extLst>
            </p:cNvPr>
            <p:cNvSpPr/>
            <p:nvPr/>
          </p:nvSpPr>
          <p:spPr>
            <a:xfrm>
              <a:off x="653963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65" name="Полилиния 291">
              <a:extLst>
                <a:ext uri="{FF2B5EF4-FFF2-40B4-BE49-F238E27FC236}">
                  <a16:creationId xmlns:a16="http://schemas.microsoft.com/office/drawing/2014/main" id="{07DF7807-7AE9-C4AD-2099-934677E82609}"/>
                </a:ext>
              </a:extLst>
            </p:cNvPr>
            <p:cNvSpPr/>
            <p:nvPr/>
          </p:nvSpPr>
          <p:spPr>
            <a:xfrm>
              <a:off x="667354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66" name="Полилиния 292">
              <a:extLst>
                <a:ext uri="{FF2B5EF4-FFF2-40B4-BE49-F238E27FC236}">
                  <a16:creationId xmlns:a16="http://schemas.microsoft.com/office/drawing/2014/main" id="{8CE80DD5-AAD5-3D4B-FE8B-2B091EA4939B}"/>
                </a:ext>
              </a:extLst>
            </p:cNvPr>
            <p:cNvSpPr/>
            <p:nvPr/>
          </p:nvSpPr>
          <p:spPr>
            <a:xfrm>
              <a:off x="676282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67" name="Полилиния 293">
              <a:extLst>
                <a:ext uri="{FF2B5EF4-FFF2-40B4-BE49-F238E27FC236}">
                  <a16:creationId xmlns:a16="http://schemas.microsoft.com/office/drawing/2014/main" id="{FC2CD937-3258-C933-874A-0AA01AF0E61C}"/>
                </a:ext>
              </a:extLst>
            </p:cNvPr>
            <p:cNvSpPr/>
            <p:nvPr/>
          </p:nvSpPr>
          <p:spPr>
            <a:xfrm>
              <a:off x="689684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68" name="Полилиния 294">
              <a:extLst>
                <a:ext uri="{FF2B5EF4-FFF2-40B4-BE49-F238E27FC236}">
                  <a16:creationId xmlns:a16="http://schemas.microsoft.com/office/drawing/2014/main" id="{EBB39EDA-E095-7230-CD3F-51948DB56962}"/>
                </a:ext>
              </a:extLst>
            </p:cNvPr>
            <p:cNvSpPr/>
            <p:nvPr/>
          </p:nvSpPr>
          <p:spPr>
            <a:xfrm>
              <a:off x="6941480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69" name="Полилиния 295">
              <a:extLst>
                <a:ext uri="{FF2B5EF4-FFF2-40B4-BE49-F238E27FC236}">
                  <a16:creationId xmlns:a16="http://schemas.microsoft.com/office/drawing/2014/main" id="{4A9F0B39-B73C-9EB8-CD0E-ACC9B0719DD5}"/>
                </a:ext>
              </a:extLst>
            </p:cNvPr>
            <p:cNvSpPr/>
            <p:nvPr/>
          </p:nvSpPr>
          <p:spPr>
            <a:xfrm>
              <a:off x="7075398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70" name="Полилиния 296">
              <a:extLst>
                <a:ext uri="{FF2B5EF4-FFF2-40B4-BE49-F238E27FC236}">
                  <a16:creationId xmlns:a16="http://schemas.microsoft.com/office/drawing/2014/main" id="{AF9FE047-5441-E5F1-D51C-5591C9BB2AC2}"/>
                </a:ext>
              </a:extLst>
            </p:cNvPr>
            <p:cNvSpPr/>
            <p:nvPr/>
          </p:nvSpPr>
          <p:spPr>
            <a:xfrm>
              <a:off x="7120037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71" name="Полилиния 297">
              <a:extLst>
                <a:ext uri="{FF2B5EF4-FFF2-40B4-BE49-F238E27FC236}">
                  <a16:creationId xmlns:a16="http://schemas.microsoft.com/office/drawing/2014/main" id="{5E1CCF32-883F-7E81-0E4B-97C7F6BE95F5}"/>
                </a:ext>
              </a:extLst>
            </p:cNvPr>
            <p:cNvSpPr/>
            <p:nvPr/>
          </p:nvSpPr>
          <p:spPr>
            <a:xfrm>
              <a:off x="7209315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72" name="Полилиния 298">
              <a:extLst>
                <a:ext uri="{FF2B5EF4-FFF2-40B4-BE49-F238E27FC236}">
                  <a16:creationId xmlns:a16="http://schemas.microsoft.com/office/drawing/2014/main" id="{89005401-22A8-46C2-8931-F0F7F3813D2E}"/>
                </a:ext>
              </a:extLst>
            </p:cNvPr>
            <p:cNvSpPr/>
            <p:nvPr/>
          </p:nvSpPr>
          <p:spPr>
            <a:xfrm>
              <a:off x="734323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73" name="Полилиния 299">
              <a:extLst>
                <a:ext uri="{FF2B5EF4-FFF2-40B4-BE49-F238E27FC236}">
                  <a16:creationId xmlns:a16="http://schemas.microsoft.com/office/drawing/2014/main" id="{902C259A-B883-53C7-FAD9-B2E532378DE5}"/>
                </a:ext>
              </a:extLst>
            </p:cNvPr>
            <p:cNvSpPr/>
            <p:nvPr/>
          </p:nvSpPr>
          <p:spPr>
            <a:xfrm>
              <a:off x="747715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74" name="Полилиния 300">
              <a:extLst>
                <a:ext uri="{FF2B5EF4-FFF2-40B4-BE49-F238E27FC236}">
                  <a16:creationId xmlns:a16="http://schemas.microsoft.com/office/drawing/2014/main" id="{E7D57F8D-FDF5-31E1-0792-BF1D9DFBB650}"/>
                </a:ext>
              </a:extLst>
            </p:cNvPr>
            <p:cNvSpPr/>
            <p:nvPr/>
          </p:nvSpPr>
          <p:spPr>
            <a:xfrm>
              <a:off x="7611164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75" name="Полилиния 301">
              <a:extLst>
                <a:ext uri="{FF2B5EF4-FFF2-40B4-BE49-F238E27FC236}">
                  <a16:creationId xmlns:a16="http://schemas.microsoft.com/office/drawing/2014/main" id="{8FD23C3C-1C1C-9F3B-48C1-64AAF43F0265}"/>
                </a:ext>
              </a:extLst>
            </p:cNvPr>
            <p:cNvSpPr/>
            <p:nvPr/>
          </p:nvSpPr>
          <p:spPr>
            <a:xfrm>
              <a:off x="7655803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76" name="Полилиния 302">
              <a:extLst>
                <a:ext uri="{FF2B5EF4-FFF2-40B4-BE49-F238E27FC236}">
                  <a16:creationId xmlns:a16="http://schemas.microsoft.com/office/drawing/2014/main" id="{ABC6E8BC-B00E-5EEB-ED20-147A7B4B429C}"/>
                </a:ext>
              </a:extLst>
            </p:cNvPr>
            <p:cNvSpPr/>
            <p:nvPr/>
          </p:nvSpPr>
          <p:spPr>
            <a:xfrm>
              <a:off x="7745081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77" name="Полилиния 303">
              <a:extLst>
                <a:ext uri="{FF2B5EF4-FFF2-40B4-BE49-F238E27FC236}">
                  <a16:creationId xmlns:a16="http://schemas.microsoft.com/office/drawing/2014/main" id="{08CE1196-B500-039C-274E-3E3BA59C84BF}"/>
                </a:ext>
              </a:extLst>
            </p:cNvPr>
            <p:cNvSpPr/>
            <p:nvPr/>
          </p:nvSpPr>
          <p:spPr>
            <a:xfrm>
              <a:off x="7878999" y="352950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78" name="Полилиния 304">
              <a:extLst>
                <a:ext uri="{FF2B5EF4-FFF2-40B4-BE49-F238E27FC236}">
                  <a16:creationId xmlns:a16="http://schemas.microsoft.com/office/drawing/2014/main" id="{C90A5F90-45C1-5A35-A360-D8229E14F730}"/>
                </a:ext>
              </a:extLst>
            </p:cNvPr>
            <p:cNvSpPr/>
            <p:nvPr/>
          </p:nvSpPr>
          <p:spPr>
            <a:xfrm>
              <a:off x="645035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79" name="Полилиния 305">
              <a:extLst>
                <a:ext uri="{FF2B5EF4-FFF2-40B4-BE49-F238E27FC236}">
                  <a16:creationId xmlns:a16="http://schemas.microsoft.com/office/drawing/2014/main" id="{3AB18408-6012-0F8C-A446-5A5CD3731199}"/>
                </a:ext>
              </a:extLst>
            </p:cNvPr>
            <p:cNvSpPr/>
            <p:nvPr/>
          </p:nvSpPr>
          <p:spPr>
            <a:xfrm>
              <a:off x="649499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0" name="Полилиния 306">
              <a:extLst>
                <a:ext uri="{FF2B5EF4-FFF2-40B4-BE49-F238E27FC236}">
                  <a16:creationId xmlns:a16="http://schemas.microsoft.com/office/drawing/2014/main" id="{C3F461D4-35E9-4B97-4DD7-BAA10F1B3683}"/>
                </a:ext>
              </a:extLst>
            </p:cNvPr>
            <p:cNvSpPr/>
            <p:nvPr/>
          </p:nvSpPr>
          <p:spPr>
            <a:xfrm>
              <a:off x="658427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1" name="Полилиния 307">
              <a:extLst>
                <a:ext uri="{FF2B5EF4-FFF2-40B4-BE49-F238E27FC236}">
                  <a16:creationId xmlns:a16="http://schemas.microsoft.com/office/drawing/2014/main" id="{F182A7B9-E020-8DA1-E7DE-E2CD5CEB1900}"/>
                </a:ext>
              </a:extLst>
            </p:cNvPr>
            <p:cNvSpPr/>
            <p:nvPr/>
          </p:nvSpPr>
          <p:spPr>
            <a:xfrm>
              <a:off x="662891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2" name="Полилиния 308">
              <a:extLst>
                <a:ext uri="{FF2B5EF4-FFF2-40B4-BE49-F238E27FC236}">
                  <a16:creationId xmlns:a16="http://schemas.microsoft.com/office/drawing/2014/main" id="{220411F3-A86F-2008-59D8-7C25A3E2C246}"/>
                </a:ext>
              </a:extLst>
            </p:cNvPr>
            <p:cNvSpPr/>
            <p:nvPr/>
          </p:nvSpPr>
          <p:spPr>
            <a:xfrm>
              <a:off x="667354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3" name="Полилиния 309">
              <a:extLst>
                <a:ext uri="{FF2B5EF4-FFF2-40B4-BE49-F238E27FC236}">
                  <a16:creationId xmlns:a16="http://schemas.microsoft.com/office/drawing/2014/main" id="{C5B28F9C-D240-DCDC-89DF-ABC99651C33B}"/>
                </a:ext>
              </a:extLst>
            </p:cNvPr>
            <p:cNvSpPr/>
            <p:nvPr/>
          </p:nvSpPr>
          <p:spPr>
            <a:xfrm>
              <a:off x="6718189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4" name="Полилиния 310">
              <a:extLst>
                <a:ext uri="{FF2B5EF4-FFF2-40B4-BE49-F238E27FC236}">
                  <a16:creationId xmlns:a16="http://schemas.microsoft.com/office/drawing/2014/main" id="{6D72ECB3-9BB2-62CE-70E0-87E3EE003462}"/>
                </a:ext>
              </a:extLst>
            </p:cNvPr>
            <p:cNvSpPr/>
            <p:nvPr/>
          </p:nvSpPr>
          <p:spPr>
            <a:xfrm>
              <a:off x="680746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5" name="Полилиния 311">
              <a:extLst>
                <a:ext uri="{FF2B5EF4-FFF2-40B4-BE49-F238E27FC236}">
                  <a16:creationId xmlns:a16="http://schemas.microsoft.com/office/drawing/2014/main" id="{BBE103CB-91AB-5E56-A5CC-06ED939F465A}"/>
                </a:ext>
              </a:extLst>
            </p:cNvPr>
            <p:cNvSpPr/>
            <p:nvPr/>
          </p:nvSpPr>
          <p:spPr>
            <a:xfrm>
              <a:off x="689684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6" name="Полилиния 312">
              <a:extLst>
                <a:ext uri="{FF2B5EF4-FFF2-40B4-BE49-F238E27FC236}">
                  <a16:creationId xmlns:a16="http://schemas.microsoft.com/office/drawing/2014/main" id="{F5A4F2EF-64CD-1BB7-8F34-167001B434C4}"/>
                </a:ext>
              </a:extLst>
            </p:cNvPr>
            <p:cNvSpPr/>
            <p:nvPr/>
          </p:nvSpPr>
          <p:spPr>
            <a:xfrm>
              <a:off x="6941480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7" name="Полилиния 313">
              <a:extLst>
                <a:ext uri="{FF2B5EF4-FFF2-40B4-BE49-F238E27FC236}">
                  <a16:creationId xmlns:a16="http://schemas.microsoft.com/office/drawing/2014/main" id="{0D543705-0254-C800-6ACE-1DE76AFEFC4A}"/>
                </a:ext>
              </a:extLst>
            </p:cNvPr>
            <p:cNvSpPr/>
            <p:nvPr/>
          </p:nvSpPr>
          <p:spPr>
            <a:xfrm>
              <a:off x="7030758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8" name="Полилиния 314">
              <a:extLst>
                <a:ext uri="{FF2B5EF4-FFF2-40B4-BE49-F238E27FC236}">
                  <a16:creationId xmlns:a16="http://schemas.microsoft.com/office/drawing/2014/main" id="{55D63836-20B7-4453-A475-CF26D8E46C5E}"/>
                </a:ext>
              </a:extLst>
            </p:cNvPr>
            <p:cNvSpPr/>
            <p:nvPr/>
          </p:nvSpPr>
          <p:spPr>
            <a:xfrm>
              <a:off x="7120037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9" name="Полилиния 315">
              <a:extLst>
                <a:ext uri="{FF2B5EF4-FFF2-40B4-BE49-F238E27FC236}">
                  <a16:creationId xmlns:a16="http://schemas.microsoft.com/office/drawing/2014/main" id="{865778F3-757A-8F12-5353-A9F9D56436C9}"/>
                </a:ext>
              </a:extLst>
            </p:cNvPr>
            <p:cNvSpPr/>
            <p:nvPr/>
          </p:nvSpPr>
          <p:spPr>
            <a:xfrm>
              <a:off x="7253955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0" name="Полилиния 316">
              <a:extLst>
                <a:ext uri="{FF2B5EF4-FFF2-40B4-BE49-F238E27FC236}">
                  <a16:creationId xmlns:a16="http://schemas.microsoft.com/office/drawing/2014/main" id="{FB117C48-488C-2B03-2AF6-568D8DD0062C}"/>
                </a:ext>
              </a:extLst>
            </p:cNvPr>
            <p:cNvSpPr/>
            <p:nvPr/>
          </p:nvSpPr>
          <p:spPr>
            <a:xfrm>
              <a:off x="7298594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1" name="Полилиния 317">
              <a:extLst>
                <a:ext uri="{FF2B5EF4-FFF2-40B4-BE49-F238E27FC236}">
                  <a16:creationId xmlns:a16="http://schemas.microsoft.com/office/drawing/2014/main" id="{2F3FC4CA-87B0-6338-076F-60C83DA17D6B}"/>
                </a:ext>
              </a:extLst>
            </p:cNvPr>
            <p:cNvSpPr/>
            <p:nvPr/>
          </p:nvSpPr>
          <p:spPr>
            <a:xfrm>
              <a:off x="734323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2" name="Полилиния 318">
              <a:extLst>
                <a:ext uri="{FF2B5EF4-FFF2-40B4-BE49-F238E27FC236}">
                  <a16:creationId xmlns:a16="http://schemas.microsoft.com/office/drawing/2014/main" id="{ECA41447-1EA5-ACA0-BD5E-E93BBA8A74A4}"/>
                </a:ext>
              </a:extLst>
            </p:cNvPr>
            <p:cNvSpPr/>
            <p:nvPr/>
          </p:nvSpPr>
          <p:spPr>
            <a:xfrm>
              <a:off x="7477151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3" name="Полилиния 319">
              <a:extLst>
                <a:ext uri="{FF2B5EF4-FFF2-40B4-BE49-F238E27FC236}">
                  <a16:creationId xmlns:a16="http://schemas.microsoft.com/office/drawing/2014/main" id="{58290753-6275-D383-BF92-EB46BA10E144}"/>
                </a:ext>
              </a:extLst>
            </p:cNvPr>
            <p:cNvSpPr/>
            <p:nvPr/>
          </p:nvSpPr>
          <p:spPr>
            <a:xfrm>
              <a:off x="7655803" y="357397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4" name="Полилиния 320">
              <a:extLst>
                <a:ext uri="{FF2B5EF4-FFF2-40B4-BE49-F238E27FC236}">
                  <a16:creationId xmlns:a16="http://schemas.microsoft.com/office/drawing/2014/main" id="{DC52F89E-43FE-24F9-B15A-5DE25FF34707}"/>
                </a:ext>
              </a:extLst>
            </p:cNvPr>
            <p:cNvSpPr/>
            <p:nvPr/>
          </p:nvSpPr>
          <p:spPr>
            <a:xfrm>
              <a:off x="649499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5" name="Полилиния 321">
              <a:extLst>
                <a:ext uri="{FF2B5EF4-FFF2-40B4-BE49-F238E27FC236}">
                  <a16:creationId xmlns:a16="http://schemas.microsoft.com/office/drawing/2014/main" id="{D3CFDD5B-B86E-E2B6-7F6F-04C216546C91}"/>
                </a:ext>
              </a:extLst>
            </p:cNvPr>
            <p:cNvSpPr/>
            <p:nvPr/>
          </p:nvSpPr>
          <p:spPr>
            <a:xfrm>
              <a:off x="653963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6" name="Полилиния 322">
              <a:extLst>
                <a:ext uri="{FF2B5EF4-FFF2-40B4-BE49-F238E27FC236}">
                  <a16:creationId xmlns:a16="http://schemas.microsoft.com/office/drawing/2014/main" id="{80D72977-C4FD-29CA-C995-DFA2CC3D8724}"/>
                </a:ext>
              </a:extLst>
            </p:cNvPr>
            <p:cNvSpPr/>
            <p:nvPr/>
          </p:nvSpPr>
          <p:spPr>
            <a:xfrm>
              <a:off x="658427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7" name="Полилиния 323">
              <a:extLst>
                <a:ext uri="{FF2B5EF4-FFF2-40B4-BE49-F238E27FC236}">
                  <a16:creationId xmlns:a16="http://schemas.microsoft.com/office/drawing/2014/main" id="{AC5B02AF-025C-F1A7-AAE1-E9F52483C2B8}"/>
                </a:ext>
              </a:extLst>
            </p:cNvPr>
            <p:cNvSpPr/>
            <p:nvPr/>
          </p:nvSpPr>
          <p:spPr>
            <a:xfrm>
              <a:off x="667354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8" name="Полилиния 324">
              <a:extLst>
                <a:ext uri="{FF2B5EF4-FFF2-40B4-BE49-F238E27FC236}">
                  <a16:creationId xmlns:a16="http://schemas.microsoft.com/office/drawing/2014/main" id="{DED0432C-D28A-2E05-EA2F-E0159DDF6602}"/>
                </a:ext>
              </a:extLst>
            </p:cNvPr>
            <p:cNvSpPr/>
            <p:nvPr/>
          </p:nvSpPr>
          <p:spPr>
            <a:xfrm>
              <a:off x="676282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9" name="Полилиния 325">
              <a:extLst>
                <a:ext uri="{FF2B5EF4-FFF2-40B4-BE49-F238E27FC236}">
                  <a16:creationId xmlns:a16="http://schemas.microsoft.com/office/drawing/2014/main" id="{7A1A4D23-235E-88AD-79B6-497700A12193}"/>
                </a:ext>
              </a:extLst>
            </p:cNvPr>
            <p:cNvSpPr/>
            <p:nvPr/>
          </p:nvSpPr>
          <p:spPr>
            <a:xfrm>
              <a:off x="6807467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0" name="Полилиния 326">
              <a:extLst>
                <a:ext uri="{FF2B5EF4-FFF2-40B4-BE49-F238E27FC236}">
                  <a16:creationId xmlns:a16="http://schemas.microsoft.com/office/drawing/2014/main" id="{285E121A-34BE-9409-3D78-2F9977C0BCE4}"/>
                </a:ext>
              </a:extLst>
            </p:cNvPr>
            <p:cNvSpPr/>
            <p:nvPr/>
          </p:nvSpPr>
          <p:spPr>
            <a:xfrm>
              <a:off x="685210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1" name="Полилиния 327">
              <a:extLst>
                <a:ext uri="{FF2B5EF4-FFF2-40B4-BE49-F238E27FC236}">
                  <a16:creationId xmlns:a16="http://schemas.microsoft.com/office/drawing/2014/main" id="{03E71A14-7DF4-3FB1-1963-D341AFAE1433}"/>
                </a:ext>
              </a:extLst>
            </p:cNvPr>
            <p:cNvSpPr/>
            <p:nvPr/>
          </p:nvSpPr>
          <p:spPr>
            <a:xfrm>
              <a:off x="703075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2" name="Полилиния 328">
              <a:extLst>
                <a:ext uri="{FF2B5EF4-FFF2-40B4-BE49-F238E27FC236}">
                  <a16:creationId xmlns:a16="http://schemas.microsoft.com/office/drawing/2014/main" id="{3A61403D-DF6F-95DB-0BD8-FD543C1B9B73}"/>
                </a:ext>
              </a:extLst>
            </p:cNvPr>
            <p:cNvSpPr/>
            <p:nvPr/>
          </p:nvSpPr>
          <p:spPr>
            <a:xfrm>
              <a:off x="7075398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3" name="Полилиния 329">
              <a:extLst>
                <a:ext uri="{FF2B5EF4-FFF2-40B4-BE49-F238E27FC236}">
                  <a16:creationId xmlns:a16="http://schemas.microsoft.com/office/drawing/2014/main" id="{FF4BDEAC-9648-C7CC-F7C6-03FAABAFFED1}"/>
                </a:ext>
              </a:extLst>
            </p:cNvPr>
            <p:cNvSpPr/>
            <p:nvPr/>
          </p:nvSpPr>
          <p:spPr>
            <a:xfrm>
              <a:off x="7164676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4" name="Полилиния 330">
              <a:extLst>
                <a:ext uri="{FF2B5EF4-FFF2-40B4-BE49-F238E27FC236}">
                  <a16:creationId xmlns:a16="http://schemas.microsoft.com/office/drawing/2014/main" id="{CB78BCA4-6EED-D3EE-2124-E85B7AD6A70B}"/>
                </a:ext>
              </a:extLst>
            </p:cNvPr>
            <p:cNvSpPr/>
            <p:nvPr/>
          </p:nvSpPr>
          <p:spPr>
            <a:xfrm>
              <a:off x="720931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5" name="Полилиния 331">
              <a:extLst>
                <a:ext uri="{FF2B5EF4-FFF2-40B4-BE49-F238E27FC236}">
                  <a16:creationId xmlns:a16="http://schemas.microsoft.com/office/drawing/2014/main" id="{632AB895-9785-A4A1-662D-18A8CBFD982F}"/>
                </a:ext>
              </a:extLst>
            </p:cNvPr>
            <p:cNvSpPr/>
            <p:nvPr/>
          </p:nvSpPr>
          <p:spPr>
            <a:xfrm>
              <a:off x="7253955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6" name="Полилиния 332">
              <a:extLst>
                <a:ext uri="{FF2B5EF4-FFF2-40B4-BE49-F238E27FC236}">
                  <a16:creationId xmlns:a16="http://schemas.microsoft.com/office/drawing/2014/main" id="{2231F5F7-05BB-39FD-4C21-2E2826C4BA37}"/>
                </a:ext>
              </a:extLst>
            </p:cNvPr>
            <p:cNvSpPr/>
            <p:nvPr/>
          </p:nvSpPr>
          <p:spPr>
            <a:xfrm>
              <a:off x="7655803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7" name="Полилиния 333">
              <a:extLst>
                <a:ext uri="{FF2B5EF4-FFF2-40B4-BE49-F238E27FC236}">
                  <a16:creationId xmlns:a16="http://schemas.microsoft.com/office/drawing/2014/main" id="{6C088159-A691-5969-2244-54FAA7E5C13E}"/>
                </a:ext>
              </a:extLst>
            </p:cNvPr>
            <p:cNvSpPr/>
            <p:nvPr/>
          </p:nvSpPr>
          <p:spPr>
            <a:xfrm>
              <a:off x="774508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8" name="Полилиния 334">
              <a:extLst>
                <a:ext uri="{FF2B5EF4-FFF2-40B4-BE49-F238E27FC236}">
                  <a16:creationId xmlns:a16="http://schemas.microsoft.com/office/drawing/2014/main" id="{2B7C9BE2-ABB5-22F6-41B8-56F273C30064}"/>
                </a:ext>
              </a:extLst>
            </p:cNvPr>
            <p:cNvSpPr/>
            <p:nvPr/>
          </p:nvSpPr>
          <p:spPr>
            <a:xfrm>
              <a:off x="7789721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9" name="Полилиния 335">
              <a:extLst>
                <a:ext uri="{FF2B5EF4-FFF2-40B4-BE49-F238E27FC236}">
                  <a16:creationId xmlns:a16="http://schemas.microsoft.com/office/drawing/2014/main" id="{E92DC7DB-CB91-FBE7-A6E1-6AA3DB53FBF5}"/>
                </a:ext>
              </a:extLst>
            </p:cNvPr>
            <p:cNvSpPr/>
            <p:nvPr/>
          </p:nvSpPr>
          <p:spPr>
            <a:xfrm>
              <a:off x="7834360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10" name="Полилиния 336">
              <a:extLst>
                <a:ext uri="{FF2B5EF4-FFF2-40B4-BE49-F238E27FC236}">
                  <a16:creationId xmlns:a16="http://schemas.microsoft.com/office/drawing/2014/main" id="{8F71E416-75AA-EC84-81E6-658E068AB81D}"/>
                </a:ext>
              </a:extLst>
            </p:cNvPr>
            <p:cNvSpPr/>
            <p:nvPr/>
          </p:nvSpPr>
          <p:spPr>
            <a:xfrm>
              <a:off x="7878999" y="361844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11" name="Полилиния 337">
              <a:extLst>
                <a:ext uri="{FF2B5EF4-FFF2-40B4-BE49-F238E27FC236}">
                  <a16:creationId xmlns:a16="http://schemas.microsoft.com/office/drawing/2014/main" id="{A22CD9F2-C79E-7209-D979-7D644969561E}"/>
                </a:ext>
              </a:extLst>
            </p:cNvPr>
            <p:cNvSpPr/>
            <p:nvPr/>
          </p:nvSpPr>
          <p:spPr>
            <a:xfrm>
              <a:off x="645035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12" name="Полилиния 338">
              <a:extLst>
                <a:ext uri="{FF2B5EF4-FFF2-40B4-BE49-F238E27FC236}">
                  <a16:creationId xmlns:a16="http://schemas.microsoft.com/office/drawing/2014/main" id="{F89E9ECC-BD75-83F7-8101-DCEF9BC2EF44}"/>
                </a:ext>
              </a:extLst>
            </p:cNvPr>
            <p:cNvSpPr/>
            <p:nvPr/>
          </p:nvSpPr>
          <p:spPr>
            <a:xfrm>
              <a:off x="649499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13" name="Полилиния 339">
              <a:extLst>
                <a:ext uri="{FF2B5EF4-FFF2-40B4-BE49-F238E27FC236}">
                  <a16:creationId xmlns:a16="http://schemas.microsoft.com/office/drawing/2014/main" id="{57EC0E46-CEEB-93E0-EC46-BBF32D6D81B3}"/>
                </a:ext>
              </a:extLst>
            </p:cNvPr>
            <p:cNvSpPr/>
            <p:nvPr/>
          </p:nvSpPr>
          <p:spPr>
            <a:xfrm>
              <a:off x="658427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14" name="Полилиния 340">
              <a:extLst>
                <a:ext uri="{FF2B5EF4-FFF2-40B4-BE49-F238E27FC236}">
                  <a16:creationId xmlns:a16="http://schemas.microsoft.com/office/drawing/2014/main" id="{7A1D7AC5-6309-0A36-DCB8-419240180D23}"/>
                </a:ext>
              </a:extLst>
            </p:cNvPr>
            <p:cNvSpPr/>
            <p:nvPr/>
          </p:nvSpPr>
          <p:spPr>
            <a:xfrm>
              <a:off x="667354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15" name="Полилиния 341">
              <a:extLst>
                <a:ext uri="{FF2B5EF4-FFF2-40B4-BE49-F238E27FC236}">
                  <a16:creationId xmlns:a16="http://schemas.microsoft.com/office/drawing/2014/main" id="{A71174D3-11C4-4674-75A5-2D0DCFA33CC9}"/>
                </a:ext>
              </a:extLst>
            </p:cNvPr>
            <p:cNvSpPr/>
            <p:nvPr/>
          </p:nvSpPr>
          <p:spPr>
            <a:xfrm>
              <a:off x="671818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16" name="Полилиния 342">
              <a:extLst>
                <a:ext uri="{FF2B5EF4-FFF2-40B4-BE49-F238E27FC236}">
                  <a16:creationId xmlns:a16="http://schemas.microsoft.com/office/drawing/2014/main" id="{B2951F88-5DA3-06F3-A3BB-AFE78AA22FCD}"/>
                </a:ext>
              </a:extLst>
            </p:cNvPr>
            <p:cNvSpPr/>
            <p:nvPr/>
          </p:nvSpPr>
          <p:spPr>
            <a:xfrm>
              <a:off x="685210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17" name="Полилиния 343">
              <a:extLst>
                <a:ext uri="{FF2B5EF4-FFF2-40B4-BE49-F238E27FC236}">
                  <a16:creationId xmlns:a16="http://schemas.microsoft.com/office/drawing/2014/main" id="{8F24821F-2504-68CB-8A8D-3F59D9220BD0}"/>
                </a:ext>
              </a:extLst>
            </p:cNvPr>
            <p:cNvSpPr/>
            <p:nvPr/>
          </p:nvSpPr>
          <p:spPr>
            <a:xfrm>
              <a:off x="689684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18" name="Полилиния 344">
              <a:extLst>
                <a:ext uri="{FF2B5EF4-FFF2-40B4-BE49-F238E27FC236}">
                  <a16:creationId xmlns:a16="http://schemas.microsoft.com/office/drawing/2014/main" id="{BD2DA088-A7DD-7C9C-F07E-4BC46162A080}"/>
                </a:ext>
              </a:extLst>
            </p:cNvPr>
            <p:cNvSpPr/>
            <p:nvPr/>
          </p:nvSpPr>
          <p:spPr>
            <a:xfrm>
              <a:off x="7164676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19" name="Полилиния 345">
              <a:extLst>
                <a:ext uri="{FF2B5EF4-FFF2-40B4-BE49-F238E27FC236}">
                  <a16:creationId xmlns:a16="http://schemas.microsoft.com/office/drawing/2014/main" id="{871C6258-20D1-AFD2-2556-EE5CF66FFA92}"/>
                </a:ext>
              </a:extLst>
            </p:cNvPr>
            <p:cNvSpPr/>
            <p:nvPr/>
          </p:nvSpPr>
          <p:spPr>
            <a:xfrm>
              <a:off x="7253955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0" name="Полилиния 346">
              <a:extLst>
                <a:ext uri="{FF2B5EF4-FFF2-40B4-BE49-F238E27FC236}">
                  <a16:creationId xmlns:a16="http://schemas.microsoft.com/office/drawing/2014/main" id="{5CA3653A-7E45-674C-F421-8545A24E0876}"/>
                </a:ext>
              </a:extLst>
            </p:cNvPr>
            <p:cNvSpPr/>
            <p:nvPr/>
          </p:nvSpPr>
          <p:spPr>
            <a:xfrm>
              <a:off x="7343233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1" name="Полилиния 347">
              <a:extLst>
                <a:ext uri="{FF2B5EF4-FFF2-40B4-BE49-F238E27FC236}">
                  <a16:creationId xmlns:a16="http://schemas.microsoft.com/office/drawing/2014/main" id="{6C57A42F-362D-4650-39A3-2383A696AD65}"/>
                </a:ext>
              </a:extLst>
            </p:cNvPr>
            <p:cNvSpPr/>
            <p:nvPr/>
          </p:nvSpPr>
          <p:spPr>
            <a:xfrm>
              <a:off x="738787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2" name="Полилиния 348">
              <a:extLst>
                <a:ext uri="{FF2B5EF4-FFF2-40B4-BE49-F238E27FC236}">
                  <a16:creationId xmlns:a16="http://schemas.microsoft.com/office/drawing/2014/main" id="{DE19C23E-58BA-36E5-6FAE-E11C9C9F13C6}"/>
                </a:ext>
              </a:extLst>
            </p:cNvPr>
            <p:cNvSpPr/>
            <p:nvPr/>
          </p:nvSpPr>
          <p:spPr>
            <a:xfrm>
              <a:off x="747715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3" name="Полилиния 349">
              <a:extLst>
                <a:ext uri="{FF2B5EF4-FFF2-40B4-BE49-F238E27FC236}">
                  <a16:creationId xmlns:a16="http://schemas.microsoft.com/office/drawing/2014/main" id="{5D5DCA44-C828-9BAD-89F1-5B7750AB55F7}"/>
                </a:ext>
              </a:extLst>
            </p:cNvPr>
            <p:cNvSpPr/>
            <p:nvPr/>
          </p:nvSpPr>
          <p:spPr>
            <a:xfrm>
              <a:off x="756652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4" name="Полилиния 350">
              <a:extLst>
                <a:ext uri="{FF2B5EF4-FFF2-40B4-BE49-F238E27FC236}">
                  <a16:creationId xmlns:a16="http://schemas.microsoft.com/office/drawing/2014/main" id="{FF854D5A-6D46-BF7D-3DED-7E8AE0B7C3EB}"/>
                </a:ext>
              </a:extLst>
            </p:cNvPr>
            <p:cNvSpPr/>
            <p:nvPr/>
          </p:nvSpPr>
          <p:spPr>
            <a:xfrm>
              <a:off x="7611164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5" name="Полилиния 351">
              <a:extLst>
                <a:ext uri="{FF2B5EF4-FFF2-40B4-BE49-F238E27FC236}">
                  <a16:creationId xmlns:a16="http://schemas.microsoft.com/office/drawing/2014/main" id="{BD6D498E-2D66-D69C-EB4D-685F5EE229AC}"/>
                </a:ext>
              </a:extLst>
            </p:cNvPr>
            <p:cNvSpPr/>
            <p:nvPr/>
          </p:nvSpPr>
          <p:spPr>
            <a:xfrm>
              <a:off x="7700442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6" name="Полилиния 352">
              <a:extLst>
                <a:ext uri="{FF2B5EF4-FFF2-40B4-BE49-F238E27FC236}">
                  <a16:creationId xmlns:a16="http://schemas.microsoft.com/office/drawing/2014/main" id="{F13696F0-031A-1030-EDFF-3C4C979EAB9C}"/>
                </a:ext>
              </a:extLst>
            </p:cNvPr>
            <p:cNvSpPr/>
            <p:nvPr/>
          </p:nvSpPr>
          <p:spPr>
            <a:xfrm>
              <a:off x="7745081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7" name="Полилиния 353">
              <a:extLst>
                <a:ext uri="{FF2B5EF4-FFF2-40B4-BE49-F238E27FC236}">
                  <a16:creationId xmlns:a16="http://schemas.microsoft.com/office/drawing/2014/main" id="{0D8D965C-BD6F-25D9-5CCA-2AF7F97FDE64}"/>
                </a:ext>
              </a:extLst>
            </p:cNvPr>
            <p:cNvSpPr/>
            <p:nvPr/>
          </p:nvSpPr>
          <p:spPr>
            <a:xfrm>
              <a:off x="7878999" y="366291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8" name="Полилиния 354">
              <a:extLst>
                <a:ext uri="{FF2B5EF4-FFF2-40B4-BE49-F238E27FC236}">
                  <a16:creationId xmlns:a16="http://schemas.microsoft.com/office/drawing/2014/main" id="{246AAE8E-86EB-FB01-CC9D-955B60F5A085}"/>
                </a:ext>
              </a:extLst>
            </p:cNvPr>
            <p:cNvSpPr/>
            <p:nvPr/>
          </p:nvSpPr>
          <p:spPr>
            <a:xfrm>
              <a:off x="658427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9" name="Полилиния 355">
              <a:extLst>
                <a:ext uri="{FF2B5EF4-FFF2-40B4-BE49-F238E27FC236}">
                  <a16:creationId xmlns:a16="http://schemas.microsoft.com/office/drawing/2014/main" id="{BDFA719F-62DF-E66B-B845-275BE644FE5C}"/>
                </a:ext>
              </a:extLst>
            </p:cNvPr>
            <p:cNvSpPr/>
            <p:nvPr/>
          </p:nvSpPr>
          <p:spPr>
            <a:xfrm>
              <a:off x="662891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0" name="Полилиния 356">
              <a:extLst>
                <a:ext uri="{FF2B5EF4-FFF2-40B4-BE49-F238E27FC236}">
                  <a16:creationId xmlns:a16="http://schemas.microsoft.com/office/drawing/2014/main" id="{C3212C21-BB60-4F48-33A9-F194D51ED1A4}"/>
                </a:ext>
              </a:extLst>
            </p:cNvPr>
            <p:cNvSpPr/>
            <p:nvPr/>
          </p:nvSpPr>
          <p:spPr>
            <a:xfrm>
              <a:off x="667354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1" name="Полилиния 357">
              <a:extLst>
                <a:ext uri="{FF2B5EF4-FFF2-40B4-BE49-F238E27FC236}">
                  <a16:creationId xmlns:a16="http://schemas.microsoft.com/office/drawing/2014/main" id="{63E68FAE-7486-4BCB-A80F-2274A756B23F}"/>
                </a:ext>
              </a:extLst>
            </p:cNvPr>
            <p:cNvSpPr/>
            <p:nvPr/>
          </p:nvSpPr>
          <p:spPr>
            <a:xfrm>
              <a:off x="676282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2" name="Полилиния 358">
              <a:extLst>
                <a:ext uri="{FF2B5EF4-FFF2-40B4-BE49-F238E27FC236}">
                  <a16:creationId xmlns:a16="http://schemas.microsoft.com/office/drawing/2014/main" id="{A73785D0-F0C5-5B64-8085-BAAA721D89B8}"/>
                </a:ext>
              </a:extLst>
            </p:cNvPr>
            <p:cNvSpPr/>
            <p:nvPr/>
          </p:nvSpPr>
          <p:spPr>
            <a:xfrm>
              <a:off x="685210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3" name="Полилиния 359">
              <a:extLst>
                <a:ext uri="{FF2B5EF4-FFF2-40B4-BE49-F238E27FC236}">
                  <a16:creationId xmlns:a16="http://schemas.microsoft.com/office/drawing/2014/main" id="{0EDE91AD-0CA3-960C-5BC4-19B49BC13D1E}"/>
                </a:ext>
              </a:extLst>
            </p:cNvPr>
            <p:cNvSpPr/>
            <p:nvPr/>
          </p:nvSpPr>
          <p:spPr>
            <a:xfrm>
              <a:off x="694148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4" name="Полилиния 360">
              <a:extLst>
                <a:ext uri="{FF2B5EF4-FFF2-40B4-BE49-F238E27FC236}">
                  <a16:creationId xmlns:a16="http://schemas.microsoft.com/office/drawing/2014/main" id="{219B2726-4E6B-332D-E5DE-F4B07BD2A1F6}"/>
                </a:ext>
              </a:extLst>
            </p:cNvPr>
            <p:cNvSpPr/>
            <p:nvPr/>
          </p:nvSpPr>
          <p:spPr>
            <a:xfrm>
              <a:off x="6986119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5" name="Полилиния 361">
              <a:extLst>
                <a:ext uri="{FF2B5EF4-FFF2-40B4-BE49-F238E27FC236}">
                  <a16:creationId xmlns:a16="http://schemas.microsoft.com/office/drawing/2014/main" id="{402E4CDB-C718-9807-79AC-9A9CA01241D5}"/>
                </a:ext>
              </a:extLst>
            </p:cNvPr>
            <p:cNvSpPr/>
            <p:nvPr/>
          </p:nvSpPr>
          <p:spPr>
            <a:xfrm>
              <a:off x="703075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6" name="Полилиния 362">
              <a:extLst>
                <a:ext uri="{FF2B5EF4-FFF2-40B4-BE49-F238E27FC236}">
                  <a16:creationId xmlns:a16="http://schemas.microsoft.com/office/drawing/2014/main" id="{3F2C18A0-9946-5783-2417-5197FC60C319}"/>
                </a:ext>
              </a:extLst>
            </p:cNvPr>
            <p:cNvSpPr/>
            <p:nvPr/>
          </p:nvSpPr>
          <p:spPr>
            <a:xfrm>
              <a:off x="7075398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7" name="Полилиния 363">
              <a:extLst>
                <a:ext uri="{FF2B5EF4-FFF2-40B4-BE49-F238E27FC236}">
                  <a16:creationId xmlns:a16="http://schemas.microsoft.com/office/drawing/2014/main" id="{7C37D193-EDC2-8BDB-F724-79F6B2C427C2}"/>
                </a:ext>
              </a:extLst>
            </p:cNvPr>
            <p:cNvSpPr/>
            <p:nvPr/>
          </p:nvSpPr>
          <p:spPr>
            <a:xfrm>
              <a:off x="7120037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8" name="Полилиния 364">
              <a:extLst>
                <a:ext uri="{FF2B5EF4-FFF2-40B4-BE49-F238E27FC236}">
                  <a16:creationId xmlns:a16="http://schemas.microsoft.com/office/drawing/2014/main" id="{810270AD-049C-D9D2-27AD-D4785157588C}"/>
                </a:ext>
              </a:extLst>
            </p:cNvPr>
            <p:cNvSpPr/>
            <p:nvPr/>
          </p:nvSpPr>
          <p:spPr>
            <a:xfrm>
              <a:off x="7164676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9" name="Полилиния 365">
              <a:extLst>
                <a:ext uri="{FF2B5EF4-FFF2-40B4-BE49-F238E27FC236}">
                  <a16:creationId xmlns:a16="http://schemas.microsoft.com/office/drawing/2014/main" id="{B149DB3B-8FBD-F71F-5A42-FB8DA007CBBE}"/>
                </a:ext>
              </a:extLst>
            </p:cNvPr>
            <p:cNvSpPr/>
            <p:nvPr/>
          </p:nvSpPr>
          <p:spPr>
            <a:xfrm>
              <a:off x="7209315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0" name="Полилиния 366">
              <a:extLst>
                <a:ext uri="{FF2B5EF4-FFF2-40B4-BE49-F238E27FC236}">
                  <a16:creationId xmlns:a16="http://schemas.microsoft.com/office/drawing/2014/main" id="{5205619D-2249-11E8-940B-5FB714E62D4E}"/>
                </a:ext>
              </a:extLst>
            </p:cNvPr>
            <p:cNvSpPr/>
            <p:nvPr/>
          </p:nvSpPr>
          <p:spPr>
            <a:xfrm>
              <a:off x="7298594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1" name="Полилиния 367">
              <a:extLst>
                <a:ext uri="{FF2B5EF4-FFF2-40B4-BE49-F238E27FC236}">
                  <a16:creationId xmlns:a16="http://schemas.microsoft.com/office/drawing/2014/main" id="{A109491C-2519-E418-48CE-49361BCADD25}"/>
                </a:ext>
              </a:extLst>
            </p:cNvPr>
            <p:cNvSpPr/>
            <p:nvPr/>
          </p:nvSpPr>
          <p:spPr>
            <a:xfrm>
              <a:off x="7655803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2" name="Полилиния 368">
              <a:extLst>
                <a:ext uri="{FF2B5EF4-FFF2-40B4-BE49-F238E27FC236}">
                  <a16:creationId xmlns:a16="http://schemas.microsoft.com/office/drawing/2014/main" id="{3DAA3E12-8EB1-B274-153F-339EA1FB6A82}"/>
                </a:ext>
              </a:extLst>
            </p:cNvPr>
            <p:cNvSpPr/>
            <p:nvPr/>
          </p:nvSpPr>
          <p:spPr>
            <a:xfrm>
              <a:off x="7700442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3" name="Полилиния 369">
              <a:extLst>
                <a:ext uri="{FF2B5EF4-FFF2-40B4-BE49-F238E27FC236}">
                  <a16:creationId xmlns:a16="http://schemas.microsoft.com/office/drawing/2014/main" id="{9EB5BB12-A3D2-12F0-76F6-2E5B362A2DF1}"/>
                </a:ext>
              </a:extLst>
            </p:cNvPr>
            <p:cNvSpPr/>
            <p:nvPr/>
          </p:nvSpPr>
          <p:spPr>
            <a:xfrm>
              <a:off x="7745081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4" name="Полилиния 370">
              <a:extLst>
                <a:ext uri="{FF2B5EF4-FFF2-40B4-BE49-F238E27FC236}">
                  <a16:creationId xmlns:a16="http://schemas.microsoft.com/office/drawing/2014/main" id="{1F276952-00EA-34DD-3D3B-2DECC2861A0B}"/>
                </a:ext>
              </a:extLst>
            </p:cNvPr>
            <p:cNvSpPr/>
            <p:nvPr/>
          </p:nvSpPr>
          <p:spPr>
            <a:xfrm>
              <a:off x="7834360" y="3707388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5" name="Полилиния 371">
              <a:extLst>
                <a:ext uri="{FF2B5EF4-FFF2-40B4-BE49-F238E27FC236}">
                  <a16:creationId xmlns:a16="http://schemas.microsoft.com/office/drawing/2014/main" id="{71A6C0C1-381B-C0C4-A969-5F1E7EB2D0E9}"/>
                </a:ext>
              </a:extLst>
            </p:cNvPr>
            <p:cNvSpPr/>
            <p:nvPr/>
          </p:nvSpPr>
          <p:spPr>
            <a:xfrm>
              <a:off x="645035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6" name="Полилиния 372">
              <a:extLst>
                <a:ext uri="{FF2B5EF4-FFF2-40B4-BE49-F238E27FC236}">
                  <a16:creationId xmlns:a16="http://schemas.microsoft.com/office/drawing/2014/main" id="{6B78013E-2B1C-C6F4-30C3-77580E80AFB6}"/>
                </a:ext>
              </a:extLst>
            </p:cNvPr>
            <p:cNvSpPr/>
            <p:nvPr/>
          </p:nvSpPr>
          <p:spPr>
            <a:xfrm>
              <a:off x="649499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7" name="Полилиния 373">
              <a:extLst>
                <a:ext uri="{FF2B5EF4-FFF2-40B4-BE49-F238E27FC236}">
                  <a16:creationId xmlns:a16="http://schemas.microsoft.com/office/drawing/2014/main" id="{CD059DEF-9839-BD0B-03FB-5A2F185268BF}"/>
                </a:ext>
              </a:extLst>
            </p:cNvPr>
            <p:cNvSpPr/>
            <p:nvPr/>
          </p:nvSpPr>
          <p:spPr>
            <a:xfrm>
              <a:off x="653963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8" name="Полилиния 374">
              <a:extLst>
                <a:ext uri="{FF2B5EF4-FFF2-40B4-BE49-F238E27FC236}">
                  <a16:creationId xmlns:a16="http://schemas.microsoft.com/office/drawing/2014/main" id="{12E9E8C8-9B4D-C398-22FA-B4958CB2A561}"/>
                </a:ext>
              </a:extLst>
            </p:cNvPr>
            <p:cNvSpPr/>
            <p:nvPr/>
          </p:nvSpPr>
          <p:spPr>
            <a:xfrm>
              <a:off x="658427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9" name="Полилиния 375">
              <a:extLst>
                <a:ext uri="{FF2B5EF4-FFF2-40B4-BE49-F238E27FC236}">
                  <a16:creationId xmlns:a16="http://schemas.microsoft.com/office/drawing/2014/main" id="{D003BD92-3130-F281-D81D-727AB41E174D}"/>
                </a:ext>
              </a:extLst>
            </p:cNvPr>
            <p:cNvSpPr/>
            <p:nvPr/>
          </p:nvSpPr>
          <p:spPr>
            <a:xfrm>
              <a:off x="662891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50" name="Полилиния 376">
              <a:extLst>
                <a:ext uri="{FF2B5EF4-FFF2-40B4-BE49-F238E27FC236}">
                  <a16:creationId xmlns:a16="http://schemas.microsoft.com/office/drawing/2014/main" id="{6CD7AFBA-83C4-5D6B-6561-3E671B558699}"/>
                </a:ext>
              </a:extLst>
            </p:cNvPr>
            <p:cNvSpPr/>
            <p:nvPr/>
          </p:nvSpPr>
          <p:spPr>
            <a:xfrm>
              <a:off x="671818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51" name="Полилиния 377">
              <a:extLst>
                <a:ext uri="{FF2B5EF4-FFF2-40B4-BE49-F238E27FC236}">
                  <a16:creationId xmlns:a16="http://schemas.microsoft.com/office/drawing/2014/main" id="{FBD18798-F124-56D0-841A-8398B6DA2329}"/>
                </a:ext>
              </a:extLst>
            </p:cNvPr>
            <p:cNvSpPr/>
            <p:nvPr/>
          </p:nvSpPr>
          <p:spPr>
            <a:xfrm>
              <a:off x="698611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52" name="Полилиния 378">
              <a:extLst>
                <a:ext uri="{FF2B5EF4-FFF2-40B4-BE49-F238E27FC236}">
                  <a16:creationId xmlns:a16="http://schemas.microsoft.com/office/drawing/2014/main" id="{F15C1644-279D-DC66-25ED-026C3EADAA71}"/>
                </a:ext>
              </a:extLst>
            </p:cNvPr>
            <p:cNvSpPr/>
            <p:nvPr/>
          </p:nvSpPr>
          <p:spPr>
            <a:xfrm>
              <a:off x="7030758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53" name="Полилиния 379">
              <a:extLst>
                <a:ext uri="{FF2B5EF4-FFF2-40B4-BE49-F238E27FC236}">
                  <a16:creationId xmlns:a16="http://schemas.microsoft.com/office/drawing/2014/main" id="{23050843-0C3F-42A1-B804-352280DB74E2}"/>
                </a:ext>
              </a:extLst>
            </p:cNvPr>
            <p:cNvSpPr/>
            <p:nvPr/>
          </p:nvSpPr>
          <p:spPr>
            <a:xfrm>
              <a:off x="7120037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54" name="Полилиния 380">
              <a:extLst>
                <a:ext uri="{FF2B5EF4-FFF2-40B4-BE49-F238E27FC236}">
                  <a16:creationId xmlns:a16="http://schemas.microsoft.com/office/drawing/2014/main" id="{8441E261-E54B-1ED8-0343-76B017131DDE}"/>
                </a:ext>
              </a:extLst>
            </p:cNvPr>
            <p:cNvSpPr/>
            <p:nvPr/>
          </p:nvSpPr>
          <p:spPr>
            <a:xfrm>
              <a:off x="725395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55" name="Полилиния 381">
              <a:extLst>
                <a:ext uri="{FF2B5EF4-FFF2-40B4-BE49-F238E27FC236}">
                  <a16:creationId xmlns:a16="http://schemas.microsoft.com/office/drawing/2014/main" id="{57649984-CB3C-E764-0C35-40DCB3483634}"/>
                </a:ext>
              </a:extLst>
            </p:cNvPr>
            <p:cNvSpPr/>
            <p:nvPr/>
          </p:nvSpPr>
          <p:spPr>
            <a:xfrm>
              <a:off x="734323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56" name="Полилиния 382">
              <a:extLst>
                <a:ext uri="{FF2B5EF4-FFF2-40B4-BE49-F238E27FC236}">
                  <a16:creationId xmlns:a16="http://schemas.microsoft.com/office/drawing/2014/main" id="{9CA75A01-F0B0-9F0A-6702-E60746D3A586}"/>
                </a:ext>
              </a:extLst>
            </p:cNvPr>
            <p:cNvSpPr/>
            <p:nvPr/>
          </p:nvSpPr>
          <p:spPr>
            <a:xfrm>
              <a:off x="747715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57" name="Полилиния 383">
              <a:extLst>
                <a:ext uri="{FF2B5EF4-FFF2-40B4-BE49-F238E27FC236}">
                  <a16:creationId xmlns:a16="http://schemas.microsoft.com/office/drawing/2014/main" id="{5AF57C94-2390-7ACD-67F9-7A70ABDC959C}"/>
                </a:ext>
              </a:extLst>
            </p:cNvPr>
            <p:cNvSpPr/>
            <p:nvPr/>
          </p:nvSpPr>
          <p:spPr>
            <a:xfrm>
              <a:off x="7521885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58" name="Полилиния 384">
              <a:extLst>
                <a:ext uri="{FF2B5EF4-FFF2-40B4-BE49-F238E27FC236}">
                  <a16:creationId xmlns:a16="http://schemas.microsoft.com/office/drawing/2014/main" id="{8FB5E8E8-8CA8-62D1-05CF-FF0C90C1F9FA}"/>
                </a:ext>
              </a:extLst>
            </p:cNvPr>
            <p:cNvSpPr/>
            <p:nvPr/>
          </p:nvSpPr>
          <p:spPr>
            <a:xfrm>
              <a:off x="756652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59" name="Полилиния 385">
              <a:extLst>
                <a:ext uri="{FF2B5EF4-FFF2-40B4-BE49-F238E27FC236}">
                  <a16:creationId xmlns:a16="http://schemas.microsoft.com/office/drawing/2014/main" id="{503E77D1-8892-BD42-2F0C-7D15190503DC}"/>
                </a:ext>
              </a:extLst>
            </p:cNvPr>
            <p:cNvSpPr/>
            <p:nvPr/>
          </p:nvSpPr>
          <p:spPr>
            <a:xfrm>
              <a:off x="7611164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60" name="Полилиния 386">
              <a:extLst>
                <a:ext uri="{FF2B5EF4-FFF2-40B4-BE49-F238E27FC236}">
                  <a16:creationId xmlns:a16="http://schemas.microsoft.com/office/drawing/2014/main" id="{A291FA28-5264-A1C1-24AD-F587B77F619A}"/>
                </a:ext>
              </a:extLst>
            </p:cNvPr>
            <p:cNvSpPr/>
            <p:nvPr/>
          </p:nvSpPr>
          <p:spPr>
            <a:xfrm>
              <a:off x="7655803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61" name="Полилиния 387">
              <a:extLst>
                <a:ext uri="{FF2B5EF4-FFF2-40B4-BE49-F238E27FC236}">
                  <a16:creationId xmlns:a16="http://schemas.microsoft.com/office/drawing/2014/main" id="{9A4DFDDE-FE3A-4263-5B7F-ECFCD1213B97}"/>
                </a:ext>
              </a:extLst>
            </p:cNvPr>
            <p:cNvSpPr/>
            <p:nvPr/>
          </p:nvSpPr>
          <p:spPr>
            <a:xfrm>
              <a:off x="7700442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62" name="Полилиния 388">
              <a:extLst>
                <a:ext uri="{FF2B5EF4-FFF2-40B4-BE49-F238E27FC236}">
                  <a16:creationId xmlns:a16="http://schemas.microsoft.com/office/drawing/2014/main" id="{E90D5168-8C84-B369-C0E0-EE56422FB494}"/>
                </a:ext>
              </a:extLst>
            </p:cNvPr>
            <p:cNvSpPr/>
            <p:nvPr/>
          </p:nvSpPr>
          <p:spPr>
            <a:xfrm>
              <a:off x="7745081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63" name="Полилиния 389">
              <a:extLst>
                <a:ext uri="{FF2B5EF4-FFF2-40B4-BE49-F238E27FC236}">
                  <a16:creationId xmlns:a16="http://schemas.microsoft.com/office/drawing/2014/main" id="{E1E2AA09-1810-4E6B-90E1-65485798DC75}"/>
                </a:ext>
              </a:extLst>
            </p:cNvPr>
            <p:cNvSpPr/>
            <p:nvPr/>
          </p:nvSpPr>
          <p:spPr>
            <a:xfrm>
              <a:off x="7834360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64" name="Полилиния 390">
              <a:extLst>
                <a:ext uri="{FF2B5EF4-FFF2-40B4-BE49-F238E27FC236}">
                  <a16:creationId xmlns:a16="http://schemas.microsoft.com/office/drawing/2014/main" id="{85D2FFC1-158B-40CF-46C7-0BA83F22B578}"/>
                </a:ext>
              </a:extLst>
            </p:cNvPr>
            <p:cNvSpPr/>
            <p:nvPr/>
          </p:nvSpPr>
          <p:spPr>
            <a:xfrm>
              <a:off x="7878999" y="375195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65" name="Полилиния 391">
              <a:extLst>
                <a:ext uri="{FF2B5EF4-FFF2-40B4-BE49-F238E27FC236}">
                  <a16:creationId xmlns:a16="http://schemas.microsoft.com/office/drawing/2014/main" id="{A7B8E154-1BC6-99B4-C8E3-7F6BD77E7C76}"/>
                </a:ext>
              </a:extLst>
            </p:cNvPr>
            <p:cNvSpPr/>
            <p:nvPr/>
          </p:nvSpPr>
          <p:spPr>
            <a:xfrm>
              <a:off x="6807467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66" name="Полилиния 392">
              <a:extLst>
                <a:ext uri="{FF2B5EF4-FFF2-40B4-BE49-F238E27FC236}">
                  <a16:creationId xmlns:a16="http://schemas.microsoft.com/office/drawing/2014/main" id="{80FC56E0-E714-B8FC-767E-B1366C1B1F16}"/>
                </a:ext>
              </a:extLst>
            </p:cNvPr>
            <p:cNvSpPr/>
            <p:nvPr/>
          </p:nvSpPr>
          <p:spPr>
            <a:xfrm>
              <a:off x="7164676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67" name="Полилиния 393">
              <a:extLst>
                <a:ext uri="{FF2B5EF4-FFF2-40B4-BE49-F238E27FC236}">
                  <a16:creationId xmlns:a16="http://schemas.microsoft.com/office/drawing/2014/main" id="{DBB4B859-A2DA-472B-96AF-599C5DE32F48}"/>
                </a:ext>
              </a:extLst>
            </p:cNvPr>
            <p:cNvSpPr/>
            <p:nvPr/>
          </p:nvSpPr>
          <p:spPr>
            <a:xfrm>
              <a:off x="720931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68" name="Полилиния 394">
              <a:extLst>
                <a:ext uri="{FF2B5EF4-FFF2-40B4-BE49-F238E27FC236}">
                  <a16:creationId xmlns:a16="http://schemas.microsoft.com/office/drawing/2014/main" id="{8F18D5CF-7F59-5A40-99AD-692E335D3E44}"/>
                </a:ext>
              </a:extLst>
            </p:cNvPr>
            <p:cNvSpPr/>
            <p:nvPr/>
          </p:nvSpPr>
          <p:spPr>
            <a:xfrm>
              <a:off x="738787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69" name="Полилиния 395">
              <a:extLst>
                <a:ext uri="{FF2B5EF4-FFF2-40B4-BE49-F238E27FC236}">
                  <a16:creationId xmlns:a16="http://schemas.microsoft.com/office/drawing/2014/main" id="{F5FCE2A8-6E3B-2292-CA75-8F92CAB2346C}"/>
                </a:ext>
              </a:extLst>
            </p:cNvPr>
            <p:cNvSpPr/>
            <p:nvPr/>
          </p:nvSpPr>
          <p:spPr>
            <a:xfrm>
              <a:off x="7521885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0" name="Полилиния 396">
              <a:extLst>
                <a:ext uri="{FF2B5EF4-FFF2-40B4-BE49-F238E27FC236}">
                  <a16:creationId xmlns:a16="http://schemas.microsoft.com/office/drawing/2014/main" id="{E75D0DFB-8AA8-B1AD-429F-2D55E688CD09}"/>
                </a:ext>
              </a:extLst>
            </p:cNvPr>
            <p:cNvSpPr/>
            <p:nvPr/>
          </p:nvSpPr>
          <p:spPr>
            <a:xfrm>
              <a:off x="7700442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1" name="Полилиния 397">
              <a:extLst>
                <a:ext uri="{FF2B5EF4-FFF2-40B4-BE49-F238E27FC236}">
                  <a16:creationId xmlns:a16="http://schemas.microsoft.com/office/drawing/2014/main" id="{D899C960-A0A7-CCEC-EEBA-D34FA8B8578B}"/>
                </a:ext>
              </a:extLst>
            </p:cNvPr>
            <p:cNvSpPr/>
            <p:nvPr/>
          </p:nvSpPr>
          <p:spPr>
            <a:xfrm>
              <a:off x="7745081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2" name="Полилиния 398">
              <a:extLst>
                <a:ext uri="{FF2B5EF4-FFF2-40B4-BE49-F238E27FC236}">
                  <a16:creationId xmlns:a16="http://schemas.microsoft.com/office/drawing/2014/main" id="{E9AC6200-3DA8-F37F-E3A4-60A44FF57C71}"/>
                </a:ext>
              </a:extLst>
            </p:cNvPr>
            <p:cNvSpPr/>
            <p:nvPr/>
          </p:nvSpPr>
          <p:spPr>
            <a:xfrm>
              <a:off x="7834360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3" name="Полилиния 399">
              <a:extLst>
                <a:ext uri="{FF2B5EF4-FFF2-40B4-BE49-F238E27FC236}">
                  <a16:creationId xmlns:a16="http://schemas.microsoft.com/office/drawing/2014/main" id="{52632AB0-BDAF-23C8-937F-1153E7B9DFCB}"/>
                </a:ext>
              </a:extLst>
            </p:cNvPr>
            <p:cNvSpPr/>
            <p:nvPr/>
          </p:nvSpPr>
          <p:spPr>
            <a:xfrm>
              <a:off x="7878999" y="379642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4" name="Полилиния 400">
              <a:extLst>
                <a:ext uri="{FF2B5EF4-FFF2-40B4-BE49-F238E27FC236}">
                  <a16:creationId xmlns:a16="http://schemas.microsoft.com/office/drawing/2014/main" id="{CC2F959D-2F93-CB6C-92CA-7B0E8A15A63B}"/>
                </a:ext>
              </a:extLst>
            </p:cNvPr>
            <p:cNvSpPr/>
            <p:nvPr/>
          </p:nvSpPr>
          <p:spPr>
            <a:xfrm>
              <a:off x="680746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5" name="Полилиния 401">
              <a:extLst>
                <a:ext uri="{FF2B5EF4-FFF2-40B4-BE49-F238E27FC236}">
                  <a16:creationId xmlns:a16="http://schemas.microsoft.com/office/drawing/2014/main" id="{50593DDB-E345-8FE9-2BD8-03B8B1FEC829}"/>
                </a:ext>
              </a:extLst>
            </p:cNvPr>
            <p:cNvSpPr/>
            <p:nvPr/>
          </p:nvSpPr>
          <p:spPr>
            <a:xfrm>
              <a:off x="685210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6" name="Полилиния 402">
              <a:extLst>
                <a:ext uri="{FF2B5EF4-FFF2-40B4-BE49-F238E27FC236}">
                  <a16:creationId xmlns:a16="http://schemas.microsoft.com/office/drawing/2014/main" id="{5D6760EA-284B-FD09-D4F5-0A889A24E0C6}"/>
                </a:ext>
              </a:extLst>
            </p:cNvPr>
            <p:cNvSpPr/>
            <p:nvPr/>
          </p:nvSpPr>
          <p:spPr>
            <a:xfrm>
              <a:off x="689684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7" name="Полилиния 403">
              <a:extLst>
                <a:ext uri="{FF2B5EF4-FFF2-40B4-BE49-F238E27FC236}">
                  <a16:creationId xmlns:a16="http://schemas.microsoft.com/office/drawing/2014/main" id="{9305702D-368D-A6B4-3915-7732B9D8FD9D}"/>
                </a:ext>
              </a:extLst>
            </p:cNvPr>
            <p:cNvSpPr/>
            <p:nvPr/>
          </p:nvSpPr>
          <p:spPr>
            <a:xfrm>
              <a:off x="703075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8" name="Полилиния 404">
              <a:extLst>
                <a:ext uri="{FF2B5EF4-FFF2-40B4-BE49-F238E27FC236}">
                  <a16:creationId xmlns:a16="http://schemas.microsoft.com/office/drawing/2014/main" id="{CB0D08A8-570B-B021-4C5B-553D8416AF11}"/>
                </a:ext>
              </a:extLst>
            </p:cNvPr>
            <p:cNvSpPr/>
            <p:nvPr/>
          </p:nvSpPr>
          <p:spPr>
            <a:xfrm>
              <a:off x="7075398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9" name="Полилиния 405">
              <a:extLst>
                <a:ext uri="{FF2B5EF4-FFF2-40B4-BE49-F238E27FC236}">
                  <a16:creationId xmlns:a16="http://schemas.microsoft.com/office/drawing/2014/main" id="{7EB6D483-096B-BF25-9D61-B5566C9F2CC6}"/>
                </a:ext>
              </a:extLst>
            </p:cNvPr>
            <p:cNvSpPr/>
            <p:nvPr/>
          </p:nvSpPr>
          <p:spPr>
            <a:xfrm>
              <a:off x="7120037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0" name="Полилиния 406">
              <a:extLst>
                <a:ext uri="{FF2B5EF4-FFF2-40B4-BE49-F238E27FC236}">
                  <a16:creationId xmlns:a16="http://schemas.microsoft.com/office/drawing/2014/main" id="{33ADCFED-486E-C550-4828-EF2879A16353}"/>
                </a:ext>
              </a:extLst>
            </p:cNvPr>
            <p:cNvSpPr/>
            <p:nvPr/>
          </p:nvSpPr>
          <p:spPr>
            <a:xfrm>
              <a:off x="7164676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1" name="Полилиния 407">
              <a:extLst>
                <a:ext uri="{FF2B5EF4-FFF2-40B4-BE49-F238E27FC236}">
                  <a16:creationId xmlns:a16="http://schemas.microsoft.com/office/drawing/2014/main" id="{041C428B-6474-71B7-ABFD-B23C5A0EEEEF}"/>
                </a:ext>
              </a:extLst>
            </p:cNvPr>
            <p:cNvSpPr/>
            <p:nvPr/>
          </p:nvSpPr>
          <p:spPr>
            <a:xfrm>
              <a:off x="729859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2" name="Полилиния 408">
              <a:extLst>
                <a:ext uri="{FF2B5EF4-FFF2-40B4-BE49-F238E27FC236}">
                  <a16:creationId xmlns:a16="http://schemas.microsoft.com/office/drawing/2014/main" id="{8060F6BA-075B-9464-2A5F-E4B1E6B008E4}"/>
                </a:ext>
              </a:extLst>
            </p:cNvPr>
            <p:cNvSpPr/>
            <p:nvPr/>
          </p:nvSpPr>
          <p:spPr>
            <a:xfrm>
              <a:off x="7343233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3" name="Полилиния 409">
              <a:extLst>
                <a:ext uri="{FF2B5EF4-FFF2-40B4-BE49-F238E27FC236}">
                  <a16:creationId xmlns:a16="http://schemas.microsoft.com/office/drawing/2014/main" id="{2FF71003-C048-7CEC-60C6-8F68D01D2F84}"/>
                </a:ext>
              </a:extLst>
            </p:cNvPr>
            <p:cNvSpPr/>
            <p:nvPr/>
          </p:nvSpPr>
          <p:spPr>
            <a:xfrm>
              <a:off x="7521885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4" name="Полилиния 410">
              <a:extLst>
                <a:ext uri="{FF2B5EF4-FFF2-40B4-BE49-F238E27FC236}">
                  <a16:creationId xmlns:a16="http://schemas.microsoft.com/office/drawing/2014/main" id="{FE4C7F69-8BB1-4B37-8534-5CD650389B84}"/>
                </a:ext>
              </a:extLst>
            </p:cNvPr>
            <p:cNvSpPr/>
            <p:nvPr/>
          </p:nvSpPr>
          <p:spPr>
            <a:xfrm>
              <a:off x="7611164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5" name="Полилиния 411">
              <a:extLst>
                <a:ext uri="{FF2B5EF4-FFF2-40B4-BE49-F238E27FC236}">
                  <a16:creationId xmlns:a16="http://schemas.microsoft.com/office/drawing/2014/main" id="{A9DA5A67-7382-B898-FDF5-F69E26046E53}"/>
                </a:ext>
              </a:extLst>
            </p:cNvPr>
            <p:cNvSpPr/>
            <p:nvPr/>
          </p:nvSpPr>
          <p:spPr>
            <a:xfrm>
              <a:off x="7700442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6" name="Полилиния 412">
              <a:extLst>
                <a:ext uri="{FF2B5EF4-FFF2-40B4-BE49-F238E27FC236}">
                  <a16:creationId xmlns:a16="http://schemas.microsoft.com/office/drawing/2014/main" id="{FBCB3FB8-113F-A5F3-8042-38EFC6A1A747}"/>
                </a:ext>
              </a:extLst>
            </p:cNvPr>
            <p:cNvSpPr/>
            <p:nvPr/>
          </p:nvSpPr>
          <p:spPr>
            <a:xfrm>
              <a:off x="7789721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7" name="Полилиния 413">
              <a:extLst>
                <a:ext uri="{FF2B5EF4-FFF2-40B4-BE49-F238E27FC236}">
                  <a16:creationId xmlns:a16="http://schemas.microsoft.com/office/drawing/2014/main" id="{E564540B-AD13-6E93-A361-FCF931549AA2}"/>
                </a:ext>
              </a:extLst>
            </p:cNvPr>
            <p:cNvSpPr/>
            <p:nvPr/>
          </p:nvSpPr>
          <p:spPr>
            <a:xfrm>
              <a:off x="7878999" y="384089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8" name="Полилиния 414">
              <a:extLst>
                <a:ext uri="{FF2B5EF4-FFF2-40B4-BE49-F238E27FC236}">
                  <a16:creationId xmlns:a16="http://schemas.microsoft.com/office/drawing/2014/main" id="{B04B9556-59B0-0E92-2AD5-23158AF9D8A0}"/>
                </a:ext>
              </a:extLst>
            </p:cNvPr>
            <p:cNvSpPr/>
            <p:nvPr/>
          </p:nvSpPr>
          <p:spPr>
            <a:xfrm>
              <a:off x="680746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9" name="Полилиния 415">
              <a:extLst>
                <a:ext uri="{FF2B5EF4-FFF2-40B4-BE49-F238E27FC236}">
                  <a16:creationId xmlns:a16="http://schemas.microsoft.com/office/drawing/2014/main" id="{6C3BBE00-893D-7A9A-EBBA-9CA741EBBDF8}"/>
                </a:ext>
              </a:extLst>
            </p:cNvPr>
            <p:cNvSpPr/>
            <p:nvPr/>
          </p:nvSpPr>
          <p:spPr>
            <a:xfrm>
              <a:off x="689684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0" name="Полилиния 416">
              <a:extLst>
                <a:ext uri="{FF2B5EF4-FFF2-40B4-BE49-F238E27FC236}">
                  <a16:creationId xmlns:a16="http://schemas.microsoft.com/office/drawing/2014/main" id="{B3E02C50-974F-B6E5-2DDD-607E0728C64E}"/>
                </a:ext>
              </a:extLst>
            </p:cNvPr>
            <p:cNvSpPr/>
            <p:nvPr/>
          </p:nvSpPr>
          <p:spPr>
            <a:xfrm>
              <a:off x="694148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1" name="Полилиния 417">
              <a:extLst>
                <a:ext uri="{FF2B5EF4-FFF2-40B4-BE49-F238E27FC236}">
                  <a16:creationId xmlns:a16="http://schemas.microsoft.com/office/drawing/2014/main" id="{01332B81-021A-46CC-646E-DCBA7862E5AC}"/>
                </a:ext>
              </a:extLst>
            </p:cNvPr>
            <p:cNvSpPr/>
            <p:nvPr/>
          </p:nvSpPr>
          <p:spPr>
            <a:xfrm>
              <a:off x="698611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2" name="Полилиния 418">
              <a:extLst>
                <a:ext uri="{FF2B5EF4-FFF2-40B4-BE49-F238E27FC236}">
                  <a16:creationId xmlns:a16="http://schemas.microsoft.com/office/drawing/2014/main" id="{699C63CD-BC74-D020-C537-3ADDD5816C90}"/>
                </a:ext>
              </a:extLst>
            </p:cNvPr>
            <p:cNvSpPr/>
            <p:nvPr/>
          </p:nvSpPr>
          <p:spPr>
            <a:xfrm>
              <a:off x="7120037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3" name="Полилиния 419">
              <a:extLst>
                <a:ext uri="{FF2B5EF4-FFF2-40B4-BE49-F238E27FC236}">
                  <a16:creationId xmlns:a16="http://schemas.microsoft.com/office/drawing/2014/main" id="{585F89B1-A634-16AB-767C-087D473FC128}"/>
                </a:ext>
              </a:extLst>
            </p:cNvPr>
            <p:cNvSpPr/>
            <p:nvPr/>
          </p:nvSpPr>
          <p:spPr>
            <a:xfrm>
              <a:off x="720931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4" name="Полилиния 420">
              <a:extLst>
                <a:ext uri="{FF2B5EF4-FFF2-40B4-BE49-F238E27FC236}">
                  <a16:creationId xmlns:a16="http://schemas.microsoft.com/office/drawing/2014/main" id="{88B52BEA-B963-2D8E-D418-A528FBB35D14}"/>
                </a:ext>
              </a:extLst>
            </p:cNvPr>
            <p:cNvSpPr/>
            <p:nvPr/>
          </p:nvSpPr>
          <p:spPr>
            <a:xfrm>
              <a:off x="725395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5" name="Полилиния 421">
              <a:extLst>
                <a:ext uri="{FF2B5EF4-FFF2-40B4-BE49-F238E27FC236}">
                  <a16:creationId xmlns:a16="http://schemas.microsoft.com/office/drawing/2014/main" id="{83C85993-2AE4-3C2E-7AB2-9D84CD79CBC0}"/>
                </a:ext>
              </a:extLst>
            </p:cNvPr>
            <p:cNvSpPr/>
            <p:nvPr/>
          </p:nvSpPr>
          <p:spPr>
            <a:xfrm>
              <a:off x="738787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6" name="Полилиния 422">
              <a:extLst>
                <a:ext uri="{FF2B5EF4-FFF2-40B4-BE49-F238E27FC236}">
                  <a16:creationId xmlns:a16="http://schemas.microsoft.com/office/drawing/2014/main" id="{F19362EF-16EF-CDDA-7881-A3BCBAA4023E}"/>
                </a:ext>
              </a:extLst>
            </p:cNvPr>
            <p:cNvSpPr/>
            <p:nvPr/>
          </p:nvSpPr>
          <p:spPr>
            <a:xfrm>
              <a:off x="747715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7" name="Полилиния 423">
              <a:extLst>
                <a:ext uri="{FF2B5EF4-FFF2-40B4-BE49-F238E27FC236}">
                  <a16:creationId xmlns:a16="http://schemas.microsoft.com/office/drawing/2014/main" id="{A514D3CE-1660-464C-5CEC-DD933779EBD1}"/>
                </a:ext>
              </a:extLst>
            </p:cNvPr>
            <p:cNvSpPr/>
            <p:nvPr/>
          </p:nvSpPr>
          <p:spPr>
            <a:xfrm>
              <a:off x="7521885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8" name="Полилиния 424">
              <a:extLst>
                <a:ext uri="{FF2B5EF4-FFF2-40B4-BE49-F238E27FC236}">
                  <a16:creationId xmlns:a16="http://schemas.microsoft.com/office/drawing/2014/main" id="{B011652C-24B7-5E92-D206-911F1BBD9EDE}"/>
                </a:ext>
              </a:extLst>
            </p:cNvPr>
            <p:cNvSpPr/>
            <p:nvPr/>
          </p:nvSpPr>
          <p:spPr>
            <a:xfrm>
              <a:off x="7700442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9" name="Полилиния 425">
              <a:extLst>
                <a:ext uri="{FF2B5EF4-FFF2-40B4-BE49-F238E27FC236}">
                  <a16:creationId xmlns:a16="http://schemas.microsoft.com/office/drawing/2014/main" id="{9FEE8FD3-9DD6-F74A-9DED-81689C38A317}"/>
                </a:ext>
              </a:extLst>
            </p:cNvPr>
            <p:cNvSpPr/>
            <p:nvPr/>
          </p:nvSpPr>
          <p:spPr>
            <a:xfrm>
              <a:off x="7745081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00" name="Полилиния 426">
              <a:extLst>
                <a:ext uri="{FF2B5EF4-FFF2-40B4-BE49-F238E27FC236}">
                  <a16:creationId xmlns:a16="http://schemas.microsoft.com/office/drawing/2014/main" id="{EBC2C2F7-2DA5-7799-0F3C-22264A844DE5}"/>
                </a:ext>
              </a:extLst>
            </p:cNvPr>
            <p:cNvSpPr/>
            <p:nvPr/>
          </p:nvSpPr>
          <p:spPr>
            <a:xfrm>
              <a:off x="7834360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01" name="Полилиния 427">
              <a:extLst>
                <a:ext uri="{FF2B5EF4-FFF2-40B4-BE49-F238E27FC236}">
                  <a16:creationId xmlns:a16="http://schemas.microsoft.com/office/drawing/2014/main" id="{C0C4D2D1-E833-4547-E2B0-5C8F28798F0D}"/>
                </a:ext>
              </a:extLst>
            </p:cNvPr>
            <p:cNvSpPr/>
            <p:nvPr/>
          </p:nvSpPr>
          <p:spPr>
            <a:xfrm>
              <a:off x="7878999" y="3885363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02" name="Полилиния 428">
              <a:extLst>
                <a:ext uri="{FF2B5EF4-FFF2-40B4-BE49-F238E27FC236}">
                  <a16:creationId xmlns:a16="http://schemas.microsoft.com/office/drawing/2014/main" id="{0B7CAD71-35ED-31AF-2263-201291699285}"/>
                </a:ext>
              </a:extLst>
            </p:cNvPr>
            <p:cNvSpPr/>
            <p:nvPr/>
          </p:nvSpPr>
          <p:spPr>
            <a:xfrm>
              <a:off x="689684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03" name="Полилиния 429">
              <a:extLst>
                <a:ext uri="{FF2B5EF4-FFF2-40B4-BE49-F238E27FC236}">
                  <a16:creationId xmlns:a16="http://schemas.microsoft.com/office/drawing/2014/main" id="{13C44121-C1FE-4122-4FA4-73FAF9CD5AB3}"/>
                </a:ext>
              </a:extLst>
            </p:cNvPr>
            <p:cNvSpPr/>
            <p:nvPr/>
          </p:nvSpPr>
          <p:spPr>
            <a:xfrm>
              <a:off x="6941480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04" name="Полилиния 430">
              <a:extLst>
                <a:ext uri="{FF2B5EF4-FFF2-40B4-BE49-F238E27FC236}">
                  <a16:creationId xmlns:a16="http://schemas.microsoft.com/office/drawing/2014/main" id="{12AEE08A-AC7F-8F80-3B7B-FA9A52B0C9F5}"/>
                </a:ext>
              </a:extLst>
            </p:cNvPr>
            <p:cNvSpPr/>
            <p:nvPr/>
          </p:nvSpPr>
          <p:spPr>
            <a:xfrm>
              <a:off x="6986119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05" name="Полилиния 431">
              <a:extLst>
                <a:ext uri="{FF2B5EF4-FFF2-40B4-BE49-F238E27FC236}">
                  <a16:creationId xmlns:a16="http://schemas.microsoft.com/office/drawing/2014/main" id="{6E769084-40C4-0833-A341-FCF06CC7BDFA}"/>
                </a:ext>
              </a:extLst>
            </p:cNvPr>
            <p:cNvSpPr/>
            <p:nvPr/>
          </p:nvSpPr>
          <p:spPr>
            <a:xfrm>
              <a:off x="703075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06" name="Полилиния 432">
              <a:extLst>
                <a:ext uri="{FF2B5EF4-FFF2-40B4-BE49-F238E27FC236}">
                  <a16:creationId xmlns:a16="http://schemas.microsoft.com/office/drawing/2014/main" id="{8AFD4712-EE90-724A-6438-5523EC35D8F6}"/>
                </a:ext>
              </a:extLst>
            </p:cNvPr>
            <p:cNvSpPr/>
            <p:nvPr/>
          </p:nvSpPr>
          <p:spPr>
            <a:xfrm>
              <a:off x="7075398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07" name="Полилиния 433">
              <a:extLst>
                <a:ext uri="{FF2B5EF4-FFF2-40B4-BE49-F238E27FC236}">
                  <a16:creationId xmlns:a16="http://schemas.microsoft.com/office/drawing/2014/main" id="{3850A9D9-1769-B719-B4A1-60459C1BCC17}"/>
                </a:ext>
              </a:extLst>
            </p:cNvPr>
            <p:cNvSpPr/>
            <p:nvPr/>
          </p:nvSpPr>
          <p:spPr>
            <a:xfrm>
              <a:off x="7120037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08" name="Полилиния 434">
              <a:extLst>
                <a:ext uri="{FF2B5EF4-FFF2-40B4-BE49-F238E27FC236}">
                  <a16:creationId xmlns:a16="http://schemas.microsoft.com/office/drawing/2014/main" id="{5AEDBB85-C837-40C0-5BFF-A6C2F5D656E9}"/>
                </a:ext>
              </a:extLst>
            </p:cNvPr>
            <p:cNvSpPr/>
            <p:nvPr/>
          </p:nvSpPr>
          <p:spPr>
            <a:xfrm>
              <a:off x="729859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09" name="Полилиния 435">
              <a:extLst>
                <a:ext uri="{FF2B5EF4-FFF2-40B4-BE49-F238E27FC236}">
                  <a16:creationId xmlns:a16="http://schemas.microsoft.com/office/drawing/2014/main" id="{2243729F-58EC-547D-6FD7-748ACFE3AF8F}"/>
                </a:ext>
              </a:extLst>
            </p:cNvPr>
            <p:cNvSpPr/>
            <p:nvPr/>
          </p:nvSpPr>
          <p:spPr>
            <a:xfrm>
              <a:off x="734323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10" name="Полилиния 436">
              <a:extLst>
                <a:ext uri="{FF2B5EF4-FFF2-40B4-BE49-F238E27FC236}">
                  <a16:creationId xmlns:a16="http://schemas.microsoft.com/office/drawing/2014/main" id="{1BAA9ED8-19E8-7718-B86E-BD6FEE09141A}"/>
                </a:ext>
              </a:extLst>
            </p:cNvPr>
            <p:cNvSpPr/>
            <p:nvPr/>
          </p:nvSpPr>
          <p:spPr>
            <a:xfrm>
              <a:off x="738787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11" name="Полилиния 437">
              <a:extLst>
                <a:ext uri="{FF2B5EF4-FFF2-40B4-BE49-F238E27FC236}">
                  <a16:creationId xmlns:a16="http://schemas.microsoft.com/office/drawing/2014/main" id="{98093821-092B-409C-A887-FAEBA3AC0801}"/>
                </a:ext>
              </a:extLst>
            </p:cNvPr>
            <p:cNvSpPr/>
            <p:nvPr/>
          </p:nvSpPr>
          <p:spPr>
            <a:xfrm>
              <a:off x="747715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12" name="Полилиния 438">
              <a:extLst>
                <a:ext uri="{FF2B5EF4-FFF2-40B4-BE49-F238E27FC236}">
                  <a16:creationId xmlns:a16="http://schemas.microsoft.com/office/drawing/2014/main" id="{45DA8D23-CBF7-246E-7C78-EB1C18CD573E}"/>
                </a:ext>
              </a:extLst>
            </p:cNvPr>
            <p:cNvSpPr/>
            <p:nvPr/>
          </p:nvSpPr>
          <p:spPr>
            <a:xfrm>
              <a:off x="7521885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13" name="Полилиния 439">
              <a:extLst>
                <a:ext uri="{FF2B5EF4-FFF2-40B4-BE49-F238E27FC236}">
                  <a16:creationId xmlns:a16="http://schemas.microsoft.com/office/drawing/2014/main" id="{4F18657D-A87D-94F7-33F4-07E770036CCF}"/>
                </a:ext>
              </a:extLst>
            </p:cNvPr>
            <p:cNvSpPr/>
            <p:nvPr/>
          </p:nvSpPr>
          <p:spPr>
            <a:xfrm>
              <a:off x="756652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14" name="Полилиния 440">
              <a:extLst>
                <a:ext uri="{FF2B5EF4-FFF2-40B4-BE49-F238E27FC236}">
                  <a16:creationId xmlns:a16="http://schemas.microsoft.com/office/drawing/2014/main" id="{E553F57C-F6CE-E0C0-9114-2A36E63263EA}"/>
                </a:ext>
              </a:extLst>
            </p:cNvPr>
            <p:cNvSpPr/>
            <p:nvPr/>
          </p:nvSpPr>
          <p:spPr>
            <a:xfrm>
              <a:off x="7611164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15" name="Полилиния 441">
              <a:extLst>
                <a:ext uri="{FF2B5EF4-FFF2-40B4-BE49-F238E27FC236}">
                  <a16:creationId xmlns:a16="http://schemas.microsoft.com/office/drawing/2014/main" id="{70D9AD47-729A-F8C5-A40D-CCB1607BD758}"/>
                </a:ext>
              </a:extLst>
            </p:cNvPr>
            <p:cNvSpPr/>
            <p:nvPr/>
          </p:nvSpPr>
          <p:spPr>
            <a:xfrm>
              <a:off x="7655803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16" name="Полилиния 442">
              <a:extLst>
                <a:ext uri="{FF2B5EF4-FFF2-40B4-BE49-F238E27FC236}">
                  <a16:creationId xmlns:a16="http://schemas.microsoft.com/office/drawing/2014/main" id="{875AEC6E-B5E5-7405-6A2A-4D364B9E3732}"/>
                </a:ext>
              </a:extLst>
            </p:cNvPr>
            <p:cNvSpPr/>
            <p:nvPr/>
          </p:nvSpPr>
          <p:spPr>
            <a:xfrm>
              <a:off x="7700442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17" name="Полилиния 443">
              <a:extLst>
                <a:ext uri="{FF2B5EF4-FFF2-40B4-BE49-F238E27FC236}">
                  <a16:creationId xmlns:a16="http://schemas.microsoft.com/office/drawing/2014/main" id="{F01A5CA4-5D2C-C816-3713-EFA3200EC1B1}"/>
                </a:ext>
              </a:extLst>
            </p:cNvPr>
            <p:cNvSpPr/>
            <p:nvPr/>
          </p:nvSpPr>
          <p:spPr>
            <a:xfrm>
              <a:off x="7745081" y="392983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18" name="Полилиния 444">
              <a:extLst>
                <a:ext uri="{FF2B5EF4-FFF2-40B4-BE49-F238E27FC236}">
                  <a16:creationId xmlns:a16="http://schemas.microsoft.com/office/drawing/2014/main" id="{8405535A-DA43-87D8-1888-A30FE07BE9FC}"/>
                </a:ext>
              </a:extLst>
            </p:cNvPr>
            <p:cNvSpPr/>
            <p:nvPr/>
          </p:nvSpPr>
          <p:spPr>
            <a:xfrm>
              <a:off x="685210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19" name="Полилиния 445">
              <a:extLst>
                <a:ext uri="{FF2B5EF4-FFF2-40B4-BE49-F238E27FC236}">
                  <a16:creationId xmlns:a16="http://schemas.microsoft.com/office/drawing/2014/main" id="{034BFCC5-0580-56A6-A1B8-41AF5CC7E7CA}"/>
                </a:ext>
              </a:extLst>
            </p:cNvPr>
            <p:cNvSpPr/>
            <p:nvPr/>
          </p:nvSpPr>
          <p:spPr>
            <a:xfrm>
              <a:off x="6896841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0" name="Полилиния 446">
              <a:extLst>
                <a:ext uri="{FF2B5EF4-FFF2-40B4-BE49-F238E27FC236}">
                  <a16:creationId xmlns:a16="http://schemas.microsoft.com/office/drawing/2014/main" id="{4241C1CD-1F7F-88C6-4CA4-7F57E080C589}"/>
                </a:ext>
              </a:extLst>
            </p:cNvPr>
            <p:cNvSpPr/>
            <p:nvPr/>
          </p:nvSpPr>
          <p:spPr>
            <a:xfrm>
              <a:off x="694148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1" name="Полилиния 447">
              <a:extLst>
                <a:ext uri="{FF2B5EF4-FFF2-40B4-BE49-F238E27FC236}">
                  <a16:creationId xmlns:a16="http://schemas.microsoft.com/office/drawing/2014/main" id="{BD99B6D2-372E-E672-B06D-8FB9F57DAD76}"/>
                </a:ext>
              </a:extLst>
            </p:cNvPr>
            <p:cNvSpPr/>
            <p:nvPr/>
          </p:nvSpPr>
          <p:spPr>
            <a:xfrm>
              <a:off x="7030758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2" name="Полилиния 448">
              <a:extLst>
                <a:ext uri="{FF2B5EF4-FFF2-40B4-BE49-F238E27FC236}">
                  <a16:creationId xmlns:a16="http://schemas.microsoft.com/office/drawing/2014/main" id="{D31E38BA-609D-3F8F-8BB0-7E8649F0A5E1}"/>
                </a:ext>
              </a:extLst>
            </p:cNvPr>
            <p:cNvSpPr/>
            <p:nvPr/>
          </p:nvSpPr>
          <p:spPr>
            <a:xfrm>
              <a:off x="7164676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3" name="Полилиния 449">
              <a:extLst>
                <a:ext uri="{FF2B5EF4-FFF2-40B4-BE49-F238E27FC236}">
                  <a16:creationId xmlns:a16="http://schemas.microsoft.com/office/drawing/2014/main" id="{BAFF0A1C-AED5-07BA-ADA0-DAE343394075}"/>
                </a:ext>
              </a:extLst>
            </p:cNvPr>
            <p:cNvSpPr/>
            <p:nvPr/>
          </p:nvSpPr>
          <p:spPr>
            <a:xfrm>
              <a:off x="7209315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4" name="Полилиния 450">
              <a:extLst>
                <a:ext uri="{FF2B5EF4-FFF2-40B4-BE49-F238E27FC236}">
                  <a16:creationId xmlns:a16="http://schemas.microsoft.com/office/drawing/2014/main" id="{8809A0FC-C911-3B99-2469-802B468B60F7}"/>
                </a:ext>
              </a:extLst>
            </p:cNvPr>
            <p:cNvSpPr/>
            <p:nvPr/>
          </p:nvSpPr>
          <p:spPr>
            <a:xfrm>
              <a:off x="734323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5" name="Полилиния 451">
              <a:extLst>
                <a:ext uri="{FF2B5EF4-FFF2-40B4-BE49-F238E27FC236}">
                  <a16:creationId xmlns:a16="http://schemas.microsoft.com/office/drawing/2014/main" id="{CBF175D8-9503-537D-E25A-10A50E0F6395}"/>
                </a:ext>
              </a:extLst>
            </p:cNvPr>
            <p:cNvSpPr/>
            <p:nvPr/>
          </p:nvSpPr>
          <p:spPr>
            <a:xfrm>
              <a:off x="738787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6" name="Полилиния 452">
              <a:extLst>
                <a:ext uri="{FF2B5EF4-FFF2-40B4-BE49-F238E27FC236}">
                  <a16:creationId xmlns:a16="http://schemas.microsoft.com/office/drawing/2014/main" id="{D7277E27-3B42-D416-5E34-9ABEB1AF6FA3}"/>
                </a:ext>
              </a:extLst>
            </p:cNvPr>
            <p:cNvSpPr/>
            <p:nvPr/>
          </p:nvSpPr>
          <p:spPr>
            <a:xfrm>
              <a:off x="7566524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5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7" name="Полилиния 453">
              <a:extLst>
                <a:ext uri="{FF2B5EF4-FFF2-40B4-BE49-F238E27FC236}">
                  <a16:creationId xmlns:a16="http://schemas.microsoft.com/office/drawing/2014/main" id="{D540F068-AED7-FD90-5F25-ACD4CBE2A47F}"/>
                </a:ext>
              </a:extLst>
            </p:cNvPr>
            <p:cNvSpPr/>
            <p:nvPr/>
          </p:nvSpPr>
          <p:spPr>
            <a:xfrm>
              <a:off x="7655803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8" name="Полилиния 454">
              <a:extLst>
                <a:ext uri="{FF2B5EF4-FFF2-40B4-BE49-F238E27FC236}">
                  <a16:creationId xmlns:a16="http://schemas.microsoft.com/office/drawing/2014/main" id="{A29A63DB-167F-887F-287F-0BBE8D3246EA}"/>
                </a:ext>
              </a:extLst>
            </p:cNvPr>
            <p:cNvSpPr/>
            <p:nvPr/>
          </p:nvSpPr>
          <p:spPr>
            <a:xfrm>
              <a:off x="7700442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9" name="Полилиния 455">
              <a:extLst>
                <a:ext uri="{FF2B5EF4-FFF2-40B4-BE49-F238E27FC236}">
                  <a16:creationId xmlns:a16="http://schemas.microsoft.com/office/drawing/2014/main" id="{7D0B8DEE-A883-9CA9-36C8-65F5C5974B2C}"/>
                </a:ext>
              </a:extLst>
            </p:cNvPr>
            <p:cNvSpPr/>
            <p:nvPr/>
          </p:nvSpPr>
          <p:spPr>
            <a:xfrm>
              <a:off x="7834360" y="3974304"/>
              <a:ext cx="44734" cy="44565"/>
            </a:xfrm>
            <a:custGeom>
              <a:avLst/>
              <a:gdLst>
                <a:gd name="connsiteX0" fmla="*/ 22367 w 44734"/>
                <a:gd name="connsiteY0" fmla="*/ 0 h 44565"/>
                <a:gd name="connsiteX1" fmla="*/ 44734 w 44734"/>
                <a:gd name="connsiteY1" fmla="*/ 22283 h 44565"/>
                <a:gd name="connsiteX2" fmla="*/ 22367 w 44734"/>
                <a:gd name="connsiteY2" fmla="*/ 44565 h 44565"/>
                <a:gd name="connsiteX3" fmla="*/ 0 w 44734"/>
                <a:gd name="connsiteY3" fmla="*/ 22283 h 44565"/>
                <a:gd name="connsiteX4" fmla="*/ 22367 w 44734"/>
                <a:gd name="connsiteY4" fmla="*/ 0 h 44565"/>
                <a:gd name="connsiteX5" fmla="*/ 22367 w 44734"/>
                <a:gd name="connsiteY5" fmla="*/ 0 h 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5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0" name="Полилиния 456">
              <a:extLst>
                <a:ext uri="{FF2B5EF4-FFF2-40B4-BE49-F238E27FC236}">
                  <a16:creationId xmlns:a16="http://schemas.microsoft.com/office/drawing/2014/main" id="{C71C8E57-F60D-9A03-BD8A-6DBD31158749}"/>
                </a:ext>
              </a:extLst>
            </p:cNvPr>
            <p:cNvSpPr/>
            <p:nvPr/>
          </p:nvSpPr>
          <p:spPr>
            <a:xfrm>
              <a:off x="6807467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1" name="Полилиния 457">
              <a:extLst>
                <a:ext uri="{FF2B5EF4-FFF2-40B4-BE49-F238E27FC236}">
                  <a16:creationId xmlns:a16="http://schemas.microsoft.com/office/drawing/2014/main" id="{B42D0E6B-2B01-6CC9-5850-1C852321D8CD}"/>
                </a:ext>
              </a:extLst>
            </p:cNvPr>
            <p:cNvSpPr/>
            <p:nvPr/>
          </p:nvSpPr>
          <p:spPr>
            <a:xfrm>
              <a:off x="685210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2" name="Полилиния 458">
              <a:extLst>
                <a:ext uri="{FF2B5EF4-FFF2-40B4-BE49-F238E27FC236}">
                  <a16:creationId xmlns:a16="http://schemas.microsoft.com/office/drawing/2014/main" id="{D7CF32F8-B75A-CFB5-0AFF-9D24320C51D8}"/>
                </a:ext>
              </a:extLst>
            </p:cNvPr>
            <p:cNvSpPr/>
            <p:nvPr/>
          </p:nvSpPr>
          <p:spPr>
            <a:xfrm>
              <a:off x="694148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3" name="Полилиния 459">
              <a:extLst>
                <a:ext uri="{FF2B5EF4-FFF2-40B4-BE49-F238E27FC236}">
                  <a16:creationId xmlns:a16="http://schemas.microsoft.com/office/drawing/2014/main" id="{033BD162-E646-F643-4ABB-568902EC91CE}"/>
                </a:ext>
              </a:extLst>
            </p:cNvPr>
            <p:cNvSpPr/>
            <p:nvPr/>
          </p:nvSpPr>
          <p:spPr>
            <a:xfrm>
              <a:off x="7075398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4" name="Полилиния 460">
              <a:extLst>
                <a:ext uri="{FF2B5EF4-FFF2-40B4-BE49-F238E27FC236}">
                  <a16:creationId xmlns:a16="http://schemas.microsoft.com/office/drawing/2014/main" id="{66C4DA21-8F1B-17B3-4F2C-4FC55D56722A}"/>
                </a:ext>
              </a:extLst>
            </p:cNvPr>
            <p:cNvSpPr/>
            <p:nvPr/>
          </p:nvSpPr>
          <p:spPr>
            <a:xfrm>
              <a:off x="7164676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5" name="Полилиния 461">
              <a:extLst>
                <a:ext uri="{FF2B5EF4-FFF2-40B4-BE49-F238E27FC236}">
                  <a16:creationId xmlns:a16="http://schemas.microsoft.com/office/drawing/2014/main" id="{93C4C010-916C-25DC-EB7D-F5B283B7CE4D}"/>
                </a:ext>
              </a:extLst>
            </p:cNvPr>
            <p:cNvSpPr/>
            <p:nvPr/>
          </p:nvSpPr>
          <p:spPr>
            <a:xfrm>
              <a:off x="720931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6" name="Полилиния 462">
              <a:extLst>
                <a:ext uri="{FF2B5EF4-FFF2-40B4-BE49-F238E27FC236}">
                  <a16:creationId xmlns:a16="http://schemas.microsoft.com/office/drawing/2014/main" id="{EA693384-3182-0E9D-4D51-BFA6476A2707}"/>
                </a:ext>
              </a:extLst>
            </p:cNvPr>
            <p:cNvSpPr/>
            <p:nvPr/>
          </p:nvSpPr>
          <p:spPr>
            <a:xfrm>
              <a:off x="725395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7" name="Полилиния 463">
              <a:extLst>
                <a:ext uri="{FF2B5EF4-FFF2-40B4-BE49-F238E27FC236}">
                  <a16:creationId xmlns:a16="http://schemas.microsoft.com/office/drawing/2014/main" id="{A6B3D653-953A-FF94-D412-1C914C8806B7}"/>
                </a:ext>
              </a:extLst>
            </p:cNvPr>
            <p:cNvSpPr/>
            <p:nvPr/>
          </p:nvSpPr>
          <p:spPr>
            <a:xfrm>
              <a:off x="7298594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8" name="Полилиния 464">
              <a:extLst>
                <a:ext uri="{FF2B5EF4-FFF2-40B4-BE49-F238E27FC236}">
                  <a16:creationId xmlns:a16="http://schemas.microsoft.com/office/drawing/2014/main" id="{D78B107D-135C-3D02-5066-D622232EAB3E}"/>
                </a:ext>
              </a:extLst>
            </p:cNvPr>
            <p:cNvSpPr/>
            <p:nvPr/>
          </p:nvSpPr>
          <p:spPr>
            <a:xfrm>
              <a:off x="7343233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9" name="Полилиния 465">
              <a:extLst>
                <a:ext uri="{FF2B5EF4-FFF2-40B4-BE49-F238E27FC236}">
                  <a16:creationId xmlns:a16="http://schemas.microsoft.com/office/drawing/2014/main" id="{FC71BB44-F3B7-7CD7-43BC-D88E2D496812}"/>
                </a:ext>
              </a:extLst>
            </p:cNvPr>
            <p:cNvSpPr/>
            <p:nvPr/>
          </p:nvSpPr>
          <p:spPr>
            <a:xfrm>
              <a:off x="743251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40" name="Полилиния 466">
              <a:extLst>
                <a:ext uri="{FF2B5EF4-FFF2-40B4-BE49-F238E27FC236}">
                  <a16:creationId xmlns:a16="http://schemas.microsoft.com/office/drawing/2014/main" id="{E38DBAD0-ED45-FC7C-32DD-2299D12D598A}"/>
                </a:ext>
              </a:extLst>
            </p:cNvPr>
            <p:cNvSpPr/>
            <p:nvPr/>
          </p:nvSpPr>
          <p:spPr>
            <a:xfrm>
              <a:off x="747715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41" name="Полилиния 467">
              <a:extLst>
                <a:ext uri="{FF2B5EF4-FFF2-40B4-BE49-F238E27FC236}">
                  <a16:creationId xmlns:a16="http://schemas.microsoft.com/office/drawing/2014/main" id="{D9DA8780-6DB3-F448-15BA-5C1B9A61DB03}"/>
                </a:ext>
              </a:extLst>
            </p:cNvPr>
            <p:cNvSpPr/>
            <p:nvPr/>
          </p:nvSpPr>
          <p:spPr>
            <a:xfrm>
              <a:off x="7521885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42" name="Полилиния 468">
              <a:extLst>
                <a:ext uri="{FF2B5EF4-FFF2-40B4-BE49-F238E27FC236}">
                  <a16:creationId xmlns:a16="http://schemas.microsoft.com/office/drawing/2014/main" id="{47CAA343-E049-0DD2-373E-E0E9D58F88FA}"/>
                </a:ext>
              </a:extLst>
            </p:cNvPr>
            <p:cNvSpPr/>
            <p:nvPr/>
          </p:nvSpPr>
          <p:spPr>
            <a:xfrm>
              <a:off x="7700442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43" name="Полилиния 469">
              <a:extLst>
                <a:ext uri="{FF2B5EF4-FFF2-40B4-BE49-F238E27FC236}">
                  <a16:creationId xmlns:a16="http://schemas.microsoft.com/office/drawing/2014/main" id="{F45B38C8-744A-FA41-0955-E302046C510D}"/>
                </a:ext>
              </a:extLst>
            </p:cNvPr>
            <p:cNvSpPr/>
            <p:nvPr/>
          </p:nvSpPr>
          <p:spPr>
            <a:xfrm>
              <a:off x="7745081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44" name="Полилиния 470">
              <a:extLst>
                <a:ext uri="{FF2B5EF4-FFF2-40B4-BE49-F238E27FC236}">
                  <a16:creationId xmlns:a16="http://schemas.microsoft.com/office/drawing/2014/main" id="{6B40DEFB-076C-8685-688D-70FCFB7CEFBE}"/>
                </a:ext>
              </a:extLst>
            </p:cNvPr>
            <p:cNvSpPr/>
            <p:nvPr/>
          </p:nvSpPr>
          <p:spPr>
            <a:xfrm>
              <a:off x="7834360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45" name="Полилиния 471">
              <a:extLst>
                <a:ext uri="{FF2B5EF4-FFF2-40B4-BE49-F238E27FC236}">
                  <a16:creationId xmlns:a16="http://schemas.microsoft.com/office/drawing/2014/main" id="{9A30BC52-EB05-AF92-B574-306120ACB298}"/>
                </a:ext>
              </a:extLst>
            </p:cNvPr>
            <p:cNvSpPr/>
            <p:nvPr/>
          </p:nvSpPr>
          <p:spPr>
            <a:xfrm>
              <a:off x="7878999" y="401877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46" name="Полилиния 472">
              <a:extLst>
                <a:ext uri="{FF2B5EF4-FFF2-40B4-BE49-F238E27FC236}">
                  <a16:creationId xmlns:a16="http://schemas.microsoft.com/office/drawing/2014/main" id="{E59A4662-1ABF-2D7D-B28A-E36D134F5BB3}"/>
                </a:ext>
              </a:extLst>
            </p:cNvPr>
            <p:cNvSpPr/>
            <p:nvPr/>
          </p:nvSpPr>
          <p:spPr>
            <a:xfrm>
              <a:off x="6941480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47" name="Полилиния 473">
              <a:extLst>
                <a:ext uri="{FF2B5EF4-FFF2-40B4-BE49-F238E27FC236}">
                  <a16:creationId xmlns:a16="http://schemas.microsoft.com/office/drawing/2014/main" id="{2DF83A16-D31A-61E8-1038-F609EBF2182E}"/>
                </a:ext>
              </a:extLst>
            </p:cNvPr>
            <p:cNvSpPr/>
            <p:nvPr/>
          </p:nvSpPr>
          <p:spPr>
            <a:xfrm>
              <a:off x="6986119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48" name="Полилиния 474">
              <a:extLst>
                <a:ext uri="{FF2B5EF4-FFF2-40B4-BE49-F238E27FC236}">
                  <a16:creationId xmlns:a16="http://schemas.microsoft.com/office/drawing/2014/main" id="{4EB73791-72B4-D51E-F0E4-87DAC70634B0}"/>
                </a:ext>
              </a:extLst>
            </p:cNvPr>
            <p:cNvSpPr/>
            <p:nvPr/>
          </p:nvSpPr>
          <p:spPr>
            <a:xfrm>
              <a:off x="7120037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49" name="Полилиния 475">
              <a:extLst>
                <a:ext uri="{FF2B5EF4-FFF2-40B4-BE49-F238E27FC236}">
                  <a16:creationId xmlns:a16="http://schemas.microsoft.com/office/drawing/2014/main" id="{66D60006-9CF7-526F-6DAE-AAA8EA6A4605}"/>
                </a:ext>
              </a:extLst>
            </p:cNvPr>
            <p:cNvSpPr/>
            <p:nvPr/>
          </p:nvSpPr>
          <p:spPr>
            <a:xfrm>
              <a:off x="7253955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50" name="Полилиния 476">
              <a:extLst>
                <a:ext uri="{FF2B5EF4-FFF2-40B4-BE49-F238E27FC236}">
                  <a16:creationId xmlns:a16="http://schemas.microsoft.com/office/drawing/2014/main" id="{5C454B20-8D3C-2BD0-BE7D-B9AEF942C808}"/>
                </a:ext>
              </a:extLst>
            </p:cNvPr>
            <p:cNvSpPr/>
            <p:nvPr/>
          </p:nvSpPr>
          <p:spPr>
            <a:xfrm>
              <a:off x="729859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51" name="Полилиния 477">
              <a:extLst>
                <a:ext uri="{FF2B5EF4-FFF2-40B4-BE49-F238E27FC236}">
                  <a16:creationId xmlns:a16="http://schemas.microsoft.com/office/drawing/2014/main" id="{6B2A305D-72DD-EAE4-A446-44B255B87857}"/>
                </a:ext>
              </a:extLst>
            </p:cNvPr>
            <p:cNvSpPr/>
            <p:nvPr/>
          </p:nvSpPr>
          <p:spPr>
            <a:xfrm>
              <a:off x="7387872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52" name="Полилиния 478">
              <a:extLst>
                <a:ext uri="{FF2B5EF4-FFF2-40B4-BE49-F238E27FC236}">
                  <a16:creationId xmlns:a16="http://schemas.microsoft.com/office/drawing/2014/main" id="{49FCE608-A3D5-066D-CC26-8D31A4397414}"/>
                </a:ext>
              </a:extLst>
            </p:cNvPr>
            <p:cNvSpPr/>
            <p:nvPr/>
          </p:nvSpPr>
          <p:spPr>
            <a:xfrm>
              <a:off x="747715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3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53" name="Полилиния 479">
              <a:extLst>
                <a:ext uri="{FF2B5EF4-FFF2-40B4-BE49-F238E27FC236}">
                  <a16:creationId xmlns:a16="http://schemas.microsoft.com/office/drawing/2014/main" id="{36DD5D00-7462-7C09-D152-95F9D0608E97}"/>
                </a:ext>
              </a:extLst>
            </p:cNvPr>
            <p:cNvSpPr/>
            <p:nvPr/>
          </p:nvSpPr>
          <p:spPr>
            <a:xfrm>
              <a:off x="756652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54" name="Полилиния 480">
              <a:extLst>
                <a:ext uri="{FF2B5EF4-FFF2-40B4-BE49-F238E27FC236}">
                  <a16:creationId xmlns:a16="http://schemas.microsoft.com/office/drawing/2014/main" id="{7972A63C-76A4-3790-B043-B905A65C628C}"/>
                </a:ext>
              </a:extLst>
            </p:cNvPr>
            <p:cNvSpPr/>
            <p:nvPr/>
          </p:nvSpPr>
          <p:spPr>
            <a:xfrm>
              <a:off x="7611164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3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55" name="Полилиния 481">
              <a:extLst>
                <a:ext uri="{FF2B5EF4-FFF2-40B4-BE49-F238E27FC236}">
                  <a16:creationId xmlns:a16="http://schemas.microsoft.com/office/drawing/2014/main" id="{19AE1B44-EAD8-4D8E-AEE5-D1B4D3879EE6}"/>
                </a:ext>
              </a:extLst>
            </p:cNvPr>
            <p:cNvSpPr/>
            <p:nvPr/>
          </p:nvSpPr>
          <p:spPr>
            <a:xfrm>
              <a:off x="7745081" y="406324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3 h 44564"/>
                <a:gd name="connsiteX2" fmla="*/ 22367 w 44734"/>
                <a:gd name="connsiteY2" fmla="*/ 44565 h 44564"/>
                <a:gd name="connsiteX3" fmla="*/ 0 w 44734"/>
                <a:gd name="connsiteY3" fmla="*/ 22283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3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3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56" name="Полилиния 482">
              <a:extLst>
                <a:ext uri="{FF2B5EF4-FFF2-40B4-BE49-F238E27FC236}">
                  <a16:creationId xmlns:a16="http://schemas.microsoft.com/office/drawing/2014/main" id="{65DF3986-B333-5422-EC92-E45B1FE95257}"/>
                </a:ext>
              </a:extLst>
            </p:cNvPr>
            <p:cNvSpPr/>
            <p:nvPr/>
          </p:nvSpPr>
          <p:spPr>
            <a:xfrm>
              <a:off x="6852106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57" name="Полилиния 483">
              <a:extLst>
                <a:ext uri="{FF2B5EF4-FFF2-40B4-BE49-F238E27FC236}">
                  <a16:creationId xmlns:a16="http://schemas.microsoft.com/office/drawing/2014/main" id="{01E56FED-2C05-2D90-BBD6-DFA86D40C5EA}"/>
                </a:ext>
              </a:extLst>
            </p:cNvPr>
            <p:cNvSpPr/>
            <p:nvPr/>
          </p:nvSpPr>
          <p:spPr>
            <a:xfrm>
              <a:off x="6896841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58" name="Полилиния 484">
              <a:extLst>
                <a:ext uri="{FF2B5EF4-FFF2-40B4-BE49-F238E27FC236}">
                  <a16:creationId xmlns:a16="http://schemas.microsoft.com/office/drawing/2014/main" id="{46662605-C7BE-DCA5-0E37-773E46503D83}"/>
                </a:ext>
              </a:extLst>
            </p:cNvPr>
            <p:cNvSpPr/>
            <p:nvPr/>
          </p:nvSpPr>
          <p:spPr>
            <a:xfrm>
              <a:off x="698611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59" name="Полилиния 485">
              <a:extLst>
                <a:ext uri="{FF2B5EF4-FFF2-40B4-BE49-F238E27FC236}">
                  <a16:creationId xmlns:a16="http://schemas.microsoft.com/office/drawing/2014/main" id="{4968F15B-EA5F-ADE0-D944-3640886F68CB}"/>
                </a:ext>
              </a:extLst>
            </p:cNvPr>
            <p:cNvSpPr/>
            <p:nvPr/>
          </p:nvSpPr>
          <p:spPr>
            <a:xfrm>
              <a:off x="703075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60" name="Полилиния 486">
              <a:extLst>
                <a:ext uri="{FF2B5EF4-FFF2-40B4-BE49-F238E27FC236}">
                  <a16:creationId xmlns:a16="http://schemas.microsoft.com/office/drawing/2014/main" id="{004F2E11-E5AD-A638-C66D-FDFE245E58B9}"/>
                </a:ext>
              </a:extLst>
            </p:cNvPr>
            <p:cNvSpPr/>
            <p:nvPr/>
          </p:nvSpPr>
          <p:spPr>
            <a:xfrm>
              <a:off x="7075398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61" name="Полилиния 487">
              <a:extLst>
                <a:ext uri="{FF2B5EF4-FFF2-40B4-BE49-F238E27FC236}">
                  <a16:creationId xmlns:a16="http://schemas.microsoft.com/office/drawing/2014/main" id="{329409A8-39C8-04C1-F9BD-8FAC14467304}"/>
                </a:ext>
              </a:extLst>
            </p:cNvPr>
            <p:cNvSpPr/>
            <p:nvPr/>
          </p:nvSpPr>
          <p:spPr>
            <a:xfrm>
              <a:off x="720931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62" name="Полилиния 488">
              <a:extLst>
                <a:ext uri="{FF2B5EF4-FFF2-40B4-BE49-F238E27FC236}">
                  <a16:creationId xmlns:a16="http://schemas.microsoft.com/office/drawing/2014/main" id="{85ACA208-6227-D2E6-A3A6-922AC585184F}"/>
                </a:ext>
              </a:extLst>
            </p:cNvPr>
            <p:cNvSpPr/>
            <p:nvPr/>
          </p:nvSpPr>
          <p:spPr>
            <a:xfrm>
              <a:off x="725395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63" name="Полилиния 489">
              <a:extLst>
                <a:ext uri="{FF2B5EF4-FFF2-40B4-BE49-F238E27FC236}">
                  <a16:creationId xmlns:a16="http://schemas.microsoft.com/office/drawing/2014/main" id="{BAFABACE-2695-7146-A198-7BE0870A67CC}"/>
                </a:ext>
              </a:extLst>
            </p:cNvPr>
            <p:cNvSpPr/>
            <p:nvPr/>
          </p:nvSpPr>
          <p:spPr>
            <a:xfrm>
              <a:off x="738787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64" name="Полилиния 490">
              <a:extLst>
                <a:ext uri="{FF2B5EF4-FFF2-40B4-BE49-F238E27FC236}">
                  <a16:creationId xmlns:a16="http://schemas.microsoft.com/office/drawing/2014/main" id="{3540E09B-5EC6-89BD-B15D-4F3A951B87E9}"/>
                </a:ext>
              </a:extLst>
            </p:cNvPr>
            <p:cNvSpPr/>
            <p:nvPr/>
          </p:nvSpPr>
          <p:spPr>
            <a:xfrm>
              <a:off x="7521885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5" y="9956"/>
                    <a:pt x="44735" y="22282"/>
                  </a:cubicBezTo>
                  <a:cubicBezTo>
                    <a:pt x="44735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65" name="Полилиния 491">
              <a:extLst>
                <a:ext uri="{FF2B5EF4-FFF2-40B4-BE49-F238E27FC236}">
                  <a16:creationId xmlns:a16="http://schemas.microsoft.com/office/drawing/2014/main" id="{822C7786-E8A2-DAD7-C630-1FA8991AB14C}"/>
                </a:ext>
              </a:extLst>
            </p:cNvPr>
            <p:cNvSpPr/>
            <p:nvPr/>
          </p:nvSpPr>
          <p:spPr>
            <a:xfrm>
              <a:off x="7700442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4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0" y="0"/>
                    <a:pt x="44734" y="9956"/>
                    <a:pt x="44734" y="22282"/>
                  </a:cubicBezTo>
                  <a:cubicBezTo>
                    <a:pt x="44734" y="34609"/>
                    <a:pt x="34740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66" name="Полилиния 492">
              <a:extLst>
                <a:ext uri="{FF2B5EF4-FFF2-40B4-BE49-F238E27FC236}">
                  <a16:creationId xmlns:a16="http://schemas.microsoft.com/office/drawing/2014/main" id="{5FF054BF-F8BF-2FAB-3E89-736EF27CC743}"/>
                </a:ext>
              </a:extLst>
            </p:cNvPr>
            <p:cNvSpPr/>
            <p:nvPr/>
          </p:nvSpPr>
          <p:spPr>
            <a:xfrm>
              <a:off x="7878999" y="4107714"/>
              <a:ext cx="44734" cy="44564"/>
            </a:xfrm>
            <a:custGeom>
              <a:avLst/>
              <a:gdLst>
                <a:gd name="connsiteX0" fmla="*/ 22367 w 44734"/>
                <a:gd name="connsiteY0" fmla="*/ 0 h 44564"/>
                <a:gd name="connsiteX1" fmla="*/ 44735 w 44734"/>
                <a:gd name="connsiteY1" fmla="*/ 22282 h 44564"/>
                <a:gd name="connsiteX2" fmla="*/ 22367 w 44734"/>
                <a:gd name="connsiteY2" fmla="*/ 44565 h 44564"/>
                <a:gd name="connsiteX3" fmla="*/ 0 w 44734"/>
                <a:gd name="connsiteY3" fmla="*/ 22282 h 44564"/>
                <a:gd name="connsiteX4" fmla="*/ 22367 w 44734"/>
                <a:gd name="connsiteY4" fmla="*/ 0 h 44564"/>
                <a:gd name="connsiteX5" fmla="*/ 22367 w 44734"/>
                <a:gd name="connsiteY5" fmla="*/ 0 h 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34" h="44564">
                  <a:moveTo>
                    <a:pt x="22367" y="0"/>
                  </a:moveTo>
                  <a:cubicBezTo>
                    <a:pt x="34741" y="0"/>
                    <a:pt x="44735" y="9956"/>
                    <a:pt x="44735" y="22282"/>
                  </a:cubicBezTo>
                  <a:cubicBezTo>
                    <a:pt x="44735" y="34609"/>
                    <a:pt x="34741" y="44565"/>
                    <a:pt x="22367" y="44565"/>
                  </a:cubicBezTo>
                  <a:cubicBezTo>
                    <a:pt x="9994" y="44565"/>
                    <a:pt x="0" y="34609"/>
                    <a:pt x="0" y="22282"/>
                  </a:cubicBezTo>
                  <a:cubicBezTo>
                    <a:pt x="0" y="9956"/>
                    <a:pt x="9994" y="0"/>
                    <a:pt x="22367" y="0"/>
                  </a:cubicBezTo>
                  <a:lnTo>
                    <a:pt x="22367" y="0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67" name="Полилиния 493">
              <a:extLst>
                <a:ext uri="{FF2B5EF4-FFF2-40B4-BE49-F238E27FC236}">
                  <a16:creationId xmlns:a16="http://schemas.microsoft.com/office/drawing/2014/main" id="{099FA572-38B0-A99A-E8C9-A6DAAD34D8B2}"/>
                </a:ext>
              </a:extLst>
            </p:cNvPr>
            <p:cNvSpPr/>
            <p:nvPr/>
          </p:nvSpPr>
          <p:spPr>
            <a:xfrm>
              <a:off x="645339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4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68" name="Полилиния 494">
              <a:extLst>
                <a:ext uri="{FF2B5EF4-FFF2-40B4-BE49-F238E27FC236}">
                  <a16:creationId xmlns:a16="http://schemas.microsoft.com/office/drawing/2014/main" id="{850BD2AF-A462-16BC-BEA6-06E06F2A5CEA}"/>
                </a:ext>
              </a:extLst>
            </p:cNvPr>
            <p:cNvSpPr/>
            <p:nvPr/>
          </p:nvSpPr>
          <p:spPr>
            <a:xfrm>
              <a:off x="7614209" y="2687515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4" y="0"/>
                    <a:pt x="0" y="68364"/>
                    <a:pt x="0" y="152659"/>
                  </a:cubicBezTo>
                  <a:cubicBezTo>
                    <a:pt x="0" y="236953"/>
                    <a:pt x="68624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4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2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69" name="Полилиния 495">
              <a:extLst>
                <a:ext uri="{FF2B5EF4-FFF2-40B4-BE49-F238E27FC236}">
                  <a16:creationId xmlns:a16="http://schemas.microsoft.com/office/drawing/2014/main" id="{2ACB5973-5AFF-7E71-BC7E-97A945A5587A}"/>
                </a:ext>
              </a:extLst>
            </p:cNvPr>
            <p:cNvSpPr/>
            <p:nvPr/>
          </p:nvSpPr>
          <p:spPr>
            <a:xfrm>
              <a:off x="6453399" y="3843927"/>
              <a:ext cx="306478" cy="305317"/>
            </a:xfrm>
            <a:custGeom>
              <a:avLst/>
              <a:gdLst>
                <a:gd name="connsiteX0" fmla="*/ 153239 w 306478"/>
                <a:gd name="connsiteY0" fmla="*/ 0 h 305317"/>
                <a:gd name="connsiteX1" fmla="*/ 0 w 306478"/>
                <a:gd name="connsiteY1" fmla="*/ 152659 h 305317"/>
                <a:gd name="connsiteX2" fmla="*/ 153239 w 306478"/>
                <a:gd name="connsiteY2" fmla="*/ 305317 h 305317"/>
                <a:gd name="connsiteX3" fmla="*/ 306478 w 306478"/>
                <a:gd name="connsiteY3" fmla="*/ 152659 h 305317"/>
                <a:gd name="connsiteX4" fmla="*/ 153239 w 306478"/>
                <a:gd name="connsiteY4" fmla="*/ 0 h 305317"/>
                <a:gd name="connsiteX5" fmla="*/ 153239 w 306478"/>
                <a:gd name="connsiteY5" fmla="*/ 0 h 305317"/>
                <a:gd name="connsiteX6" fmla="*/ 153239 w 306478"/>
                <a:gd name="connsiteY6" fmla="*/ 259425 h 305317"/>
                <a:gd name="connsiteX7" fmla="*/ 45972 w 306478"/>
                <a:gd name="connsiteY7" fmla="*/ 152564 h 305317"/>
                <a:gd name="connsiteX8" fmla="*/ 153239 w 306478"/>
                <a:gd name="connsiteY8" fmla="*/ 45703 h 305317"/>
                <a:gd name="connsiteX9" fmla="*/ 260507 w 306478"/>
                <a:gd name="connsiteY9" fmla="*/ 152564 h 305317"/>
                <a:gd name="connsiteX10" fmla="*/ 153239 w 306478"/>
                <a:gd name="connsiteY10" fmla="*/ 259425 h 305317"/>
                <a:gd name="connsiteX11" fmla="*/ 153239 w 306478"/>
                <a:gd name="connsiteY11" fmla="*/ 259425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6478" h="305317">
                  <a:moveTo>
                    <a:pt x="153239" y="0"/>
                  </a:moveTo>
                  <a:cubicBezTo>
                    <a:pt x="68625" y="0"/>
                    <a:pt x="0" y="68365"/>
                    <a:pt x="0" y="152659"/>
                  </a:cubicBezTo>
                  <a:cubicBezTo>
                    <a:pt x="0" y="236953"/>
                    <a:pt x="68625" y="305317"/>
                    <a:pt x="153239" y="305317"/>
                  </a:cubicBezTo>
                  <a:cubicBezTo>
                    <a:pt x="237854" y="305317"/>
                    <a:pt x="306478" y="236953"/>
                    <a:pt x="306478" y="152659"/>
                  </a:cubicBezTo>
                  <a:cubicBezTo>
                    <a:pt x="306478" y="68365"/>
                    <a:pt x="237854" y="0"/>
                    <a:pt x="153239" y="0"/>
                  </a:cubicBezTo>
                  <a:lnTo>
                    <a:pt x="153239" y="0"/>
                  </a:lnTo>
                  <a:close/>
                  <a:moveTo>
                    <a:pt x="153239" y="259425"/>
                  </a:moveTo>
                  <a:cubicBezTo>
                    <a:pt x="94133" y="259425"/>
                    <a:pt x="45972" y="211541"/>
                    <a:pt x="45972" y="152564"/>
                  </a:cubicBezTo>
                  <a:cubicBezTo>
                    <a:pt x="45972" y="93586"/>
                    <a:pt x="94037" y="45703"/>
                    <a:pt x="153239" y="45703"/>
                  </a:cubicBezTo>
                  <a:cubicBezTo>
                    <a:pt x="212441" y="45703"/>
                    <a:pt x="260507" y="93586"/>
                    <a:pt x="260507" y="152564"/>
                  </a:cubicBezTo>
                  <a:cubicBezTo>
                    <a:pt x="260507" y="211541"/>
                    <a:pt x="212441" y="259425"/>
                    <a:pt x="153239" y="259425"/>
                  </a:cubicBezTo>
                  <a:lnTo>
                    <a:pt x="153239" y="259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70" name="Полилиния 496">
              <a:extLst>
                <a:ext uri="{FF2B5EF4-FFF2-40B4-BE49-F238E27FC236}">
                  <a16:creationId xmlns:a16="http://schemas.microsoft.com/office/drawing/2014/main" id="{109A24A4-3286-480E-D103-E5D3689317E4}"/>
                </a:ext>
              </a:extLst>
            </p:cNvPr>
            <p:cNvSpPr/>
            <p:nvPr/>
          </p:nvSpPr>
          <p:spPr>
            <a:xfrm>
              <a:off x="6539631" y="2773421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71" name="Полилиния 497">
              <a:extLst>
                <a:ext uri="{FF2B5EF4-FFF2-40B4-BE49-F238E27FC236}">
                  <a16:creationId xmlns:a16="http://schemas.microsoft.com/office/drawing/2014/main" id="{F18ADB1A-E9B4-A4CC-5CC9-7E24194F312A}"/>
                </a:ext>
              </a:extLst>
            </p:cNvPr>
            <p:cNvSpPr/>
            <p:nvPr/>
          </p:nvSpPr>
          <p:spPr>
            <a:xfrm>
              <a:off x="7700442" y="2773421"/>
              <a:ext cx="131347" cy="130850"/>
            </a:xfrm>
            <a:custGeom>
              <a:avLst/>
              <a:gdLst>
                <a:gd name="connsiteX0" fmla="*/ 131348 w 131347"/>
                <a:gd name="connsiteY0" fmla="*/ 65425 h 130850"/>
                <a:gd name="connsiteX1" fmla="*/ 65674 w 131347"/>
                <a:gd name="connsiteY1" fmla="*/ 130850 h 130850"/>
                <a:gd name="connsiteX2" fmla="*/ 0 w 131347"/>
                <a:gd name="connsiteY2" fmla="*/ 65425 h 130850"/>
                <a:gd name="connsiteX3" fmla="*/ 65674 w 131347"/>
                <a:gd name="connsiteY3" fmla="*/ 0 h 130850"/>
                <a:gd name="connsiteX4" fmla="*/ 131348 w 131347"/>
                <a:gd name="connsiteY4" fmla="*/ 65425 h 130850"/>
                <a:gd name="connsiteX5" fmla="*/ 131348 w 131347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7" h="130850">
                  <a:moveTo>
                    <a:pt x="131348" y="65425"/>
                  </a:moveTo>
                  <a:cubicBezTo>
                    <a:pt x="131348" y="101551"/>
                    <a:pt x="101937" y="130850"/>
                    <a:pt x="65674" y="130850"/>
                  </a:cubicBezTo>
                  <a:cubicBezTo>
                    <a:pt x="29410" y="130850"/>
                    <a:pt x="0" y="101551"/>
                    <a:pt x="0" y="65425"/>
                  </a:cubicBezTo>
                  <a:cubicBezTo>
                    <a:pt x="0" y="29299"/>
                    <a:pt x="29410" y="0"/>
                    <a:pt x="65674" y="0"/>
                  </a:cubicBezTo>
                  <a:cubicBezTo>
                    <a:pt x="101937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72" name="Полилиния 498">
              <a:extLst>
                <a:ext uri="{FF2B5EF4-FFF2-40B4-BE49-F238E27FC236}">
                  <a16:creationId xmlns:a16="http://schemas.microsoft.com/office/drawing/2014/main" id="{265BA910-22D5-B0B4-8972-94DA0DBF0BFD}"/>
                </a:ext>
              </a:extLst>
            </p:cNvPr>
            <p:cNvSpPr/>
            <p:nvPr/>
          </p:nvSpPr>
          <p:spPr>
            <a:xfrm>
              <a:off x="6539631" y="3929834"/>
              <a:ext cx="131348" cy="130850"/>
            </a:xfrm>
            <a:custGeom>
              <a:avLst/>
              <a:gdLst>
                <a:gd name="connsiteX0" fmla="*/ 131348 w 131348"/>
                <a:gd name="connsiteY0" fmla="*/ 65425 h 130850"/>
                <a:gd name="connsiteX1" fmla="*/ 65674 w 131348"/>
                <a:gd name="connsiteY1" fmla="*/ 130850 h 130850"/>
                <a:gd name="connsiteX2" fmla="*/ 0 w 131348"/>
                <a:gd name="connsiteY2" fmla="*/ 65425 h 130850"/>
                <a:gd name="connsiteX3" fmla="*/ 65674 w 131348"/>
                <a:gd name="connsiteY3" fmla="*/ 0 h 130850"/>
                <a:gd name="connsiteX4" fmla="*/ 131348 w 131348"/>
                <a:gd name="connsiteY4" fmla="*/ 65425 h 130850"/>
                <a:gd name="connsiteX5" fmla="*/ 131348 w 131348"/>
                <a:gd name="connsiteY5" fmla="*/ 65425 h 13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48" h="130850">
                  <a:moveTo>
                    <a:pt x="131348" y="65425"/>
                  </a:moveTo>
                  <a:cubicBezTo>
                    <a:pt x="131348" y="101551"/>
                    <a:pt x="101938" y="130850"/>
                    <a:pt x="65674" y="130850"/>
                  </a:cubicBezTo>
                  <a:cubicBezTo>
                    <a:pt x="29411" y="130850"/>
                    <a:pt x="0" y="101551"/>
                    <a:pt x="0" y="65425"/>
                  </a:cubicBezTo>
                  <a:cubicBezTo>
                    <a:pt x="0" y="29299"/>
                    <a:pt x="29411" y="0"/>
                    <a:pt x="65674" y="0"/>
                  </a:cubicBezTo>
                  <a:cubicBezTo>
                    <a:pt x="101938" y="0"/>
                    <a:pt x="131348" y="29299"/>
                    <a:pt x="131348" y="65425"/>
                  </a:cubicBezTo>
                  <a:lnTo>
                    <a:pt x="131348" y="65425"/>
                  </a:lnTo>
                  <a:close/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73" name="Полилиния 499">
              <a:extLst>
                <a:ext uri="{FF2B5EF4-FFF2-40B4-BE49-F238E27FC236}">
                  <a16:creationId xmlns:a16="http://schemas.microsoft.com/office/drawing/2014/main" id="{F7DDB590-79E9-C76D-732C-F5D5D331A544}"/>
                </a:ext>
              </a:extLst>
            </p:cNvPr>
            <p:cNvSpPr/>
            <p:nvPr/>
          </p:nvSpPr>
          <p:spPr>
            <a:xfrm>
              <a:off x="6941480" y="3173652"/>
              <a:ext cx="491126" cy="489266"/>
            </a:xfrm>
            <a:custGeom>
              <a:avLst/>
              <a:gdLst>
                <a:gd name="connsiteX0" fmla="*/ 0 w 491126"/>
                <a:gd name="connsiteY0" fmla="*/ 244633 h 489266"/>
                <a:gd name="connsiteX1" fmla="*/ 245564 w 491126"/>
                <a:gd name="connsiteY1" fmla="*/ 0 h 489266"/>
                <a:gd name="connsiteX2" fmla="*/ 491127 w 491126"/>
                <a:gd name="connsiteY2" fmla="*/ 244633 h 489266"/>
                <a:gd name="connsiteX3" fmla="*/ 245564 w 491126"/>
                <a:gd name="connsiteY3" fmla="*/ 489266 h 489266"/>
                <a:gd name="connsiteX4" fmla="*/ 0 w 491126"/>
                <a:gd name="connsiteY4" fmla="*/ 244633 h 489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126" h="489266">
                  <a:moveTo>
                    <a:pt x="0" y="244633"/>
                  </a:moveTo>
                  <a:cubicBezTo>
                    <a:pt x="0" y="109516"/>
                    <a:pt x="109933" y="0"/>
                    <a:pt x="245564" y="0"/>
                  </a:cubicBezTo>
                  <a:cubicBezTo>
                    <a:pt x="381194" y="0"/>
                    <a:pt x="491127" y="109516"/>
                    <a:pt x="491127" y="244633"/>
                  </a:cubicBezTo>
                  <a:cubicBezTo>
                    <a:pt x="491127" y="379750"/>
                    <a:pt x="381194" y="489266"/>
                    <a:pt x="245564" y="489266"/>
                  </a:cubicBezTo>
                  <a:cubicBezTo>
                    <a:pt x="109933" y="489266"/>
                    <a:pt x="0" y="379750"/>
                    <a:pt x="0" y="244633"/>
                  </a:cubicBezTo>
                </a:path>
              </a:pathLst>
            </a:custGeom>
            <a:grpFill/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74" name="Полилиния 500">
              <a:extLst>
                <a:ext uri="{FF2B5EF4-FFF2-40B4-BE49-F238E27FC236}">
                  <a16:creationId xmlns:a16="http://schemas.microsoft.com/office/drawing/2014/main" id="{E3C3BB2E-43CA-A598-D348-84EEA3887032}"/>
                </a:ext>
              </a:extLst>
            </p:cNvPr>
            <p:cNvSpPr/>
            <p:nvPr/>
          </p:nvSpPr>
          <p:spPr>
            <a:xfrm>
              <a:off x="7002815" y="3284324"/>
              <a:ext cx="323875" cy="267920"/>
            </a:xfrm>
            <a:custGeom>
              <a:avLst/>
              <a:gdLst>
                <a:gd name="connsiteX0" fmla="*/ 323762 w 323875"/>
                <a:gd name="connsiteY0" fmla="*/ 26057 h 267920"/>
                <a:gd name="connsiteX1" fmla="*/ 315671 w 323875"/>
                <a:gd name="connsiteY1" fmla="*/ 82284 h 267920"/>
                <a:gd name="connsiteX2" fmla="*/ 292257 w 323875"/>
                <a:gd name="connsiteY2" fmla="*/ 235227 h 267920"/>
                <a:gd name="connsiteX3" fmla="*/ 286165 w 323875"/>
                <a:gd name="connsiteY3" fmla="*/ 254665 h 267920"/>
                <a:gd name="connsiteX4" fmla="*/ 258944 w 323875"/>
                <a:gd name="connsiteY4" fmla="*/ 266518 h 267920"/>
                <a:gd name="connsiteX5" fmla="*/ 236101 w 323875"/>
                <a:gd name="connsiteY5" fmla="*/ 255329 h 267920"/>
                <a:gd name="connsiteX6" fmla="*/ 151106 w 323875"/>
                <a:gd name="connsiteY6" fmla="*/ 198438 h 267920"/>
                <a:gd name="connsiteX7" fmla="*/ 147965 w 323875"/>
                <a:gd name="connsiteY7" fmla="*/ 166578 h 267920"/>
                <a:gd name="connsiteX8" fmla="*/ 197934 w 323875"/>
                <a:gd name="connsiteY8" fmla="*/ 119927 h 267920"/>
                <a:gd name="connsiteX9" fmla="*/ 236196 w 323875"/>
                <a:gd name="connsiteY9" fmla="*/ 83517 h 267920"/>
                <a:gd name="connsiteX10" fmla="*/ 241050 w 323875"/>
                <a:gd name="connsiteY10" fmla="*/ 78207 h 267920"/>
                <a:gd name="connsiteX11" fmla="*/ 242668 w 323875"/>
                <a:gd name="connsiteY11" fmla="*/ 69389 h 267920"/>
                <a:gd name="connsiteX12" fmla="*/ 233626 w 323875"/>
                <a:gd name="connsiteY12" fmla="*/ 69484 h 267920"/>
                <a:gd name="connsiteX13" fmla="*/ 190129 w 323875"/>
                <a:gd name="connsiteY13" fmla="*/ 98403 h 267920"/>
                <a:gd name="connsiteX14" fmla="*/ 115794 w 323875"/>
                <a:gd name="connsiteY14" fmla="*/ 149226 h 267920"/>
                <a:gd name="connsiteX15" fmla="*/ 98757 w 323875"/>
                <a:gd name="connsiteY15" fmla="*/ 158614 h 267920"/>
                <a:gd name="connsiteX16" fmla="*/ 66777 w 323875"/>
                <a:gd name="connsiteY16" fmla="*/ 160889 h 267920"/>
                <a:gd name="connsiteX17" fmla="*/ 15284 w 323875"/>
                <a:gd name="connsiteY17" fmla="*/ 146666 h 267920"/>
                <a:gd name="connsiteX18" fmla="*/ 4719 w 323875"/>
                <a:gd name="connsiteY18" fmla="*/ 141831 h 267920"/>
                <a:gd name="connsiteX19" fmla="*/ 3101 w 323875"/>
                <a:gd name="connsiteY19" fmla="*/ 127608 h 267920"/>
                <a:gd name="connsiteX20" fmla="*/ 16331 w 323875"/>
                <a:gd name="connsiteY20" fmla="*/ 118790 h 267920"/>
                <a:gd name="connsiteX21" fmla="*/ 281216 w 323875"/>
                <a:gd name="connsiteY21" fmla="*/ 6808 h 267920"/>
                <a:gd name="connsiteX22" fmla="*/ 299110 w 323875"/>
                <a:gd name="connsiteY22" fmla="*/ 835 h 267920"/>
                <a:gd name="connsiteX23" fmla="*/ 323857 w 323875"/>
                <a:gd name="connsiteY23" fmla="*/ 25962 h 26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23875" h="267920">
                  <a:moveTo>
                    <a:pt x="323762" y="26057"/>
                  </a:moveTo>
                  <a:cubicBezTo>
                    <a:pt x="321477" y="41986"/>
                    <a:pt x="318717" y="62183"/>
                    <a:pt x="315671" y="82284"/>
                  </a:cubicBezTo>
                  <a:cubicBezTo>
                    <a:pt x="307962" y="133297"/>
                    <a:pt x="300252" y="184215"/>
                    <a:pt x="292257" y="235227"/>
                  </a:cubicBezTo>
                  <a:cubicBezTo>
                    <a:pt x="291210" y="241865"/>
                    <a:pt x="289116" y="248597"/>
                    <a:pt x="286165" y="254665"/>
                  </a:cubicBezTo>
                  <a:cubicBezTo>
                    <a:pt x="280645" y="266138"/>
                    <a:pt x="271032" y="270405"/>
                    <a:pt x="258944" y="266518"/>
                  </a:cubicBezTo>
                  <a:cubicBezTo>
                    <a:pt x="250949" y="263863"/>
                    <a:pt x="243144" y="259880"/>
                    <a:pt x="236101" y="255329"/>
                  </a:cubicBezTo>
                  <a:cubicBezTo>
                    <a:pt x="207547" y="236650"/>
                    <a:pt x="179374" y="217496"/>
                    <a:pt x="151106" y="198438"/>
                  </a:cubicBezTo>
                  <a:cubicBezTo>
                    <a:pt x="137781" y="189525"/>
                    <a:pt x="136353" y="177767"/>
                    <a:pt x="147965" y="166578"/>
                  </a:cubicBezTo>
                  <a:cubicBezTo>
                    <a:pt x="164336" y="150744"/>
                    <a:pt x="181278" y="135478"/>
                    <a:pt x="197934" y="119927"/>
                  </a:cubicBezTo>
                  <a:cubicBezTo>
                    <a:pt x="210783" y="107885"/>
                    <a:pt x="223442" y="95748"/>
                    <a:pt x="236196" y="83517"/>
                  </a:cubicBezTo>
                  <a:cubicBezTo>
                    <a:pt x="237909" y="81810"/>
                    <a:pt x="239432" y="80009"/>
                    <a:pt x="241050" y="78207"/>
                  </a:cubicBezTo>
                  <a:cubicBezTo>
                    <a:pt x="243335" y="75552"/>
                    <a:pt x="245524" y="72613"/>
                    <a:pt x="242668" y="69389"/>
                  </a:cubicBezTo>
                  <a:cubicBezTo>
                    <a:pt x="239908" y="66165"/>
                    <a:pt x="236482" y="67587"/>
                    <a:pt x="233626" y="69484"/>
                  </a:cubicBezTo>
                  <a:cubicBezTo>
                    <a:pt x="219064" y="79060"/>
                    <a:pt x="204501" y="88637"/>
                    <a:pt x="190129" y="98403"/>
                  </a:cubicBezTo>
                  <a:cubicBezTo>
                    <a:pt x="165288" y="115281"/>
                    <a:pt x="140636" y="132443"/>
                    <a:pt x="115794" y="149226"/>
                  </a:cubicBezTo>
                  <a:cubicBezTo>
                    <a:pt x="110464" y="152830"/>
                    <a:pt x="104658" y="155864"/>
                    <a:pt x="98757" y="158614"/>
                  </a:cubicBezTo>
                  <a:cubicBezTo>
                    <a:pt x="88478" y="163449"/>
                    <a:pt x="77912" y="164208"/>
                    <a:pt x="66777" y="160889"/>
                  </a:cubicBezTo>
                  <a:cubicBezTo>
                    <a:pt x="49739" y="155769"/>
                    <a:pt x="32417" y="151502"/>
                    <a:pt x="15284" y="146666"/>
                  </a:cubicBezTo>
                  <a:cubicBezTo>
                    <a:pt x="11572" y="145623"/>
                    <a:pt x="7955" y="143917"/>
                    <a:pt x="4719" y="141831"/>
                  </a:cubicBezTo>
                  <a:cubicBezTo>
                    <a:pt x="-801" y="138133"/>
                    <a:pt x="-1658" y="132254"/>
                    <a:pt x="3101" y="127608"/>
                  </a:cubicBezTo>
                  <a:cubicBezTo>
                    <a:pt x="6909" y="124005"/>
                    <a:pt x="11477" y="120781"/>
                    <a:pt x="16331" y="118790"/>
                  </a:cubicBezTo>
                  <a:cubicBezTo>
                    <a:pt x="104563" y="81336"/>
                    <a:pt x="192890" y="44072"/>
                    <a:pt x="281216" y="6808"/>
                  </a:cubicBezTo>
                  <a:cubicBezTo>
                    <a:pt x="287022" y="4343"/>
                    <a:pt x="293018" y="2162"/>
                    <a:pt x="299110" y="835"/>
                  </a:cubicBezTo>
                  <a:cubicBezTo>
                    <a:pt x="315766" y="-2674"/>
                    <a:pt x="324333" y="4722"/>
                    <a:pt x="323857" y="25962"/>
                  </a:cubicBezTo>
                  <a:close/>
                </a:path>
              </a:pathLst>
            </a:custGeom>
            <a:solidFill>
              <a:schemeClr val="tx1"/>
            </a:solidFill>
            <a:ln w="95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7" name="Полилиния 501">
            <a:extLst>
              <a:ext uri="{FF2B5EF4-FFF2-40B4-BE49-F238E27FC236}">
                <a16:creationId xmlns:a16="http://schemas.microsoft.com/office/drawing/2014/main" id="{381F8DD9-118B-DFA2-FBDD-173DCBD6C3B4}"/>
              </a:ext>
            </a:extLst>
          </p:cNvPr>
          <p:cNvSpPr>
            <a:spLocks noChangeAspect="1"/>
          </p:cNvSpPr>
          <p:nvPr/>
        </p:nvSpPr>
        <p:spPr>
          <a:xfrm>
            <a:off x="6461125" y="2651215"/>
            <a:ext cx="1188000" cy="1196971"/>
          </a:xfrm>
          <a:custGeom>
            <a:avLst/>
            <a:gdLst>
              <a:gd name="connsiteX0" fmla="*/ 564796 w 1485658"/>
              <a:gd name="connsiteY0" fmla="*/ 0 h 1479935"/>
              <a:gd name="connsiteX1" fmla="*/ 595348 w 1485658"/>
              <a:gd name="connsiteY1" fmla="*/ 30437 h 1479935"/>
              <a:gd name="connsiteX2" fmla="*/ 564796 w 1485658"/>
              <a:gd name="connsiteY2" fmla="*/ 60874 h 1479935"/>
              <a:gd name="connsiteX3" fmla="*/ 534243 w 1485658"/>
              <a:gd name="connsiteY3" fmla="*/ 30437 h 1479935"/>
              <a:gd name="connsiteX4" fmla="*/ 564796 w 1485658"/>
              <a:gd name="connsiteY4" fmla="*/ 0 h 1479935"/>
              <a:gd name="connsiteX5" fmla="*/ 593635 w 1485658"/>
              <a:gd name="connsiteY5" fmla="*/ 30437 h 1479935"/>
              <a:gd name="connsiteX6" fmla="*/ 624188 w 1485658"/>
              <a:gd name="connsiteY6" fmla="*/ 60874 h 1479935"/>
              <a:gd name="connsiteX7" fmla="*/ 654740 w 1485658"/>
              <a:gd name="connsiteY7" fmla="*/ 30437 h 1479935"/>
              <a:gd name="connsiteX8" fmla="*/ 624188 w 1485658"/>
              <a:gd name="connsiteY8" fmla="*/ 0 h 1479935"/>
              <a:gd name="connsiteX9" fmla="*/ 593635 w 1485658"/>
              <a:gd name="connsiteY9" fmla="*/ 30437 h 1479935"/>
              <a:gd name="connsiteX10" fmla="*/ 652932 w 1485658"/>
              <a:gd name="connsiteY10" fmla="*/ 30437 h 1479935"/>
              <a:gd name="connsiteX11" fmla="*/ 683485 w 1485658"/>
              <a:gd name="connsiteY11" fmla="*/ 60874 h 1479935"/>
              <a:gd name="connsiteX12" fmla="*/ 714037 w 1485658"/>
              <a:gd name="connsiteY12" fmla="*/ 30437 h 1479935"/>
              <a:gd name="connsiteX13" fmla="*/ 683485 w 1485658"/>
              <a:gd name="connsiteY13" fmla="*/ 0 h 1479935"/>
              <a:gd name="connsiteX14" fmla="*/ 652932 w 1485658"/>
              <a:gd name="connsiteY14" fmla="*/ 30437 h 1479935"/>
              <a:gd name="connsiteX15" fmla="*/ 831013 w 1485658"/>
              <a:gd name="connsiteY15" fmla="*/ 30437 h 1479935"/>
              <a:gd name="connsiteX16" fmla="*/ 861566 w 1485658"/>
              <a:gd name="connsiteY16" fmla="*/ 60874 h 1479935"/>
              <a:gd name="connsiteX17" fmla="*/ 892118 w 1485658"/>
              <a:gd name="connsiteY17" fmla="*/ 30437 h 1479935"/>
              <a:gd name="connsiteX18" fmla="*/ 861566 w 1485658"/>
              <a:gd name="connsiteY18" fmla="*/ 0 h 1479935"/>
              <a:gd name="connsiteX19" fmla="*/ 831013 w 1485658"/>
              <a:gd name="connsiteY19" fmla="*/ 30437 h 1479935"/>
              <a:gd name="connsiteX20" fmla="*/ 949702 w 1485658"/>
              <a:gd name="connsiteY20" fmla="*/ 30437 h 1479935"/>
              <a:gd name="connsiteX21" fmla="*/ 980255 w 1485658"/>
              <a:gd name="connsiteY21" fmla="*/ 60874 h 1479935"/>
              <a:gd name="connsiteX22" fmla="*/ 1010807 w 1485658"/>
              <a:gd name="connsiteY22" fmla="*/ 30437 h 1479935"/>
              <a:gd name="connsiteX23" fmla="*/ 980255 w 1485658"/>
              <a:gd name="connsiteY23" fmla="*/ 0 h 1479935"/>
              <a:gd name="connsiteX24" fmla="*/ 949702 w 1485658"/>
              <a:gd name="connsiteY24" fmla="*/ 30437 h 1479935"/>
              <a:gd name="connsiteX25" fmla="*/ 593635 w 1485658"/>
              <a:gd name="connsiteY25" fmla="*/ 89509 h 1479935"/>
              <a:gd name="connsiteX26" fmla="*/ 624188 w 1485658"/>
              <a:gd name="connsiteY26" fmla="*/ 119946 h 1479935"/>
              <a:gd name="connsiteX27" fmla="*/ 654740 w 1485658"/>
              <a:gd name="connsiteY27" fmla="*/ 89509 h 1479935"/>
              <a:gd name="connsiteX28" fmla="*/ 624188 w 1485658"/>
              <a:gd name="connsiteY28" fmla="*/ 59072 h 1479935"/>
              <a:gd name="connsiteX29" fmla="*/ 593635 w 1485658"/>
              <a:gd name="connsiteY29" fmla="*/ 89509 h 1479935"/>
              <a:gd name="connsiteX30" fmla="*/ 771621 w 1485658"/>
              <a:gd name="connsiteY30" fmla="*/ 89509 h 1479935"/>
              <a:gd name="connsiteX31" fmla="*/ 802174 w 1485658"/>
              <a:gd name="connsiteY31" fmla="*/ 119946 h 1479935"/>
              <a:gd name="connsiteX32" fmla="*/ 832726 w 1485658"/>
              <a:gd name="connsiteY32" fmla="*/ 89509 h 1479935"/>
              <a:gd name="connsiteX33" fmla="*/ 802174 w 1485658"/>
              <a:gd name="connsiteY33" fmla="*/ 59072 h 1479935"/>
              <a:gd name="connsiteX34" fmla="*/ 771621 w 1485658"/>
              <a:gd name="connsiteY34" fmla="*/ 89509 h 1479935"/>
              <a:gd name="connsiteX35" fmla="*/ 890310 w 1485658"/>
              <a:gd name="connsiteY35" fmla="*/ 89509 h 1479935"/>
              <a:gd name="connsiteX36" fmla="*/ 920863 w 1485658"/>
              <a:gd name="connsiteY36" fmla="*/ 119946 h 1479935"/>
              <a:gd name="connsiteX37" fmla="*/ 951415 w 1485658"/>
              <a:gd name="connsiteY37" fmla="*/ 89509 h 1479935"/>
              <a:gd name="connsiteX38" fmla="*/ 920863 w 1485658"/>
              <a:gd name="connsiteY38" fmla="*/ 59072 h 1479935"/>
              <a:gd name="connsiteX39" fmla="*/ 890310 w 1485658"/>
              <a:gd name="connsiteY39" fmla="*/ 89509 h 1479935"/>
              <a:gd name="connsiteX40" fmla="*/ 474851 w 1485658"/>
              <a:gd name="connsiteY40" fmla="*/ 148676 h 1479935"/>
              <a:gd name="connsiteX41" fmla="*/ 505404 w 1485658"/>
              <a:gd name="connsiteY41" fmla="*/ 179113 h 1479935"/>
              <a:gd name="connsiteX42" fmla="*/ 535956 w 1485658"/>
              <a:gd name="connsiteY42" fmla="*/ 148676 h 1479935"/>
              <a:gd name="connsiteX43" fmla="*/ 505404 w 1485658"/>
              <a:gd name="connsiteY43" fmla="*/ 118239 h 1479935"/>
              <a:gd name="connsiteX44" fmla="*/ 474851 w 1485658"/>
              <a:gd name="connsiteY44" fmla="*/ 148676 h 1479935"/>
              <a:gd name="connsiteX45" fmla="*/ 712324 w 1485658"/>
              <a:gd name="connsiteY45" fmla="*/ 148676 h 1479935"/>
              <a:gd name="connsiteX46" fmla="*/ 742877 w 1485658"/>
              <a:gd name="connsiteY46" fmla="*/ 179113 h 1479935"/>
              <a:gd name="connsiteX47" fmla="*/ 773429 w 1485658"/>
              <a:gd name="connsiteY47" fmla="*/ 148676 h 1479935"/>
              <a:gd name="connsiteX48" fmla="*/ 742877 w 1485658"/>
              <a:gd name="connsiteY48" fmla="*/ 118239 h 1479935"/>
              <a:gd name="connsiteX49" fmla="*/ 712324 w 1485658"/>
              <a:gd name="connsiteY49" fmla="*/ 148676 h 1479935"/>
              <a:gd name="connsiteX50" fmla="*/ 949702 w 1485658"/>
              <a:gd name="connsiteY50" fmla="*/ 148676 h 1479935"/>
              <a:gd name="connsiteX51" fmla="*/ 980255 w 1485658"/>
              <a:gd name="connsiteY51" fmla="*/ 179113 h 1479935"/>
              <a:gd name="connsiteX52" fmla="*/ 1010807 w 1485658"/>
              <a:gd name="connsiteY52" fmla="*/ 148676 h 1479935"/>
              <a:gd name="connsiteX53" fmla="*/ 980255 w 1485658"/>
              <a:gd name="connsiteY53" fmla="*/ 118239 h 1479935"/>
              <a:gd name="connsiteX54" fmla="*/ 949702 w 1485658"/>
              <a:gd name="connsiteY54" fmla="*/ 148676 h 1479935"/>
              <a:gd name="connsiteX55" fmla="*/ 474851 w 1485658"/>
              <a:gd name="connsiteY55" fmla="*/ 207843 h 1479935"/>
              <a:gd name="connsiteX56" fmla="*/ 505404 w 1485658"/>
              <a:gd name="connsiteY56" fmla="*/ 238280 h 1479935"/>
              <a:gd name="connsiteX57" fmla="*/ 535956 w 1485658"/>
              <a:gd name="connsiteY57" fmla="*/ 207843 h 1479935"/>
              <a:gd name="connsiteX58" fmla="*/ 505404 w 1485658"/>
              <a:gd name="connsiteY58" fmla="*/ 177406 h 1479935"/>
              <a:gd name="connsiteX59" fmla="*/ 474851 w 1485658"/>
              <a:gd name="connsiteY59" fmla="*/ 207843 h 1479935"/>
              <a:gd name="connsiteX60" fmla="*/ 534243 w 1485658"/>
              <a:gd name="connsiteY60" fmla="*/ 207843 h 1479935"/>
              <a:gd name="connsiteX61" fmla="*/ 564796 w 1485658"/>
              <a:gd name="connsiteY61" fmla="*/ 238280 h 1479935"/>
              <a:gd name="connsiteX62" fmla="*/ 595348 w 1485658"/>
              <a:gd name="connsiteY62" fmla="*/ 207843 h 1479935"/>
              <a:gd name="connsiteX63" fmla="*/ 564796 w 1485658"/>
              <a:gd name="connsiteY63" fmla="*/ 177406 h 1479935"/>
              <a:gd name="connsiteX64" fmla="*/ 534243 w 1485658"/>
              <a:gd name="connsiteY64" fmla="*/ 207843 h 1479935"/>
              <a:gd name="connsiteX65" fmla="*/ 593635 w 1485658"/>
              <a:gd name="connsiteY65" fmla="*/ 207843 h 1479935"/>
              <a:gd name="connsiteX66" fmla="*/ 624188 w 1485658"/>
              <a:gd name="connsiteY66" fmla="*/ 238280 h 1479935"/>
              <a:gd name="connsiteX67" fmla="*/ 654740 w 1485658"/>
              <a:gd name="connsiteY67" fmla="*/ 207843 h 1479935"/>
              <a:gd name="connsiteX68" fmla="*/ 624188 w 1485658"/>
              <a:gd name="connsiteY68" fmla="*/ 177406 h 1479935"/>
              <a:gd name="connsiteX69" fmla="*/ 593635 w 1485658"/>
              <a:gd name="connsiteY69" fmla="*/ 207843 h 1479935"/>
              <a:gd name="connsiteX70" fmla="*/ 652932 w 1485658"/>
              <a:gd name="connsiteY70" fmla="*/ 207843 h 1479935"/>
              <a:gd name="connsiteX71" fmla="*/ 683485 w 1485658"/>
              <a:gd name="connsiteY71" fmla="*/ 238280 h 1479935"/>
              <a:gd name="connsiteX72" fmla="*/ 714037 w 1485658"/>
              <a:gd name="connsiteY72" fmla="*/ 207843 h 1479935"/>
              <a:gd name="connsiteX73" fmla="*/ 683485 w 1485658"/>
              <a:gd name="connsiteY73" fmla="*/ 177406 h 1479935"/>
              <a:gd name="connsiteX74" fmla="*/ 652932 w 1485658"/>
              <a:gd name="connsiteY74" fmla="*/ 207843 h 1479935"/>
              <a:gd name="connsiteX75" fmla="*/ 771621 w 1485658"/>
              <a:gd name="connsiteY75" fmla="*/ 207843 h 1479935"/>
              <a:gd name="connsiteX76" fmla="*/ 802174 w 1485658"/>
              <a:gd name="connsiteY76" fmla="*/ 238280 h 1479935"/>
              <a:gd name="connsiteX77" fmla="*/ 832726 w 1485658"/>
              <a:gd name="connsiteY77" fmla="*/ 207843 h 1479935"/>
              <a:gd name="connsiteX78" fmla="*/ 802174 w 1485658"/>
              <a:gd name="connsiteY78" fmla="*/ 177406 h 1479935"/>
              <a:gd name="connsiteX79" fmla="*/ 771621 w 1485658"/>
              <a:gd name="connsiteY79" fmla="*/ 207843 h 1479935"/>
              <a:gd name="connsiteX80" fmla="*/ 831013 w 1485658"/>
              <a:gd name="connsiteY80" fmla="*/ 207843 h 1479935"/>
              <a:gd name="connsiteX81" fmla="*/ 861566 w 1485658"/>
              <a:gd name="connsiteY81" fmla="*/ 238280 h 1479935"/>
              <a:gd name="connsiteX82" fmla="*/ 892118 w 1485658"/>
              <a:gd name="connsiteY82" fmla="*/ 207843 h 1479935"/>
              <a:gd name="connsiteX83" fmla="*/ 861566 w 1485658"/>
              <a:gd name="connsiteY83" fmla="*/ 177406 h 1479935"/>
              <a:gd name="connsiteX84" fmla="*/ 831013 w 1485658"/>
              <a:gd name="connsiteY84" fmla="*/ 207843 h 1479935"/>
              <a:gd name="connsiteX85" fmla="*/ 474851 w 1485658"/>
              <a:gd name="connsiteY85" fmla="*/ 266915 h 1479935"/>
              <a:gd name="connsiteX86" fmla="*/ 505404 w 1485658"/>
              <a:gd name="connsiteY86" fmla="*/ 297352 h 1479935"/>
              <a:gd name="connsiteX87" fmla="*/ 535956 w 1485658"/>
              <a:gd name="connsiteY87" fmla="*/ 266915 h 1479935"/>
              <a:gd name="connsiteX88" fmla="*/ 505404 w 1485658"/>
              <a:gd name="connsiteY88" fmla="*/ 236479 h 1479935"/>
              <a:gd name="connsiteX89" fmla="*/ 474851 w 1485658"/>
              <a:gd name="connsiteY89" fmla="*/ 266915 h 1479935"/>
              <a:gd name="connsiteX90" fmla="*/ 652932 w 1485658"/>
              <a:gd name="connsiteY90" fmla="*/ 266915 h 1479935"/>
              <a:gd name="connsiteX91" fmla="*/ 683485 w 1485658"/>
              <a:gd name="connsiteY91" fmla="*/ 297352 h 1479935"/>
              <a:gd name="connsiteX92" fmla="*/ 714037 w 1485658"/>
              <a:gd name="connsiteY92" fmla="*/ 266915 h 1479935"/>
              <a:gd name="connsiteX93" fmla="*/ 683485 w 1485658"/>
              <a:gd name="connsiteY93" fmla="*/ 236479 h 1479935"/>
              <a:gd name="connsiteX94" fmla="*/ 652932 w 1485658"/>
              <a:gd name="connsiteY94" fmla="*/ 266915 h 1479935"/>
              <a:gd name="connsiteX95" fmla="*/ 712324 w 1485658"/>
              <a:gd name="connsiteY95" fmla="*/ 266915 h 1479935"/>
              <a:gd name="connsiteX96" fmla="*/ 742877 w 1485658"/>
              <a:gd name="connsiteY96" fmla="*/ 297352 h 1479935"/>
              <a:gd name="connsiteX97" fmla="*/ 773429 w 1485658"/>
              <a:gd name="connsiteY97" fmla="*/ 266915 h 1479935"/>
              <a:gd name="connsiteX98" fmla="*/ 742877 w 1485658"/>
              <a:gd name="connsiteY98" fmla="*/ 236479 h 1479935"/>
              <a:gd name="connsiteX99" fmla="*/ 712324 w 1485658"/>
              <a:gd name="connsiteY99" fmla="*/ 266915 h 1479935"/>
              <a:gd name="connsiteX100" fmla="*/ 831013 w 1485658"/>
              <a:gd name="connsiteY100" fmla="*/ 266915 h 1479935"/>
              <a:gd name="connsiteX101" fmla="*/ 861566 w 1485658"/>
              <a:gd name="connsiteY101" fmla="*/ 297352 h 1479935"/>
              <a:gd name="connsiteX102" fmla="*/ 892118 w 1485658"/>
              <a:gd name="connsiteY102" fmla="*/ 266915 h 1479935"/>
              <a:gd name="connsiteX103" fmla="*/ 861566 w 1485658"/>
              <a:gd name="connsiteY103" fmla="*/ 236479 h 1479935"/>
              <a:gd name="connsiteX104" fmla="*/ 831013 w 1485658"/>
              <a:gd name="connsiteY104" fmla="*/ 266915 h 1479935"/>
              <a:gd name="connsiteX105" fmla="*/ 474851 w 1485658"/>
              <a:gd name="connsiteY105" fmla="*/ 326083 h 1479935"/>
              <a:gd name="connsiteX106" fmla="*/ 505404 w 1485658"/>
              <a:gd name="connsiteY106" fmla="*/ 356519 h 1479935"/>
              <a:gd name="connsiteX107" fmla="*/ 535956 w 1485658"/>
              <a:gd name="connsiteY107" fmla="*/ 326083 h 1479935"/>
              <a:gd name="connsiteX108" fmla="*/ 505404 w 1485658"/>
              <a:gd name="connsiteY108" fmla="*/ 295646 h 1479935"/>
              <a:gd name="connsiteX109" fmla="*/ 474851 w 1485658"/>
              <a:gd name="connsiteY109" fmla="*/ 326083 h 1479935"/>
              <a:gd name="connsiteX110" fmla="*/ 593635 w 1485658"/>
              <a:gd name="connsiteY110" fmla="*/ 326083 h 1479935"/>
              <a:gd name="connsiteX111" fmla="*/ 624188 w 1485658"/>
              <a:gd name="connsiteY111" fmla="*/ 356519 h 1479935"/>
              <a:gd name="connsiteX112" fmla="*/ 654740 w 1485658"/>
              <a:gd name="connsiteY112" fmla="*/ 326083 h 1479935"/>
              <a:gd name="connsiteX113" fmla="*/ 624188 w 1485658"/>
              <a:gd name="connsiteY113" fmla="*/ 295646 h 1479935"/>
              <a:gd name="connsiteX114" fmla="*/ 593635 w 1485658"/>
              <a:gd name="connsiteY114" fmla="*/ 326083 h 1479935"/>
              <a:gd name="connsiteX115" fmla="*/ 831013 w 1485658"/>
              <a:gd name="connsiteY115" fmla="*/ 326083 h 1479935"/>
              <a:gd name="connsiteX116" fmla="*/ 861566 w 1485658"/>
              <a:gd name="connsiteY116" fmla="*/ 356519 h 1479935"/>
              <a:gd name="connsiteX117" fmla="*/ 892118 w 1485658"/>
              <a:gd name="connsiteY117" fmla="*/ 326083 h 1479935"/>
              <a:gd name="connsiteX118" fmla="*/ 861566 w 1485658"/>
              <a:gd name="connsiteY118" fmla="*/ 295646 h 1479935"/>
              <a:gd name="connsiteX119" fmla="*/ 831013 w 1485658"/>
              <a:gd name="connsiteY119" fmla="*/ 326083 h 1479935"/>
              <a:gd name="connsiteX120" fmla="*/ 890310 w 1485658"/>
              <a:gd name="connsiteY120" fmla="*/ 326083 h 1479935"/>
              <a:gd name="connsiteX121" fmla="*/ 920863 w 1485658"/>
              <a:gd name="connsiteY121" fmla="*/ 356519 h 1479935"/>
              <a:gd name="connsiteX122" fmla="*/ 951415 w 1485658"/>
              <a:gd name="connsiteY122" fmla="*/ 326083 h 1479935"/>
              <a:gd name="connsiteX123" fmla="*/ 920863 w 1485658"/>
              <a:gd name="connsiteY123" fmla="*/ 295646 h 1479935"/>
              <a:gd name="connsiteX124" fmla="*/ 890310 w 1485658"/>
              <a:gd name="connsiteY124" fmla="*/ 326083 h 1479935"/>
              <a:gd name="connsiteX125" fmla="*/ 949702 w 1485658"/>
              <a:gd name="connsiteY125" fmla="*/ 326083 h 1479935"/>
              <a:gd name="connsiteX126" fmla="*/ 980255 w 1485658"/>
              <a:gd name="connsiteY126" fmla="*/ 356519 h 1479935"/>
              <a:gd name="connsiteX127" fmla="*/ 1010807 w 1485658"/>
              <a:gd name="connsiteY127" fmla="*/ 326083 h 1479935"/>
              <a:gd name="connsiteX128" fmla="*/ 980255 w 1485658"/>
              <a:gd name="connsiteY128" fmla="*/ 295646 h 1479935"/>
              <a:gd name="connsiteX129" fmla="*/ 949702 w 1485658"/>
              <a:gd name="connsiteY129" fmla="*/ 326083 h 1479935"/>
              <a:gd name="connsiteX130" fmla="*/ 474851 w 1485658"/>
              <a:gd name="connsiteY130" fmla="*/ 385155 h 1479935"/>
              <a:gd name="connsiteX131" fmla="*/ 505404 w 1485658"/>
              <a:gd name="connsiteY131" fmla="*/ 415592 h 1479935"/>
              <a:gd name="connsiteX132" fmla="*/ 535956 w 1485658"/>
              <a:gd name="connsiteY132" fmla="*/ 385155 h 1479935"/>
              <a:gd name="connsiteX133" fmla="*/ 505404 w 1485658"/>
              <a:gd name="connsiteY133" fmla="*/ 354718 h 1479935"/>
              <a:gd name="connsiteX134" fmla="*/ 474851 w 1485658"/>
              <a:gd name="connsiteY134" fmla="*/ 385155 h 1479935"/>
              <a:gd name="connsiteX135" fmla="*/ 593635 w 1485658"/>
              <a:gd name="connsiteY135" fmla="*/ 385155 h 1479935"/>
              <a:gd name="connsiteX136" fmla="*/ 624188 w 1485658"/>
              <a:gd name="connsiteY136" fmla="*/ 415592 h 1479935"/>
              <a:gd name="connsiteX137" fmla="*/ 654740 w 1485658"/>
              <a:gd name="connsiteY137" fmla="*/ 385155 h 1479935"/>
              <a:gd name="connsiteX138" fmla="*/ 624188 w 1485658"/>
              <a:gd name="connsiteY138" fmla="*/ 354718 h 1479935"/>
              <a:gd name="connsiteX139" fmla="*/ 593635 w 1485658"/>
              <a:gd name="connsiteY139" fmla="*/ 385155 h 1479935"/>
              <a:gd name="connsiteX140" fmla="*/ 712324 w 1485658"/>
              <a:gd name="connsiteY140" fmla="*/ 385155 h 1479935"/>
              <a:gd name="connsiteX141" fmla="*/ 742877 w 1485658"/>
              <a:gd name="connsiteY141" fmla="*/ 415592 h 1479935"/>
              <a:gd name="connsiteX142" fmla="*/ 773429 w 1485658"/>
              <a:gd name="connsiteY142" fmla="*/ 385155 h 1479935"/>
              <a:gd name="connsiteX143" fmla="*/ 742877 w 1485658"/>
              <a:gd name="connsiteY143" fmla="*/ 354718 h 1479935"/>
              <a:gd name="connsiteX144" fmla="*/ 712324 w 1485658"/>
              <a:gd name="connsiteY144" fmla="*/ 385155 h 1479935"/>
              <a:gd name="connsiteX145" fmla="*/ 831013 w 1485658"/>
              <a:gd name="connsiteY145" fmla="*/ 385155 h 1479935"/>
              <a:gd name="connsiteX146" fmla="*/ 861566 w 1485658"/>
              <a:gd name="connsiteY146" fmla="*/ 415592 h 1479935"/>
              <a:gd name="connsiteX147" fmla="*/ 892118 w 1485658"/>
              <a:gd name="connsiteY147" fmla="*/ 385155 h 1479935"/>
              <a:gd name="connsiteX148" fmla="*/ 861566 w 1485658"/>
              <a:gd name="connsiteY148" fmla="*/ 354718 h 1479935"/>
              <a:gd name="connsiteX149" fmla="*/ 831013 w 1485658"/>
              <a:gd name="connsiteY149" fmla="*/ 385155 h 1479935"/>
              <a:gd name="connsiteX150" fmla="*/ 949702 w 1485658"/>
              <a:gd name="connsiteY150" fmla="*/ 385155 h 1479935"/>
              <a:gd name="connsiteX151" fmla="*/ 980255 w 1485658"/>
              <a:gd name="connsiteY151" fmla="*/ 415592 h 1479935"/>
              <a:gd name="connsiteX152" fmla="*/ 1010807 w 1485658"/>
              <a:gd name="connsiteY152" fmla="*/ 385155 h 1479935"/>
              <a:gd name="connsiteX153" fmla="*/ 980255 w 1485658"/>
              <a:gd name="connsiteY153" fmla="*/ 354718 h 1479935"/>
              <a:gd name="connsiteX154" fmla="*/ 949702 w 1485658"/>
              <a:gd name="connsiteY154" fmla="*/ 385155 h 1479935"/>
              <a:gd name="connsiteX155" fmla="*/ 474851 w 1485658"/>
              <a:gd name="connsiteY155" fmla="*/ 444322 h 1479935"/>
              <a:gd name="connsiteX156" fmla="*/ 505404 w 1485658"/>
              <a:gd name="connsiteY156" fmla="*/ 474759 h 1479935"/>
              <a:gd name="connsiteX157" fmla="*/ 535956 w 1485658"/>
              <a:gd name="connsiteY157" fmla="*/ 444322 h 1479935"/>
              <a:gd name="connsiteX158" fmla="*/ 505404 w 1485658"/>
              <a:gd name="connsiteY158" fmla="*/ 413885 h 1479935"/>
              <a:gd name="connsiteX159" fmla="*/ 474851 w 1485658"/>
              <a:gd name="connsiteY159" fmla="*/ 444322 h 1479935"/>
              <a:gd name="connsiteX160" fmla="*/ 831013 w 1485658"/>
              <a:gd name="connsiteY160" fmla="*/ 444322 h 1479935"/>
              <a:gd name="connsiteX161" fmla="*/ 861566 w 1485658"/>
              <a:gd name="connsiteY161" fmla="*/ 474759 h 1479935"/>
              <a:gd name="connsiteX162" fmla="*/ 892118 w 1485658"/>
              <a:gd name="connsiteY162" fmla="*/ 444322 h 1479935"/>
              <a:gd name="connsiteX163" fmla="*/ 861566 w 1485658"/>
              <a:gd name="connsiteY163" fmla="*/ 413885 h 1479935"/>
              <a:gd name="connsiteX164" fmla="*/ 831013 w 1485658"/>
              <a:gd name="connsiteY164" fmla="*/ 444322 h 1479935"/>
              <a:gd name="connsiteX165" fmla="*/ 890310 w 1485658"/>
              <a:gd name="connsiteY165" fmla="*/ 444322 h 1479935"/>
              <a:gd name="connsiteX166" fmla="*/ 920863 w 1485658"/>
              <a:gd name="connsiteY166" fmla="*/ 474759 h 1479935"/>
              <a:gd name="connsiteX167" fmla="*/ 951415 w 1485658"/>
              <a:gd name="connsiteY167" fmla="*/ 444322 h 1479935"/>
              <a:gd name="connsiteX168" fmla="*/ 920863 w 1485658"/>
              <a:gd name="connsiteY168" fmla="*/ 413885 h 1479935"/>
              <a:gd name="connsiteX169" fmla="*/ 890310 w 1485658"/>
              <a:gd name="connsiteY169" fmla="*/ 444322 h 1479935"/>
              <a:gd name="connsiteX170" fmla="*/ 95 w 1485658"/>
              <a:gd name="connsiteY170" fmla="*/ 503394 h 1479935"/>
              <a:gd name="connsiteX171" fmla="*/ 30648 w 1485658"/>
              <a:gd name="connsiteY171" fmla="*/ 533831 h 1479935"/>
              <a:gd name="connsiteX172" fmla="*/ 61200 w 1485658"/>
              <a:gd name="connsiteY172" fmla="*/ 503394 h 1479935"/>
              <a:gd name="connsiteX173" fmla="*/ 30648 w 1485658"/>
              <a:gd name="connsiteY173" fmla="*/ 472957 h 1479935"/>
              <a:gd name="connsiteX174" fmla="*/ 95 w 1485658"/>
              <a:gd name="connsiteY174" fmla="*/ 503394 h 1479935"/>
              <a:gd name="connsiteX175" fmla="*/ 118784 w 1485658"/>
              <a:gd name="connsiteY175" fmla="*/ 503394 h 1479935"/>
              <a:gd name="connsiteX176" fmla="*/ 149337 w 1485658"/>
              <a:gd name="connsiteY176" fmla="*/ 533831 h 1479935"/>
              <a:gd name="connsiteX177" fmla="*/ 179889 w 1485658"/>
              <a:gd name="connsiteY177" fmla="*/ 503394 h 1479935"/>
              <a:gd name="connsiteX178" fmla="*/ 149337 w 1485658"/>
              <a:gd name="connsiteY178" fmla="*/ 472957 h 1479935"/>
              <a:gd name="connsiteX179" fmla="*/ 118784 w 1485658"/>
              <a:gd name="connsiteY179" fmla="*/ 503394 h 1479935"/>
              <a:gd name="connsiteX180" fmla="*/ 178081 w 1485658"/>
              <a:gd name="connsiteY180" fmla="*/ 503394 h 1479935"/>
              <a:gd name="connsiteX181" fmla="*/ 208634 w 1485658"/>
              <a:gd name="connsiteY181" fmla="*/ 533831 h 1479935"/>
              <a:gd name="connsiteX182" fmla="*/ 239186 w 1485658"/>
              <a:gd name="connsiteY182" fmla="*/ 503394 h 1479935"/>
              <a:gd name="connsiteX183" fmla="*/ 208634 w 1485658"/>
              <a:gd name="connsiteY183" fmla="*/ 472957 h 1479935"/>
              <a:gd name="connsiteX184" fmla="*/ 178081 w 1485658"/>
              <a:gd name="connsiteY184" fmla="*/ 503394 h 1479935"/>
              <a:gd name="connsiteX185" fmla="*/ 237473 w 1485658"/>
              <a:gd name="connsiteY185" fmla="*/ 503394 h 1479935"/>
              <a:gd name="connsiteX186" fmla="*/ 268026 w 1485658"/>
              <a:gd name="connsiteY186" fmla="*/ 533831 h 1479935"/>
              <a:gd name="connsiteX187" fmla="*/ 298578 w 1485658"/>
              <a:gd name="connsiteY187" fmla="*/ 503394 h 1479935"/>
              <a:gd name="connsiteX188" fmla="*/ 268026 w 1485658"/>
              <a:gd name="connsiteY188" fmla="*/ 472957 h 1479935"/>
              <a:gd name="connsiteX189" fmla="*/ 237473 w 1485658"/>
              <a:gd name="connsiteY189" fmla="*/ 503394 h 1479935"/>
              <a:gd name="connsiteX190" fmla="*/ 296865 w 1485658"/>
              <a:gd name="connsiteY190" fmla="*/ 503394 h 1479935"/>
              <a:gd name="connsiteX191" fmla="*/ 327418 w 1485658"/>
              <a:gd name="connsiteY191" fmla="*/ 533831 h 1479935"/>
              <a:gd name="connsiteX192" fmla="*/ 357970 w 1485658"/>
              <a:gd name="connsiteY192" fmla="*/ 503394 h 1479935"/>
              <a:gd name="connsiteX193" fmla="*/ 327418 w 1485658"/>
              <a:gd name="connsiteY193" fmla="*/ 472957 h 1479935"/>
              <a:gd name="connsiteX194" fmla="*/ 296865 w 1485658"/>
              <a:gd name="connsiteY194" fmla="*/ 503394 h 1479935"/>
              <a:gd name="connsiteX195" fmla="*/ 356162 w 1485658"/>
              <a:gd name="connsiteY195" fmla="*/ 503394 h 1479935"/>
              <a:gd name="connsiteX196" fmla="*/ 386715 w 1485658"/>
              <a:gd name="connsiteY196" fmla="*/ 533831 h 1479935"/>
              <a:gd name="connsiteX197" fmla="*/ 417267 w 1485658"/>
              <a:gd name="connsiteY197" fmla="*/ 503394 h 1479935"/>
              <a:gd name="connsiteX198" fmla="*/ 386715 w 1485658"/>
              <a:gd name="connsiteY198" fmla="*/ 472957 h 1479935"/>
              <a:gd name="connsiteX199" fmla="*/ 356162 w 1485658"/>
              <a:gd name="connsiteY199" fmla="*/ 503394 h 1479935"/>
              <a:gd name="connsiteX200" fmla="*/ 534243 w 1485658"/>
              <a:gd name="connsiteY200" fmla="*/ 503394 h 1479935"/>
              <a:gd name="connsiteX201" fmla="*/ 564796 w 1485658"/>
              <a:gd name="connsiteY201" fmla="*/ 533831 h 1479935"/>
              <a:gd name="connsiteX202" fmla="*/ 595348 w 1485658"/>
              <a:gd name="connsiteY202" fmla="*/ 503394 h 1479935"/>
              <a:gd name="connsiteX203" fmla="*/ 564796 w 1485658"/>
              <a:gd name="connsiteY203" fmla="*/ 472957 h 1479935"/>
              <a:gd name="connsiteX204" fmla="*/ 534243 w 1485658"/>
              <a:gd name="connsiteY204" fmla="*/ 503394 h 1479935"/>
              <a:gd name="connsiteX205" fmla="*/ 712324 w 1485658"/>
              <a:gd name="connsiteY205" fmla="*/ 503394 h 1479935"/>
              <a:gd name="connsiteX206" fmla="*/ 742877 w 1485658"/>
              <a:gd name="connsiteY206" fmla="*/ 533831 h 1479935"/>
              <a:gd name="connsiteX207" fmla="*/ 773429 w 1485658"/>
              <a:gd name="connsiteY207" fmla="*/ 503394 h 1479935"/>
              <a:gd name="connsiteX208" fmla="*/ 742877 w 1485658"/>
              <a:gd name="connsiteY208" fmla="*/ 472957 h 1479935"/>
              <a:gd name="connsiteX209" fmla="*/ 712324 w 1485658"/>
              <a:gd name="connsiteY209" fmla="*/ 503394 h 1479935"/>
              <a:gd name="connsiteX210" fmla="*/ 771621 w 1485658"/>
              <a:gd name="connsiteY210" fmla="*/ 503394 h 1479935"/>
              <a:gd name="connsiteX211" fmla="*/ 802174 w 1485658"/>
              <a:gd name="connsiteY211" fmla="*/ 533831 h 1479935"/>
              <a:gd name="connsiteX212" fmla="*/ 832726 w 1485658"/>
              <a:gd name="connsiteY212" fmla="*/ 503394 h 1479935"/>
              <a:gd name="connsiteX213" fmla="*/ 802174 w 1485658"/>
              <a:gd name="connsiteY213" fmla="*/ 472957 h 1479935"/>
              <a:gd name="connsiteX214" fmla="*/ 771621 w 1485658"/>
              <a:gd name="connsiteY214" fmla="*/ 503394 h 1479935"/>
              <a:gd name="connsiteX215" fmla="*/ 949702 w 1485658"/>
              <a:gd name="connsiteY215" fmla="*/ 503394 h 1479935"/>
              <a:gd name="connsiteX216" fmla="*/ 980255 w 1485658"/>
              <a:gd name="connsiteY216" fmla="*/ 533831 h 1479935"/>
              <a:gd name="connsiteX217" fmla="*/ 1010807 w 1485658"/>
              <a:gd name="connsiteY217" fmla="*/ 503394 h 1479935"/>
              <a:gd name="connsiteX218" fmla="*/ 980255 w 1485658"/>
              <a:gd name="connsiteY218" fmla="*/ 472957 h 1479935"/>
              <a:gd name="connsiteX219" fmla="*/ 949702 w 1485658"/>
              <a:gd name="connsiteY219" fmla="*/ 503394 h 1479935"/>
              <a:gd name="connsiteX220" fmla="*/ 1068391 w 1485658"/>
              <a:gd name="connsiteY220" fmla="*/ 503394 h 1479935"/>
              <a:gd name="connsiteX221" fmla="*/ 1098944 w 1485658"/>
              <a:gd name="connsiteY221" fmla="*/ 533831 h 1479935"/>
              <a:gd name="connsiteX222" fmla="*/ 1129496 w 1485658"/>
              <a:gd name="connsiteY222" fmla="*/ 503394 h 1479935"/>
              <a:gd name="connsiteX223" fmla="*/ 1098944 w 1485658"/>
              <a:gd name="connsiteY223" fmla="*/ 472957 h 1479935"/>
              <a:gd name="connsiteX224" fmla="*/ 1068391 w 1485658"/>
              <a:gd name="connsiteY224" fmla="*/ 503394 h 1479935"/>
              <a:gd name="connsiteX225" fmla="*/ 1127783 w 1485658"/>
              <a:gd name="connsiteY225" fmla="*/ 503394 h 1479935"/>
              <a:gd name="connsiteX226" fmla="*/ 1158336 w 1485658"/>
              <a:gd name="connsiteY226" fmla="*/ 533831 h 1479935"/>
              <a:gd name="connsiteX227" fmla="*/ 1188888 w 1485658"/>
              <a:gd name="connsiteY227" fmla="*/ 503394 h 1479935"/>
              <a:gd name="connsiteX228" fmla="*/ 1158336 w 1485658"/>
              <a:gd name="connsiteY228" fmla="*/ 472957 h 1479935"/>
              <a:gd name="connsiteX229" fmla="*/ 1127783 w 1485658"/>
              <a:gd name="connsiteY229" fmla="*/ 503394 h 1479935"/>
              <a:gd name="connsiteX230" fmla="*/ 1187080 w 1485658"/>
              <a:gd name="connsiteY230" fmla="*/ 503394 h 1479935"/>
              <a:gd name="connsiteX231" fmla="*/ 1217633 w 1485658"/>
              <a:gd name="connsiteY231" fmla="*/ 533831 h 1479935"/>
              <a:gd name="connsiteX232" fmla="*/ 1248185 w 1485658"/>
              <a:gd name="connsiteY232" fmla="*/ 503394 h 1479935"/>
              <a:gd name="connsiteX233" fmla="*/ 1217633 w 1485658"/>
              <a:gd name="connsiteY233" fmla="*/ 472957 h 1479935"/>
              <a:gd name="connsiteX234" fmla="*/ 1187080 w 1485658"/>
              <a:gd name="connsiteY234" fmla="*/ 503394 h 1479935"/>
              <a:gd name="connsiteX235" fmla="*/ 1246472 w 1485658"/>
              <a:gd name="connsiteY235" fmla="*/ 503394 h 1479935"/>
              <a:gd name="connsiteX236" fmla="*/ 1277025 w 1485658"/>
              <a:gd name="connsiteY236" fmla="*/ 533831 h 1479935"/>
              <a:gd name="connsiteX237" fmla="*/ 1307577 w 1485658"/>
              <a:gd name="connsiteY237" fmla="*/ 503394 h 1479935"/>
              <a:gd name="connsiteX238" fmla="*/ 1277025 w 1485658"/>
              <a:gd name="connsiteY238" fmla="*/ 472957 h 1479935"/>
              <a:gd name="connsiteX239" fmla="*/ 1246472 w 1485658"/>
              <a:gd name="connsiteY239" fmla="*/ 503394 h 1479935"/>
              <a:gd name="connsiteX240" fmla="*/ 1305769 w 1485658"/>
              <a:gd name="connsiteY240" fmla="*/ 503394 h 1479935"/>
              <a:gd name="connsiteX241" fmla="*/ 1336322 w 1485658"/>
              <a:gd name="connsiteY241" fmla="*/ 533831 h 1479935"/>
              <a:gd name="connsiteX242" fmla="*/ 1366874 w 1485658"/>
              <a:gd name="connsiteY242" fmla="*/ 503394 h 1479935"/>
              <a:gd name="connsiteX243" fmla="*/ 1336322 w 1485658"/>
              <a:gd name="connsiteY243" fmla="*/ 472957 h 1479935"/>
              <a:gd name="connsiteX244" fmla="*/ 1305769 w 1485658"/>
              <a:gd name="connsiteY244" fmla="*/ 503394 h 1479935"/>
              <a:gd name="connsiteX245" fmla="*/ 95 w 1485658"/>
              <a:gd name="connsiteY245" fmla="*/ 562561 h 1479935"/>
              <a:gd name="connsiteX246" fmla="*/ 30648 w 1485658"/>
              <a:gd name="connsiteY246" fmla="*/ 592998 h 1479935"/>
              <a:gd name="connsiteX247" fmla="*/ 61200 w 1485658"/>
              <a:gd name="connsiteY247" fmla="*/ 562561 h 1479935"/>
              <a:gd name="connsiteX248" fmla="*/ 30648 w 1485658"/>
              <a:gd name="connsiteY248" fmla="*/ 532124 h 1479935"/>
              <a:gd name="connsiteX249" fmla="*/ 95 w 1485658"/>
              <a:gd name="connsiteY249" fmla="*/ 562561 h 1479935"/>
              <a:gd name="connsiteX250" fmla="*/ 118784 w 1485658"/>
              <a:gd name="connsiteY250" fmla="*/ 562561 h 1479935"/>
              <a:gd name="connsiteX251" fmla="*/ 149337 w 1485658"/>
              <a:gd name="connsiteY251" fmla="*/ 592998 h 1479935"/>
              <a:gd name="connsiteX252" fmla="*/ 179889 w 1485658"/>
              <a:gd name="connsiteY252" fmla="*/ 562561 h 1479935"/>
              <a:gd name="connsiteX253" fmla="*/ 149337 w 1485658"/>
              <a:gd name="connsiteY253" fmla="*/ 532124 h 1479935"/>
              <a:gd name="connsiteX254" fmla="*/ 118784 w 1485658"/>
              <a:gd name="connsiteY254" fmla="*/ 562561 h 1479935"/>
              <a:gd name="connsiteX255" fmla="*/ 237473 w 1485658"/>
              <a:gd name="connsiteY255" fmla="*/ 562561 h 1479935"/>
              <a:gd name="connsiteX256" fmla="*/ 268026 w 1485658"/>
              <a:gd name="connsiteY256" fmla="*/ 592998 h 1479935"/>
              <a:gd name="connsiteX257" fmla="*/ 298578 w 1485658"/>
              <a:gd name="connsiteY257" fmla="*/ 562561 h 1479935"/>
              <a:gd name="connsiteX258" fmla="*/ 268026 w 1485658"/>
              <a:gd name="connsiteY258" fmla="*/ 532124 h 1479935"/>
              <a:gd name="connsiteX259" fmla="*/ 237473 w 1485658"/>
              <a:gd name="connsiteY259" fmla="*/ 562561 h 1479935"/>
              <a:gd name="connsiteX260" fmla="*/ 534243 w 1485658"/>
              <a:gd name="connsiteY260" fmla="*/ 562561 h 1479935"/>
              <a:gd name="connsiteX261" fmla="*/ 564796 w 1485658"/>
              <a:gd name="connsiteY261" fmla="*/ 592998 h 1479935"/>
              <a:gd name="connsiteX262" fmla="*/ 595348 w 1485658"/>
              <a:gd name="connsiteY262" fmla="*/ 562561 h 1479935"/>
              <a:gd name="connsiteX263" fmla="*/ 564796 w 1485658"/>
              <a:gd name="connsiteY263" fmla="*/ 532124 h 1479935"/>
              <a:gd name="connsiteX264" fmla="*/ 534243 w 1485658"/>
              <a:gd name="connsiteY264" fmla="*/ 562561 h 1479935"/>
              <a:gd name="connsiteX265" fmla="*/ 712324 w 1485658"/>
              <a:gd name="connsiteY265" fmla="*/ 562561 h 1479935"/>
              <a:gd name="connsiteX266" fmla="*/ 742877 w 1485658"/>
              <a:gd name="connsiteY266" fmla="*/ 592998 h 1479935"/>
              <a:gd name="connsiteX267" fmla="*/ 773429 w 1485658"/>
              <a:gd name="connsiteY267" fmla="*/ 562561 h 1479935"/>
              <a:gd name="connsiteX268" fmla="*/ 742877 w 1485658"/>
              <a:gd name="connsiteY268" fmla="*/ 532124 h 1479935"/>
              <a:gd name="connsiteX269" fmla="*/ 712324 w 1485658"/>
              <a:gd name="connsiteY269" fmla="*/ 562561 h 1479935"/>
              <a:gd name="connsiteX270" fmla="*/ 771621 w 1485658"/>
              <a:gd name="connsiteY270" fmla="*/ 562561 h 1479935"/>
              <a:gd name="connsiteX271" fmla="*/ 802174 w 1485658"/>
              <a:gd name="connsiteY271" fmla="*/ 592998 h 1479935"/>
              <a:gd name="connsiteX272" fmla="*/ 832726 w 1485658"/>
              <a:gd name="connsiteY272" fmla="*/ 562561 h 1479935"/>
              <a:gd name="connsiteX273" fmla="*/ 802174 w 1485658"/>
              <a:gd name="connsiteY273" fmla="*/ 532124 h 1479935"/>
              <a:gd name="connsiteX274" fmla="*/ 771621 w 1485658"/>
              <a:gd name="connsiteY274" fmla="*/ 562561 h 1479935"/>
              <a:gd name="connsiteX275" fmla="*/ 949702 w 1485658"/>
              <a:gd name="connsiteY275" fmla="*/ 562561 h 1479935"/>
              <a:gd name="connsiteX276" fmla="*/ 980255 w 1485658"/>
              <a:gd name="connsiteY276" fmla="*/ 592998 h 1479935"/>
              <a:gd name="connsiteX277" fmla="*/ 1010807 w 1485658"/>
              <a:gd name="connsiteY277" fmla="*/ 562561 h 1479935"/>
              <a:gd name="connsiteX278" fmla="*/ 980255 w 1485658"/>
              <a:gd name="connsiteY278" fmla="*/ 532124 h 1479935"/>
              <a:gd name="connsiteX279" fmla="*/ 949702 w 1485658"/>
              <a:gd name="connsiteY279" fmla="*/ 562561 h 1479935"/>
              <a:gd name="connsiteX280" fmla="*/ 1009094 w 1485658"/>
              <a:gd name="connsiteY280" fmla="*/ 562561 h 1479935"/>
              <a:gd name="connsiteX281" fmla="*/ 1039647 w 1485658"/>
              <a:gd name="connsiteY281" fmla="*/ 592998 h 1479935"/>
              <a:gd name="connsiteX282" fmla="*/ 1070199 w 1485658"/>
              <a:gd name="connsiteY282" fmla="*/ 562561 h 1479935"/>
              <a:gd name="connsiteX283" fmla="*/ 1039647 w 1485658"/>
              <a:gd name="connsiteY283" fmla="*/ 532124 h 1479935"/>
              <a:gd name="connsiteX284" fmla="*/ 1009094 w 1485658"/>
              <a:gd name="connsiteY284" fmla="*/ 562561 h 1479935"/>
              <a:gd name="connsiteX285" fmla="*/ 1127783 w 1485658"/>
              <a:gd name="connsiteY285" fmla="*/ 562561 h 1479935"/>
              <a:gd name="connsiteX286" fmla="*/ 1158336 w 1485658"/>
              <a:gd name="connsiteY286" fmla="*/ 592998 h 1479935"/>
              <a:gd name="connsiteX287" fmla="*/ 1188888 w 1485658"/>
              <a:gd name="connsiteY287" fmla="*/ 562561 h 1479935"/>
              <a:gd name="connsiteX288" fmla="*/ 1158336 w 1485658"/>
              <a:gd name="connsiteY288" fmla="*/ 532124 h 1479935"/>
              <a:gd name="connsiteX289" fmla="*/ 1127783 w 1485658"/>
              <a:gd name="connsiteY289" fmla="*/ 562561 h 1479935"/>
              <a:gd name="connsiteX290" fmla="*/ 1365161 w 1485658"/>
              <a:gd name="connsiteY290" fmla="*/ 562561 h 1479935"/>
              <a:gd name="connsiteX291" fmla="*/ 1395714 w 1485658"/>
              <a:gd name="connsiteY291" fmla="*/ 592998 h 1479935"/>
              <a:gd name="connsiteX292" fmla="*/ 1426266 w 1485658"/>
              <a:gd name="connsiteY292" fmla="*/ 562561 h 1479935"/>
              <a:gd name="connsiteX293" fmla="*/ 1395714 w 1485658"/>
              <a:gd name="connsiteY293" fmla="*/ 532124 h 1479935"/>
              <a:gd name="connsiteX294" fmla="*/ 1365161 w 1485658"/>
              <a:gd name="connsiteY294" fmla="*/ 562561 h 1479935"/>
              <a:gd name="connsiteX295" fmla="*/ 95 w 1485658"/>
              <a:gd name="connsiteY295" fmla="*/ 621728 h 1479935"/>
              <a:gd name="connsiteX296" fmla="*/ 30648 w 1485658"/>
              <a:gd name="connsiteY296" fmla="*/ 652165 h 1479935"/>
              <a:gd name="connsiteX297" fmla="*/ 61200 w 1485658"/>
              <a:gd name="connsiteY297" fmla="*/ 621728 h 1479935"/>
              <a:gd name="connsiteX298" fmla="*/ 30648 w 1485658"/>
              <a:gd name="connsiteY298" fmla="*/ 591291 h 1479935"/>
              <a:gd name="connsiteX299" fmla="*/ 95 w 1485658"/>
              <a:gd name="connsiteY299" fmla="*/ 621728 h 1479935"/>
              <a:gd name="connsiteX300" fmla="*/ 118784 w 1485658"/>
              <a:gd name="connsiteY300" fmla="*/ 621728 h 1479935"/>
              <a:gd name="connsiteX301" fmla="*/ 149337 w 1485658"/>
              <a:gd name="connsiteY301" fmla="*/ 652165 h 1479935"/>
              <a:gd name="connsiteX302" fmla="*/ 179889 w 1485658"/>
              <a:gd name="connsiteY302" fmla="*/ 621728 h 1479935"/>
              <a:gd name="connsiteX303" fmla="*/ 149337 w 1485658"/>
              <a:gd name="connsiteY303" fmla="*/ 591291 h 1479935"/>
              <a:gd name="connsiteX304" fmla="*/ 118784 w 1485658"/>
              <a:gd name="connsiteY304" fmla="*/ 621728 h 1479935"/>
              <a:gd name="connsiteX305" fmla="*/ 237473 w 1485658"/>
              <a:gd name="connsiteY305" fmla="*/ 621728 h 1479935"/>
              <a:gd name="connsiteX306" fmla="*/ 268026 w 1485658"/>
              <a:gd name="connsiteY306" fmla="*/ 652165 h 1479935"/>
              <a:gd name="connsiteX307" fmla="*/ 298578 w 1485658"/>
              <a:gd name="connsiteY307" fmla="*/ 621728 h 1479935"/>
              <a:gd name="connsiteX308" fmla="*/ 268026 w 1485658"/>
              <a:gd name="connsiteY308" fmla="*/ 591291 h 1479935"/>
              <a:gd name="connsiteX309" fmla="*/ 237473 w 1485658"/>
              <a:gd name="connsiteY309" fmla="*/ 621728 h 1479935"/>
              <a:gd name="connsiteX310" fmla="*/ 296865 w 1485658"/>
              <a:gd name="connsiteY310" fmla="*/ 621728 h 1479935"/>
              <a:gd name="connsiteX311" fmla="*/ 327418 w 1485658"/>
              <a:gd name="connsiteY311" fmla="*/ 652165 h 1479935"/>
              <a:gd name="connsiteX312" fmla="*/ 357970 w 1485658"/>
              <a:gd name="connsiteY312" fmla="*/ 621728 h 1479935"/>
              <a:gd name="connsiteX313" fmla="*/ 327418 w 1485658"/>
              <a:gd name="connsiteY313" fmla="*/ 591291 h 1479935"/>
              <a:gd name="connsiteX314" fmla="*/ 296865 w 1485658"/>
              <a:gd name="connsiteY314" fmla="*/ 621728 h 1479935"/>
              <a:gd name="connsiteX315" fmla="*/ 356162 w 1485658"/>
              <a:gd name="connsiteY315" fmla="*/ 621728 h 1479935"/>
              <a:gd name="connsiteX316" fmla="*/ 386715 w 1485658"/>
              <a:gd name="connsiteY316" fmla="*/ 652165 h 1479935"/>
              <a:gd name="connsiteX317" fmla="*/ 417267 w 1485658"/>
              <a:gd name="connsiteY317" fmla="*/ 621728 h 1479935"/>
              <a:gd name="connsiteX318" fmla="*/ 386715 w 1485658"/>
              <a:gd name="connsiteY318" fmla="*/ 591291 h 1479935"/>
              <a:gd name="connsiteX319" fmla="*/ 356162 w 1485658"/>
              <a:gd name="connsiteY319" fmla="*/ 621728 h 1479935"/>
              <a:gd name="connsiteX320" fmla="*/ 474851 w 1485658"/>
              <a:gd name="connsiteY320" fmla="*/ 621728 h 1479935"/>
              <a:gd name="connsiteX321" fmla="*/ 505404 w 1485658"/>
              <a:gd name="connsiteY321" fmla="*/ 652165 h 1479935"/>
              <a:gd name="connsiteX322" fmla="*/ 535956 w 1485658"/>
              <a:gd name="connsiteY322" fmla="*/ 621728 h 1479935"/>
              <a:gd name="connsiteX323" fmla="*/ 505404 w 1485658"/>
              <a:gd name="connsiteY323" fmla="*/ 591291 h 1479935"/>
              <a:gd name="connsiteX324" fmla="*/ 474851 w 1485658"/>
              <a:gd name="connsiteY324" fmla="*/ 621728 h 1479935"/>
              <a:gd name="connsiteX325" fmla="*/ 593635 w 1485658"/>
              <a:gd name="connsiteY325" fmla="*/ 621728 h 1479935"/>
              <a:gd name="connsiteX326" fmla="*/ 624188 w 1485658"/>
              <a:gd name="connsiteY326" fmla="*/ 652165 h 1479935"/>
              <a:gd name="connsiteX327" fmla="*/ 654740 w 1485658"/>
              <a:gd name="connsiteY327" fmla="*/ 621728 h 1479935"/>
              <a:gd name="connsiteX328" fmla="*/ 624188 w 1485658"/>
              <a:gd name="connsiteY328" fmla="*/ 591291 h 1479935"/>
              <a:gd name="connsiteX329" fmla="*/ 593635 w 1485658"/>
              <a:gd name="connsiteY329" fmla="*/ 621728 h 1479935"/>
              <a:gd name="connsiteX330" fmla="*/ 652932 w 1485658"/>
              <a:gd name="connsiteY330" fmla="*/ 621728 h 1479935"/>
              <a:gd name="connsiteX331" fmla="*/ 683485 w 1485658"/>
              <a:gd name="connsiteY331" fmla="*/ 652165 h 1479935"/>
              <a:gd name="connsiteX332" fmla="*/ 714037 w 1485658"/>
              <a:gd name="connsiteY332" fmla="*/ 621728 h 1479935"/>
              <a:gd name="connsiteX333" fmla="*/ 683485 w 1485658"/>
              <a:gd name="connsiteY333" fmla="*/ 591291 h 1479935"/>
              <a:gd name="connsiteX334" fmla="*/ 652932 w 1485658"/>
              <a:gd name="connsiteY334" fmla="*/ 621728 h 1479935"/>
              <a:gd name="connsiteX335" fmla="*/ 712324 w 1485658"/>
              <a:gd name="connsiteY335" fmla="*/ 621728 h 1479935"/>
              <a:gd name="connsiteX336" fmla="*/ 742877 w 1485658"/>
              <a:gd name="connsiteY336" fmla="*/ 652165 h 1479935"/>
              <a:gd name="connsiteX337" fmla="*/ 773429 w 1485658"/>
              <a:gd name="connsiteY337" fmla="*/ 621728 h 1479935"/>
              <a:gd name="connsiteX338" fmla="*/ 742877 w 1485658"/>
              <a:gd name="connsiteY338" fmla="*/ 591291 h 1479935"/>
              <a:gd name="connsiteX339" fmla="*/ 712324 w 1485658"/>
              <a:gd name="connsiteY339" fmla="*/ 621728 h 1479935"/>
              <a:gd name="connsiteX340" fmla="*/ 771621 w 1485658"/>
              <a:gd name="connsiteY340" fmla="*/ 621728 h 1479935"/>
              <a:gd name="connsiteX341" fmla="*/ 802174 w 1485658"/>
              <a:gd name="connsiteY341" fmla="*/ 652165 h 1479935"/>
              <a:gd name="connsiteX342" fmla="*/ 832726 w 1485658"/>
              <a:gd name="connsiteY342" fmla="*/ 621728 h 1479935"/>
              <a:gd name="connsiteX343" fmla="*/ 802174 w 1485658"/>
              <a:gd name="connsiteY343" fmla="*/ 591291 h 1479935"/>
              <a:gd name="connsiteX344" fmla="*/ 771621 w 1485658"/>
              <a:gd name="connsiteY344" fmla="*/ 621728 h 1479935"/>
              <a:gd name="connsiteX345" fmla="*/ 831013 w 1485658"/>
              <a:gd name="connsiteY345" fmla="*/ 621728 h 1479935"/>
              <a:gd name="connsiteX346" fmla="*/ 861566 w 1485658"/>
              <a:gd name="connsiteY346" fmla="*/ 652165 h 1479935"/>
              <a:gd name="connsiteX347" fmla="*/ 892118 w 1485658"/>
              <a:gd name="connsiteY347" fmla="*/ 621728 h 1479935"/>
              <a:gd name="connsiteX348" fmla="*/ 861566 w 1485658"/>
              <a:gd name="connsiteY348" fmla="*/ 591291 h 1479935"/>
              <a:gd name="connsiteX349" fmla="*/ 831013 w 1485658"/>
              <a:gd name="connsiteY349" fmla="*/ 621728 h 1479935"/>
              <a:gd name="connsiteX350" fmla="*/ 890310 w 1485658"/>
              <a:gd name="connsiteY350" fmla="*/ 621728 h 1479935"/>
              <a:gd name="connsiteX351" fmla="*/ 920863 w 1485658"/>
              <a:gd name="connsiteY351" fmla="*/ 652165 h 1479935"/>
              <a:gd name="connsiteX352" fmla="*/ 951415 w 1485658"/>
              <a:gd name="connsiteY352" fmla="*/ 621728 h 1479935"/>
              <a:gd name="connsiteX353" fmla="*/ 920863 w 1485658"/>
              <a:gd name="connsiteY353" fmla="*/ 591291 h 1479935"/>
              <a:gd name="connsiteX354" fmla="*/ 890310 w 1485658"/>
              <a:gd name="connsiteY354" fmla="*/ 621728 h 1479935"/>
              <a:gd name="connsiteX355" fmla="*/ 949702 w 1485658"/>
              <a:gd name="connsiteY355" fmla="*/ 621728 h 1479935"/>
              <a:gd name="connsiteX356" fmla="*/ 980255 w 1485658"/>
              <a:gd name="connsiteY356" fmla="*/ 652165 h 1479935"/>
              <a:gd name="connsiteX357" fmla="*/ 1010807 w 1485658"/>
              <a:gd name="connsiteY357" fmla="*/ 621728 h 1479935"/>
              <a:gd name="connsiteX358" fmla="*/ 980255 w 1485658"/>
              <a:gd name="connsiteY358" fmla="*/ 591291 h 1479935"/>
              <a:gd name="connsiteX359" fmla="*/ 949702 w 1485658"/>
              <a:gd name="connsiteY359" fmla="*/ 621728 h 1479935"/>
              <a:gd name="connsiteX360" fmla="*/ 1009094 w 1485658"/>
              <a:gd name="connsiteY360" fmla="*/ 621728 h 1479935"/>
              <a:gd name="connsiteX361" fmla="*/ 1039647 w 1485658"/>
              <a:gd name="connsiteY361" fmla="*/ 652165 h 1479935"/>
              <a:gd name="connsiteX362" fmla="*/ 1070199 w 1485658"/>
              <a:gd name="connsiteY362" fmla="*/ 621728 h 1479935"/>
              <a:gd name="connsiteX363" fmla="*/ 1039647 w 1485658"/>
              <a:gd name="connsiteY363" fmla="*/ 591291 h 1479935"/>
              <a:gd name="connsiteX364" fmla="*/ 1009094 w 1485658"/>
              <a:gd name="connsiteY364" fmla="*/ 621728 h 1479935"/>
              <a:gd name="connsiteX365" fmla="*/ 1068391 w 1485658"/>
              <a:gd name="connsiteY365" fmla="*/ 621728 h 1479935"/>
              <a:gd name="connsiteX366" fmla="*/ 1098944 w 1485658"/>
              <a:gd name="connsiteY366" fmla="*/ 652165 h 1479935"/>
              <a:gd name="connsiteX367" fmla="*/ 1129496 w 1485658"/>
              <a:gd name="connsiteY367" fmla="*/ 621728 h 1479935"/>
              <a:gd name="connsiteX368" fmla="*/ 1098944 w 1485658"/>
              <a:gd name="connsiteY368" fmla="*/ 591291 h 1479935"/>
              <a:gd name="connsiteX369" fmla="*/ 1068391 w 1485658"/>
              <a:gd name="connsiteY369" fmla="*/ 621728 h 1479935"/>
              <a:gd name="connsiteX370" fmla="*/ 1127783 w 1485658"/>
              <a:gd name="connsiteY370" fmla="*/ 621728 h 1479935"/>
              <a:gd name="connsiteX371" fmla="*/ 1158336 w 1485658"/>
              <a:gd name="connsiteY371" fmla="*/ 652165 h 1479935"/>
              <a:gd name="connsiteX372" fmla="*/ 1188888 w 1485658"/>
              <a:gd name="connsiteY372" fmla="*/ 621728 h 1479935"/>
              <a:gd name="connsiteX373" fmla="*/ 1158336 w 1485658"/>
              <a:gd name="connsiteY373" fmla="*/ 591291 h 1479935"/>
              <a:gd name="connsiteX374" fmla="*/ 1127783 w 1485658"/>
              <a:gd name="connsiteY374" fmla="*/ 621728 h 1479935"/>
              <a:gd name="connsiteX375" fmla="*/ 1187080 w 1485658"/>
              <a:gd name="connsiteY375" fmla="*/ 621728 h 1479935"/>
              <a:gd name="connsiteX376" fmla="*/ 1217633 w 1485658"/>
              <a:gd name="connsiteY376" fmla="*/ 652165 h 1479935"/>
              <a:gd name="connsiteX377" fmla="*/ 1248185 w 1485658"/>
              <a:gd name="connsiteY377" fmla="*/ 621728 h 1479935"/>
              <a:gd name="connsiteX378" fmla="*/ 1217633 w 1485658"/>
              <a:gd name="connsiteY378" fmla="*/ 591291 h 1479935"/>
              <a:gd name="connsiteX379" fmla="*/ 1187080 w 1485658"/>
              <a:gd name="connsiteY379" fmla="*/ 621728 h 1479935"/>
              <a:gd name="connsiteX380" fmla="*/ 1246472 w 1485658"/>
              <a:gd name="connsiteY380" fmla="*/ 621728 h 1479935"/>
              <a:gd name="connsiteX381" fmla="*/ 1277025 w 1485658"/>
              <a:gd name="connsiteY381" fmla="*/ 652165 h 1479935"/>
              <a:gd name="connsiteX382" fmla="*/ 1307577 w 1485658"/>
              <a:gd name="connsiteY382" fmla="*/ 621728 h 1479935"/>
              <a:gd name="connsiteX383" fmla="*/ 1277025 w 1485658"/>
              <a:gd name="connsiteY383" fmla="*/ 591291 h 1479935"/>
              <a:gd name="connsiteX384" fmla="*/ 1246472 w 1485658"/>
              <a:gd name="connsiteY384" fmla="*/ 621728 h 1479935"/>
              <a:gd name="connsiteX385" fmla="*/ 1365161 w 1485658"/>
              <a:gd name="connsiteY385" fmla="*/ 621728 h 1479935"/>
              <a:gd name="connsiteX386" fmla="*/ 1395714 w 1485658"/>
              <a:gd name="connsiteY386" fmla="*/ 652165 h 1479935"/>
              <a:gd name="connsiteX387" fmla="*/ 1426266 w 1485658"/>
              <a:gd name="connsiteY387" fmla="*/ 621728 h 1479935"/>
              <a:gd name="connsiteX388" fmla="*/ 1395714 w 1485658"/>
              <a:gd name="connsiteY388" fmla="*/ 591291 h 1479935"/>
              <a:gd name="connsiteX389" fmla="*/ 1365161 w 1485658"/>
              <a:gd name="connsiteY389" fmla="*/ 621728 h 1479935"/>
              <a:gd name="connsiteX390" fmla="*/ 1424553 w 1485658"/>
              <a:gd name="connsiteY390" fmla="*/ 621728 h 1479935"/>
              <a:gd name="connsiteX391" fmla="*/ 1455106 w 1485658"/>
              <a:gd name="connsiteY391" fmla="*/ 652165 h 1479935"/>
              <a:gd name="connsiteX392" fmla="*/ 1485658 w 1485658"/>
              <a:gd name="connsiteY392" fmla="*/ 621728 h 1479935"/>
              <a:gd name="connsiteX393" fmla="*/ 1455106 w 1485658"/>
              <a:gd name="connsiteY393" fmla="*/ 591291 h 1479935"/>
              <a:gd name="connsiteX394" fmla="*/ 1424553 w 1485658"/>
              <a:gd name="connsiteY394" fmla="*/ 621728 h 1479935"/>
              <a:gd name="connsiteX395" fmla="*/ 118784 w 1485658"/>
              <a:gd name="connsiteY395" fmla="*/ 680800 h 1479935"/>
              <a:gd name="connsiteX396" fmla="*/ 149337 w 1485658"/>
              <a:gd name="connsiteY396" fmla="*/ 711237 h 1479935"/>
              <a:gd name="connsiteX397" fmla="*/ 179889 w 1485658"/>
              <a:gd name="connsiteY397" fmla="*/ 680800 h 1479935"/>
              <a:gd name="connsiteX398" fmla="*/ 149337 w 1485658"/>
              <a:gd name="connsiteY398" fmla="*/ 650364 h 1479935"/>
              <a:gd name="connsiteX399" fmla="*/ 118784 w 1485658"/>
              <a:gd name="connsiteY399" fmla="*/ 680800 h 1479935"/>
              <a:gd name="connsiteX400" fmla="*/ 178081 w 1485658"/>
              <a:gd name="connsiteY400" fmla="*/ 680800 h 1479935"/>
              <a:gd name="connsiteX401" fmla="*/ 208634 w 1485658"/>
              <a:gd name="connsiteY401" fmla="*/ 711237 h 1479935"/>
              <a:gd name="connsiteX402" fmla="*/ 239186 w 1485658"/>
              <a:gd name="connsiteY402" fmla="*/ 680800 h 1479935"/>
              <a:gd name="connsiteX403" fmla="*/ 208634 w 1485658"/>
              <a:gd name="connsiteY403" fmla="*/ 650364 h 1479935"/>
              <a:gd name="connsiteX404" fmla="*/ 178081 w 1485658"/>
              <a:gd name="connsiteY404" fmla="*/ 680800 h 1479935"/>
              <a:gd name="connsiteX405" fmla="*/ 237473 w 1485658"/>
              <a:gd name="connsiteY405" fmla="*/ 680800 h 1479935"/>
              <a:gd name="connsiteX406" fmla="*/ 268026 w 1485658"/>
              <a:gd name="connsiteY406" fmla="*/ 711237 h 1479935"/>
              <a:gd name="connsiteX407" fmla="*/ 298578 w 1485658"/>
              <a:gd name="connsiteY407" fmla="*/ 680800 h 1479935"/>
              <a:gd name="connsiteX408" fmla="*/ 268026 w 1485658"/>
              <a:gd name="connsiteY408" fmla="*/ 650364 h 1479935"/>
              <a:gd name="connsiteX409" fmla="*/ 237473 w 1485658"/>
              <a:gd name="connsiteY409" fmla="*/ 680800 h 1479935"/>
              <a:gd name="connsiteX410" fmla="*/ 296865 w 1485658"/>
              <a:gd name="connsiteY410" fmla="*/ 680800 h 1479935"/>
              <a:gd name="connsiteX411" fmla="*/ 327418 w 1485658"/>
              <a:gd name="connsiteY411" fmla="*/ 711237 h 1479935"/>
              <a:gd name="connsiteX412" fmla="*/ 357970 w 1485658"/>
              <a:gd name="connsiteY412" fmla="*/ 680800 h 1479935"/>
              <a:gd name="connsiteX413" fmla="*/ 327418 w 1485658"/>
              <a:gd name="connsiteY413" fmla="*/ 650364 h 1479935"/>
              <a:gd name="connsiteX414" fmla="*/ 296865 w 1485658"/>
              <a:gd name="connsiteY414" fmla="*/ 680800 h 1479935"/>
              <a:gd name="connsiteX415" fmla="*/ 474851 w 1485658"/>
              <a:gd name="connsiteY415" fmla="*/ 680800 h 1479935"/>
              <a:gd name="connsiteX416" fmla="*/ 505404 w 1485658"/>
              <a:gd name="connsiteY416" fmla="*/ 711237 h 1479935"/>
              <a:gd name="connsiteX417" fmla="*/ 535956 w 1485658"/>
              <a:gd name="connsiteY417" fmla="*/ 680800 h 1479935"/>
              <a:gd name="connsiteX418" fmla="*/ 505404 w 1485658"/>
              <a:gd name="connsiteY418" fmla="*/ 650364 h 1479935"/>
              <a:gd name="connsiteX419" fmla="*/ 474851 w 1485658"/>
              <a:gd name="connsiteY419" fmla="*/ 680800 h 1479935"/>
              <a:gd name="connsiteX420" fmla="*/ 593635 w 1485658"/>
              <a:gd name="connsiteY420" fmla="*/ 680800 h 1479935"/>
              <a:gd name="connsiteX421" fmla="*/ 624188 w 1485658"/>
              <a:gd name="connsiteY421" fmla="*/ 711237 h 1479935"/>
              <a:gd name="connsiteX422" fmla="*/ 654740 w 1485658"/>
              <a:gd name="connsiteY422" fmla="*/ 680800 h 1479935"/>
              <a:gd name="connsiteX423" fmla="*/ 624188 w 1485658"/>
              <a:gd name="connsiteY423" fmla="*/ 650364 h 1479935"/>
              <a:gd name="connsiteX424" fmla="*/ 593635 w 1485658"/>
              <a:gd name="connsiteY424" fmla="*/ 680800 h 1479935"/>
              <a:gd name="connsiteX425" fmla="*/ 652932 w 1485658"/>
              <a:gd name="connsiteY425" fmla="*/ 680800 h 1479935"/>
              <a:gd name="connsiteX426" fmla="*/ 683485 w 1485658"/>
              <a:gd name="connsiteY426" fmla="*/ 711237 h 1479935"/>
              <a:gd name="connsiteX427" fmla="*/ 714037 w 1485658"/>
              <a:gd name="connsiteY427" fmla="*/ 680800 h 1479935"/>
              <a:gd name="connsiteX428" fmla="*/ 683485 w 1485658"/>
              <a:gd name="connsiteY428" fmla="*/ 650364 h 1479935"/>
              <a:gd name="connsiteX429" fmla="*/ 652932 w 1485658"/>
              <a:gd name="connsiteY429" fmla="*/ 680800 h 1479935"/>
              <a:gd name="connsiteX430" fmla="*/ 712324 w 1485658"/>
              <a:gd name="connsiteY430" fmla="*/ 680800 h 1479935"/>
              <a:gd name="connsiteX431" fmla="*/ 742877 w 1485658"/>
              <a:gd name="connsiteY431" fmla="*/ 711237 h 1479935"/>
              <a:gd name="connsiteX432" fmla="*/ 773429 w 1485658"/>
              <a:gd name="connsiteY432" fmla="*/ 680800 h 1479935"/>
              <a:gd name="connsiteX433" fmla="*/ 742877 w 1485658"/>
              <a:gd name="connsiteY433" fmla="*/ 650364 h 1479935"/>
              <a:gd name="connsiteX434" fmla="*/ 712324 w 1485658"/>
              <a:gd name="connsiteY434" fmla="*/ 680800 h 1479935"/>
              <a:gd name="connsiteX435" fmla="*/ 831013 w 1485658"/>
              <a:gd name="connsiteY435" fmla="*/ 680800 h 1479935"/>
              <a:gd name="connsiteX436" fmla="*/ 861566 w 1485658"/>
              <a:gd name="connsiteY436" fmla="*/ 711237 h 1479935"/>
              <a:gd name="connsiteX437" fmla="*/ 892118 w 1485658"/>
              <a:gd name="connsiteY437" fmla="*/ 680800 h 1479935"/>
              <a:gd name="connsiteX438" fmla="*/ 861566 w 1485658"/>
              <a:gd name="connsiteY438" fmla="*/ 650364 h 1479935"/>
              <a:gd name="connsiteX439" fmla="*/ 831013 w 1485658"/>
              <a:gd name="connsiteY439" fmla="*/ 680800 h 1479935"/>
              <a:gd name="connsiteX440" fmla="*/ 949702 w 1485658"/>
              <a:gd name="connsiteY440" fmla="*/ 680800 h 1479935"/>
              <a:gd name="connsiteX441" fmla="*/ 980255 w 1485658"/>
              <a:gd name="connsiteY441" fmla="*/ 711237 h 1479935"/>
              <a:gd name="connsiteX442" fmla="*/ 1010807 w 1485658"/>
              <a:gd name="connsiteY442" fmla="*/ 680800 h 1479935"/>
              <a:gd name="connsiteX443" fmla="*/ 980255 w 1485658"/>
              <a:gd name="connsiteY443" fmla="*/ 650364 h 1479935"/>
              <a:gd name="connsiteX444" fmla="*/ 949702 w 1485658"/>
              <a:gd name="connsiteY444" fmla="*/ 680800 h 1479935"/>
              <a:gd name="connsiteX445" fmla="*/ 1068391 w 1485658"/>
              <a:gd name="connsiteY445" fmla="*/ 680800 h 1479935"/>
              <a:gd name="connsiteX446" fmla="*/ 1098944 w 1485658"/>
              <a:gd name="connsiteY446" fmla="*/ 711237 h 1479935"/>
              <a:gd name="connsiteX447" fmla="*/ 1129496 w 1485658"/>
              <a:gd name="connsiteY447" fmla="*/ 680800 h 1479935"/>
              <a:gd name="connsiteX448" fmla="*/ 1098944 w 1485658"/>
              <a:gd name="connsiteY448" fmla="*/ 650364 h 1479935"/>
              <a:gd name="connsiteX449" fmla="*/ 1068391 w 1485658"/>
              <a:gd name="connsiteY449" fmla="*/ 680800 h 1479935"/>
              <a:gd name="connsiteX450" fmla="*/ 1424553 w 1485658"/>
              <a:gd name="connsiteY450" fmla="*/ 680800 h 1479935"/>
              <a:gd name="connsiteX451" fmla="*/ 1455106 w 1485658"/>
              <a:gd name="connsiteY451" fmla="*/ 711237 h 1479935"/>
              <a:gd name="connsiteX452" fmla="*/ 1485658 w 1485658"/>
              <a:gd name="connsiteY452" fmla="*/ 680800 h 1479935"/>
              <a:gd name="connsiteX453" fmla="*/ 1455106 w 1485658"/>
              <a:gd name="connsiteY453" fmla="*/ 650364 h 1479935"/>
              <a:gd name="connsiteX454" fmla="*/ 1424553 w 1485658"/>
              <a:gd name="connsiteY454" fmla="*/ 680800 h 1479935"/>
              <a:gd name="connsiteX455" fmla="*/ 59392 w 1485658"/>
              <a:gd name="connsiteY455" fmla="*/ 739968 h 1479935"/>
              <a:gd name="connsiteX456" fmla="*/ 89945 w 1485658"/>
              <a:gd name="connsiteY456" fmla="*/ 770404 h 1479935"/>
              <a:gd name="connsiteX457" fmla="*/ 120497 w 1485658"/>
              <a:gd name="connsiteY457" fmla="*/ 739968 h 1479935"/>
              <a:gd name="connsiteX458" fmla="*/ 89945 w 1485658"/>
              <a:gd name="connsiteY458" fmla="*/ 709531 h 1479935"/>
              <a:gd name="connsiteX459" fmla="*/ 59392 w 1485658"/>
              <a:gd name="connsiteY459" fmla="*/ 739968 h 1479935"/>
              <a:gd name="connsiteX460" fmla="*/ 118784 w 1485658"/>
              <a:gd name="connsiteY460" fmla="*/ 739968 h 1479935"/>
              <a:gd name="connsiteX461" fmla="*/ 149337 w 1485658"/>
              <a:gd name="connsiteY461" fmla="*/ 770404 h 1479935"/>
              <a:gd name="connsiteX462" fmla="*/ 179889 w 1485658"/>
              <a:gd name="connsiteY462" fmla="*/ 739968 h 1479935"/>
              <a:gd name="connsiteX463" fmla="*/ 149337 w 1485658"/>
              <a:gd name="connsiteY463" fmla="*/ 709531 h 1479935"/>
              <a:gd name="connsiteX464" fmla="*/ 118784 w 1485658"/>
              <a:gd name="connsiteY464" fmla="*/ 739968 h 1479935"/>
              <a:gd name="connsiteX465" fmla="*/ 237473 w 1485658"/>
              <a:gd name="connsiteY465" fmla="*/ 739968 h 1479935"/>
              <a:gd name="connsiteX466" fmla="*/ 268026 w 1485658"/>
              <a:gd name="connsiteY466" fmla="*/ 770404 h 1479935"/>
              <a:gd name="connsiteX467" fmla="*/ 298578 w 1485658"/>
              <a:gd name="connsiteY467" fmla="*/ 739968 h 1479935"/>
              <a:gd name="connsiteX468" fmla="*/ 268026 w 1485658"/>
              <a:gd name="connsiteY468" fmla="*/ 709531 h 1479935"/>
              <a:gd name="connsiteX469" fmla="*/ 237473 w 1485658"/>
              <a:gd name="connsiteY469" fmla="*/ 739968 h 1479935"/>
              <a:gd name="connsiteX470" fmla="*/ 296865 w 1485658"/>
              <a:gd name="connsiteY470" fmla="*/ 739968 h 1479935"/>
              <a:gd name="connsiteX471" fmla="*/ 327418 w 1485658"/>
              <a:gd name="connsiteY471" fmla="*/ 770404 h 1479935"/>
              <a:gd name="connsiteX472" fmla="*/ 357970 w 1485658"/>
              <a:gd name="connsiteY472" fmla="*/ 739968 h 1479935"/>
              <a:gd name="connsiteX473" fmla="*/ 327418 w 1485658"/>
              <a:gd name="connsiteY473" fmla="*/ 709531 h 1479935"/>
              <a:gd name="connsiteX474" fmla="*/ 296865 w 1485658"/>
              <a:gd name="connsiteY474" fmla="*/ 739968 h 1479935"/>
              <a:gd name="connsiteX475" fmla="*/ 356162 w 1485658"/>
              <a:gd name="connsiteY475" fmla="*/ 739968 h 1479935"/>
              <a:gd name="connsiteX476" fmla="*/ 386715 w 1485658"/>
              <a:gd name="connsiteY476" fmla="*/ 770404 h 1479935"/>
              <a:gd name="connsiteX477" fmla="*/ 417267 w 1485658"/>
              <a:gd name="connsiteY477" fmla="*/ 739968 h 1479935"/>
              <a:gd name="connsiteX478" fmla="*/ 386715 w 1485658"/>
              <a:gd name="connsiteY478" fmla="*/ 709531 h 1479935"/>
              <a:gd name="connsiteX479" fmla="*/ 356162 w 1485658"/>
              <a:gd name="connsiteY479" fmla="*/ 739968 h 1479935"/>
              <a:gd name="connsiteX480" fmla="*/ 415554 w 1485658"/>
              <a:gd name="connsiteY480" fmla="*/ 739968 h 1479935"/>
              <a:gd name="connsiteX481" fmla="*/ 446107 w 1485658"/>
              <a:gd name="connsiteY481" fmla="*/ 770404 h 1479935"/>
              <a:gd name="connsiteX482" fmla="*/ 476659 w 1485658"/>
              <a:gd name="connsiteY482" fmla="*/ 739968 h 1479935"/>
              <a:gd name="connsiteX483" fmla="*/ 446107 w 1485658"/>
              <a:gd name="connsiteY483" fmla="*/ 709531 h 1479935"/>
              <a:gd name="connsiteX484" fmla="*/ 415554 w 1485658"/>
              <a:gd name="connsiteY484" fmla="*/ 739968 h 1479935"/>
              <a:gd name="connsiteX485" fmla="*/ 474851 w 1485658"/>
              <a:gd name="connsiteY485" fmla="*/ 739968 h 1479935"/>
              <a:gd name="connsiteX486" fmla="*/ 505404 w 1485658"/>
              <a:gd name="connsiteY486" fmla="*/ 770404 h 1479935"/>
              <a:gd name="connsiteX487" fmla="*/ 535956 w 1485658"/>
              <a:gd name="connsiteY487" fmla="*/ 739968 h 1479935"/>
              <a:gd name="connsiteX488" fmla="*/ 505404 w 1485658"/>
              <a:gd name="connsiteY488" fmla="*/ 709531 h 1479935"/>
              <a:gd name="connsiteX489" fmla="*/ 474851 w 1485658"/>
              <a:gd name="connsiteY489" fmla="*/ 739968 h 1479935"/>
              <a:gd name="connsiteX490" fmla="*/ 534243 w 1485658"/>
              <a:gd name="connsiteY490" fmla="*/ 739968 h 1479935"/>
              <a:gd name="connsiteX491" fmla="*/ 564796 w 1485658"/>
              <a:gd name="connsiteY491" fmla="*/ 770404 h 1479935"/>
              <a:gd name="connsiteX492" fmla="*/ 595348 w 1485658"/>
              <a:gd name="connsiteY492" fmla="*/ 739968 h 1479935"/>
              <a:gd name="connsiteX493" fmla="*/ 564796 w 1485658"/>
              <a:gd name="connsiteY493" fmla="*/ 709531 h 1479935"/>
              <a:gd name="connsiteX494" fmla="*/ 534243 w 1485658"/>
              <a:gd name="connsiteY494" fmla="*/ 739968 h 1479935"/>
              <a:gd name="connsiteX495" fmla="*/ 652932 w 1485658"/>
              <a:gd name="connsiteY495" fmla="*/ 739968 h 1479935"/>
              <a:gd name="connsiteX496" fmla="*/ 683485 w 1485658"/>
              <a:gd name="connsiteY496" fmla="*/ 770404 h 1479935"/>
              <a:gd name="connsiteX497" fmla="*/ 714037 w 1485658"/>
              <a:gd name="connsiteY497" fmla="*/ 739968 h 1479935"/>
              <a:gd name="connsiteX498" fmla="*/ 683485 w 1485658"/>
              <a:gd name="connsiteY498" fmla="*/ 709531 h 1479935"/>
              <a:gd name="connsiteX499" fmla="*/ 652932 w 1485658"/>
              <a:gd name="connsiteY499" fmla="*/ 739968 h 1479935"/>
              <a:gd name="connsiteX500" fmla="*/ 890310 w 1485658"/>
              <a:gd name="connsiteY500" fmla="*/ 739968 h 1479935"/>
              <a:gd name="connsiteX501" fmla="*/ 920863 w 1485658"/>
              <a:gd name="connsiteY501" fmla="*/ 770404 h 1479935"/>
              <a:gd name="connsiteX502" fmla="*/ 951415 w 1485658"/>
              <a:gd name="connsiteY502" fmla="*/ 739968 h 1479935"/>
              <a:gd name="connsiteX503" fmla="*/ 920863 w 1485658"/>
              <a:gd name="connsiteY503" fmla="*/ 709531 h 1479935"/>
              <a:gd name="connsiteX504" fmla="*/ 890310 w 1485658"/>
              <a:gd name="connsiteY504" fmla="*/ 739968 h 1479935"/>
              <a:gd name="connsiteX505" fmla="*/ 1009094 w 1485658"/>
              <a:gd name="connsiteY505" fmla="*/ 739968 h 1479935"/>
              <a:gd name="connsiteX506" fmla="*/ 1039647 w 1485658"/>
              <a:gd name="connsiteY506" fmla="*/ 770404 h 1479935"/>
              <a:gd name="connsiteX507" fmla="*/ 1070199 w 1485658"/>
              <a:gd name="connsiteY507" fmla="*/ 739968 h 1479935"/>
              <a:gd name="connsiteX508" fmla="*/ 1039647 w 1485658"/>
              <a:gd name="connsiteY508" fmla="*/ 709531 h 1479935"/>
              <a:gd name="connsiteX509" fmla="*/ 1009094 w 1485658"/>
              <a:gd name="connsiteY509" fmla="*/ 739968 h 1479935"/>
              <a:gd name="connsiteX510" fmla="*/ 1068391 w 1485658"/>
              <a:gd name="connsiteY510" fmla="*/ 739968 h 1479935"/>
              <a:gd name="connsiteX511" fmla="*/ 1098944 w 1485658"/>
              <a:gd name="connsiteY511" fmla="*/ 770404 h 1479935"/>
              <a:gd name="connsiteX512" fmla="*/ 1129496 w 1485658"/>
              <a:gd name="connsiteY512" fmla="*/ 739968 h 1479935"/>
              <a:gd name="connsiteX513" fmla="*/ 1098944 w 1485658"/>
              <a:gd name="connsiteY513" fmla="*/ 709531 h 1479935"/>
              <a:gd name="connsiteX514" fmla="*/ 1068391 w 1485658"/>
              <a:gd name="connsiteY514" fmla="*/ 739968 h 1479935"/>
              <a:gd name="connsiteX515" fmla="*/ 1127783 w 1485658"/>
              <a:gd name="connsiteY515" fmla="*/ 739968 h 1479935"/>
              <a:gd name="connsiteX516" fmla="*/ 1158336 w 1485658"/>
              <a:gd name="connsiteY516" fmla="*/ 770404 h 1479935"/>
              <a:gd name="connsiteX517" fmla="*/ 1188888 w 1485658"/>
              <a:gd name="connsiteY517" fmla="*/ 739968 h 1479935"/>
              <a:gd name="connsiteX518" fmla="*/ 1158336 w 1485658"/>
              <a:gd name="connsiteY518" fmla="*/ 709531 h 1479935"/>
              <a:gd name="connsiteX519" fmla="*/ 1127783 w 1485658"/>
              <a:gd name="connsiteY519" fmla="*/ 739968 h 1479935"/>
              <a:gd name="connsiteX520" fmla="*/ 1187080 w 1485658"/>
              <a:gd name="connsiteY520" fmla="*/ 739968 h 1479935"/>
              <a:gd name="connsiteX521" fmla="*/ 1217633 w 1485658"/>
              <a:gd name="connsiteY521" fmla="*/ 770404 h 1479935"/>
              <a:gd name="connsiteX522" fmla="*/ 1248185 w 1485658"/>
              <a:gd name="connsiteY522" fmla="*/ 739968 h 1479935"/>
              <a:gd name="connsiteX523" fmla="*/ 1217633 w 1485658"/>
              <a:gd name="connsiteY523" fmla="*/ 709531 h 1479935"/>
              <a:gd name="connsiteX524" fmla="*/ 1187080 w 1485658"/>
              <a:gd name="connsiteY524" fmla="*/ 739968 h 1479935"/>
              <a:gd name="connsiteX525" fmla="*/ 1305769 w 1485658"/>
              <a:gd name="connsiteY525" fmla="*/ 739968 h 1479935"/>
              <a:gd name="connsiteX526" fmla="*/ 1336322 w 1485658"/>
              <a:gd name="connsiteY526" fmla="*/ 770404 h 1479935"/>
              <a:gd name="connsiteX527" fmla="*/ 1366874 w 1485658"/>
              <a:gd name="connsiteY527" fmla="*/ 739968 h 1479935"/>
              <a:gd name="connsiteX528" fmla="*/ 1336322 w 1485658"/>
              <a:gd name="connsiteY528" fmla="*/ 709531 h 1479935"/>
              <a:gd name="connsiteX529" fmla="*/ 1305769 w 1485658"/>
              <a:gd name="connsiteY529" fmla="*/ 739968 h 1479935"/>
              <a:gd name="connsiteX530" fmla="*/ 1365161 w 1485658"/>
              <a:gd name="connsiteY530" fmla="*/ 739968 h 1479935"/>
              <a:gd name="connsiteX531" fmla="*/ 1395714 w 1485658"/>
              <a:gd name="connsiteY531" fmla="*/ 770404 h 1479935"/>
              <a:gd name="connsiteX532" fmla="*/ 1426266 w 1485658"/>
              <a:gd name="connsiteY532" fmla="*/ 739968 h 1479935"/>
              <a:gd name="connsiteX533" fmla="*/ 1395714 w 1485658"/>
              <a:gd name="connsiteY533" fmla="*/ 709531 h 1479935"/>
              <a:gd name="connsiteX534" fmla="*/ 1365161 w 1485658"/>
              <a:gd name="connsiteY534" fmla="*/ 739968 h 1479935"/>
              <a:gd name="connsiteX535" fmla="*/ 1424553 w 1485658"/>
              <a:gd name="connsiteY535" fmla="*/ 739968 h 1479935"/>
              <a:gd name="connsiteX536" fmla="*/ 1455106 w 1485658"/>
              <a:gd name="connsiteY536" fmla="*/ 770404 h 1479935"/>
              <a:gd name="connsiteX537" fmla="*/ 1485658 w 1485658"/>
              <a:gd name="connsiteY537" fmla="*/ 739968 h 1479935"/>
              <a:gd name="connsiteX538" fmla="*/ 1455106 w 1485658"/>
              <a:gd name="connsiteY538" fmla="*/ 709531 h 1479935"/>
              <a:gd name="connsiteX539" fmla="*/ 1424553 w 1485658"/>
              <a:gd name="connsiteY539" fmla="*/ 739968 h 1479935"/>
              <a:gd name="connsiteX540" fmla="*/ 95 w 1485658"/>
              <a:gd name="connsiteY540" fmla="*/ 799040 h 1479935"/>
              <a:gd name="connsiteX541" fmla="*/ 30648 w 1485658"/>
              <a:gd name="connsiteY541" fmla="*/ 829477 h 1479935"/>
              <a:gd name="connsiteX542" fmla="*/ 61200 w 1485658"/>
              <a:gd name="connsiteY542" fmla="*/ 799040 h 1479935"/>
              <a:gd name="connsiteX543" fmla="*/ 30648 w 1485658"/>
              <a:gd name="connsiteY543" fmla="*/ 768603 h 1479935"/>
              <a:gd name="connsiteX544" fmla="*/ 95 w 1485658"/>
              <a:gd name="connsiteY544" fmla="*/ 799040 h 1479935"/>
              <a:gd name="connsiteX545" fmla="*/ 118784 w 1485658"/>
              <a:gd name="connsiteY545" fmla="*/ 799040 h 1479935"/>
              <a:gd name="connsiteX546" fmla="*/ 149337 w 1485658"/>
              <a:gd name="connsiteY546" fmla="*/ 829477 h 1479935"/>
              <a:gd name="connsiteX547" fmla="*/ 179889 w 1485658"/>
              <a:gd name="connsiteY547" fmla="*/ 799040 h 1479935"/>
              <a:gd name="connsiteX548" fmla="*/ 149337 w 1485658"/>
              <a:gd name="connsiteY548" fmla="*/ 768603 h 1479935"/>
              <a:gd name="connsiteX549" fmla="*/ 118784 w 1485658"/>
              <a:gd name="connsiteY549" fmla="*/ 799040 h 1479935"/>
              <a:gd name="connsiteX550" fmla="*/ 178081 w 1485658"/>
              <a:gd name="connsiteY550" fmla="*/ 799040 h 1479935"/>
              <a:gd name="connsiteX551" fmla="*/ 208634 w 1485658"/>
              <a:gd name="connsiteY551" fmla="*/ 829477 h 1479935"/>
              <a:gd name="connsiteX552" fmla="*/ 239186 w 1485658"/>
              <a:gd name="connsiteY552" fmla="*/ 799040 h 1479935"/>
              <a:gd name="connsiteX553" fmla="*/ 208634 w 1485658"/>
              <a:gd name="connsiteY553" fmla="*/ 768603 h 1479935"/>
              <a:gd name="connsiteX554" fmla="*/ 178081 w 1485658"/>
              <a:gd name="connsiteY554" fmla="*/ 799040 h 1479935"/>
              <a:gd name="connsiteX555" fmla="*/ 237473 w 1485658"/>
              <a:gd name="connsiteY555" fmla="*/ 799040 h 1479935"/>
              <a:gd name="connsiteX556" fmla="*/ 268026 w 1485658"/>
              <a:gd name="connsiteY556" fmla="*/ 829477 h 1479935"/>
              <a:gd name="connsiteX557" fmla="*/ 298578 w 1485658"/>
              <a:gd name="connsiteY557" fmla="*/ 799040 h 1479935"/>
              <a:gd name="connsiteX558" fmla="*/ 268026 w 1485658"/>
              <a:gd name="connsiteY558" fmla="*/ 768603 h 1479935"/>
              <a:gd name="connsiteX559" fmla="*/ 237473 w 1485658"/>
              <a:gd name="connsiteY559" fmla="*/ 799040 h 1479935"/>
              <a:gd name="connsiteX560" fmla="*/ 415554 w 1485658"/>
              <a:gd name="connsiteY560" fmla="*/ 799040 h 1479935"/>
              <a:gd name="connsiteX561" fmla="*/ 446107 w 1485658"/>
              <a:gd name="connsiteY561" fmla="*/ 829477 h 1479935"/>
              <a:gd name="connsiteX562" fmla="*/ 476659 w 1485658"/>
              <a:gd name="connsiteY562" fmla="*/ 799040 h 1479935"/>
              <a:gd name="connsiteX563" fmla="*/ 446107 w 1485658"/>
              <a:gd name="connsiteY563" fmla="*/ 768603 h 1479935"/>
              <a:gd name="connsiteX564" fmla="*/ 415554 w 1485658"/>
              <a:gd name="connsiteY564" fmla="*/ 799040 h 1479935"/>
              <a:gd name="connsiteX565" fmla="*/ 474851 w 1485658"/>
              <a:gd name="connsiteY565" fmla="*/ 799040 h 1479935"/>
              <a:gd name="connsiteX566" fmla="*/ 505404 w 1485658"/>
              <a:gd name="connsiteY566" fmla="*/ 829477 h 1479935"/>
              <a:gd name="connsiteX567" fmla="*/ 535956 w 1485658"/>
              <a:gd name="connsiteY567" fmla="*/ 799040 h 1479935"/>
              <a:gd name="connsiteX568" fmla="*/ 505404 w 1485658"/>
              <a:gd name="connsiteY568" fmla="*/ 768603 h 1479935"/>
              <a:gd name="connsiteX569" fmla="*/ 474851 w 1485658"/>
              <a:gd name="connsiteY569" fmla="*/ 799040 h 1479935"/>
              <a:gd name="connsiteX570" fmla="*/ 534243 w 1485658"/>
              <a:gd name="connsiteY570" fmla="*/ 799040 h 1479935"/>
              <a:gd name="connsiteX571" fmla="*/ 564796 w 1485658"/>
              <a:gd name="connsiteY571" fmla="*/ 829477 h 1479935"/>
              <a:gd name="connsiteX572" fmla="*/ 595348 w 1485658"/>
              <a:gd name="connsiteY572" fmla="*/ 799040 h 1479935"/>
              <a:gd name="connsiteX573" fmla="*/ 564796 w 1485658"/>
              <a:gd name="connsiteY573" fmla="*/ 768603 h 1479935"/>
              <a:gd name="connsiteX574" fmla="*/ 534243 w 1485658"/>
              <a:gd name="connsiteY574" fmla="*/ 799040 h 1479935"/>
              <a:gd name="connsiteX575" fmla="*/ 593635 w 1485658"/>
              <a:gd name="connsiteY575" fmla="*/ 799040 h 1479935"/>
              <a:gd name="connsiteX576" fmla="*/ 624188 w 1485658"/>
              <a:gd name="connsiteY576" fmla="*/ 829477 h 1479935"/>
              <a:gd name="connsiteX577" fmla="*/ 654740 w 1485658"/>
              <a:gd name="connsiteY577" fmla="*/ 799040 h 1479935"/>
              <a:gd name="connsiteX578" fmla="*/ 624188 w 1485658"/>
              <a:gd name="connsiteY578" fmla="*/ 768603 h 1479935"/>
              <a:gd name="connsiteX579" fmla="*/ 593635 w 1485658"/>
              <a:gd name="connsiteY579" fmla="*/ 799040 h 1479935"/>
              <a:gd name="connsiteX580" fmla="*/ 712324 w 1485658"/>
              <a:gd name="connsiteY580" fmla="*/ 799040 h 1479935"/>
              <a:gd name="connsiteX581" fmla="*/ 742877 w 1485658"/>
              <a:gd name="connsiteY581" fmla="*/ 829477 h 1479935"/>
              <a:gd name="connsiteX582" fmla="*/ 773429 w 1485658"/>
              <a:gd name="connsiteY582" fmla="*/ 799040 h 1479935"/>
              <a:gd name="connsiteX583" fmla="*/ 742877 w 1485658"/>
              <a:gd name="connsiteY583" fmla="*/ 768603 h 1479935"/>
              <a:gd name="connsiteX584" fmla="*/ 712324 w 1485658"/>
              <a:gd name="connsiteY584" fmla="*/ 799040 h 1479935"/>
              <a:gd name="connsiteX585" fmla="*/ 771621 w 1485658"/>
              <a:gd name="connsiteY585" fmla="*/ 799040 h 1479935"/>
              <a:gd name="connsiteX586" fmla="*/ 802174 w 1485658"/>
              <a:gd name="connsiteY586" fmla="*/ 829477 h 1479935"/>
              <a:gd name="connsiteX587" fmla="*/ 832726 w 1485658"/>
              <a:gd name="connsiteY587" fmla="*/ 799040 h 1479935"/>
              <a:gd name="connsiteX588" fmla="*/ 802174 w 1485658"/>
              <a:gd name="connsiteY588" fmla="*/ 768603 h 1479935"/>
              <a:gd name="connsiteX589" fmla="*/ 771621 w 1485658"/>
              <a:gd name="connsiteY589" fmla="*/ 799040 h 1479935"/>
              <a:gd name="connsiteX590" fmla="*/ 949702 w 1485658"/>
              <a:gd name="connsiteY590" fmla="*/ 799040 h 1479935"/>
              <a:gd name="connsiteX591" fmla="*/ 980255 w 1485658"/>
              <a:gd name="connsiteY591" fmla="*/ 829477 h 1479935"/>
              <a:gd name="connsiteX592" fmla="*/ 1010807 w 1485658"/>
              <a:gd name="connsiteY592" fmla="*/ 799040 h 1479935"/>
              <a:gd name="connsiteX593" fmla="*/ 980255 w 1485658"/>
              <a:gd name="connsiteY593" fmla="*/ 768603 h 1479935"/>
              <a:gd name="connsiteX594" fmla="*/ 949702 w 1485658"/>
              <a:gd name="connsiteY594" fmla="*/ 799040 h 1479935"/>
              <a:gd name="connsiteX595" fmla="*/ 1009094 w 1485658"/>
              <a:gd name="connsiteY595" fmla="*/ 799040 h 1479935"/>
              <a:gd name="connsiteX596" fmla="*/ 1039647 w 1485658"/>
              <a:gd name="connsiteY596" fmla="*/ 829477 h 1479935"/>
              <a:gd name="connsiteX597" fmla="*/ 1070199 w 1485658"/>
              <a:gd name="connsiteY597" fmla="*/ 799040 h 1479935"/>
              <a:gd name="connsiteX598" fmla="*/ 1039647 w 1485658"/>
              <a:gd name="connsiteY598" fmla="*/ 768603 h 1479935"/>
              <a:gd name="connsiteX599" fmla="*/ 1009094 w 1485658"/>
              <a:gd name="connsiteY599" fmla="*/ 799040 h 1479935"/>
              <a:gd name="connsiteX600" fmla="*/ 1127783 w 1485658"/>
              <a:gd name="connsiteY600" fmla="*/ 799040 h 1479935"/>
              <a:gd name="connsiteX601" fmla="*/ 1158336 w 1485658"/>
              <a:gd name="connsiteY601" fmla="*/ 829477 h 1479935"/>
              <a:gd name="connsiteX602" fmla="*/ 1188888 w 1485658"/>
              <a:gd name="connsiteY602" fmla="*/ 799040 h 1479935"/>
              <a:gd name="connsiteX603" fmla="*/ 1158336 w 1485658"/>
              <a:gd name="connsiteY603" fmla="*/ 768603 h 1479935"/>
              <a:gd name="connsiteX604" fmla="*/ 1127783 w 1485658"/>
              <a:gd name="connsiteY604" fmla="*/ 799040 h 1479935"/>
              <a:gd name="connsiteX605" fmla="*/ 1246472 w 1485658"/>
              <a:gd name="connsiteY605" fmla="*/ 799040 h 1479935"/>
              <a:gd name="connsiteX606" fmla="*/ 1277025 w 1485658"/>
              <a:gd name="connsiteY606" fmla="*/ 829477 h 1479935"/>
              <a:gd name="connsiteX607" fmla="*/ 1307577 w 1485658"/>
              <a:gd name="connsiteY607" fmla="*/ 799040 h 1479935"/>
              <a:gd name="connsiteX608" fmla="*/ 1277025 w 1485658"/>
              <a:gd name="connsiteY608" fmla="*/ 768603 h 1479935"/>
              <a:gd name="connsiteX609" fmla="*/ 1246472 w 1485658"/>
              <a:gd name="connsiteY609" fmla="*/ 799040 h 1479935"/>
              <a:gd name="connsiteX610" fmla="*/ 1365161 w 1485658"/>
              <a:gd name="connsiteY610" fmla="*/ 799040 h 1479935"/>
              <a:gd name="connsiteX611" fmla="*/ 1395714 w 1485658"/>
              <a:gd name="connsiteY611" fmla="*/ 829477 h 1479935"/>
              <a:gd name="connsiteX612" fmla="*/ 1426266 w 1485658"/>
              <a:gd name="connsiteY612" fmla="*/ 799040 h 1479935"/>
              <a:gd name="connsiteX613" fmla="*/ 1395714 w 1485658"/>
              <a:gd name="connsiteY613" fmla="*/ 768603 h 1479935"/>
              <a:gd name="connsiteX614" fmla="*/ 1365161 w 1485658"/>
              <a:gd name="connsiteY614" fmla="*/ 799040 h 1479935"/>
              <a:gd name="connsiteX615" fmla="*/ 95 w 1485658"/>
              <a:gd name="connsiteY615" fmla="*/ 858207 h 1479935"/>
              <a:gd name="connsiteX616" fmla="*/ 30648 w 1485658"/>
              <a:gd name="connsiteY616" fmla="*/ 888644 h 1479935"/>
              <a:gd name="connsiteX617" fmla="*/ 61200 w 1485658"/>
              <a:gd name="connsiteY617" fmla="*/ 858207 h 1479935"/>
              <a:gd name="connsiteX618" fmla="*/ 30648 w 1485658"/>
              <a:gd name="connsiteY618" fmla="*/ 827770 h 1479935"/>
              <a:gd name="connsiteX619" fmla="*/ 95 w 1485658"/>
              <a:gd name="connsiteY619" fmla="*/ 858207 h 1479935"/>
              <a:gd name="connsiteX620" fmla="*/ 118784 w 1485658"/>
              <a:gd name="connsiteY620" fmla="*/ 858207 h 1479935"/>
              <a:gd name="connsiteX621" fmla="*/ 149337 w 1485658"/>
              <a:gd name="connsiteY621" fmla="*/ 888644 h 1479935"/>
              <a:gd name="connsiteX622" fmla="*/ 179889 w 1485658"/>
              <a:gd name="connsiteY622" fmla="*/ 858207 h 1479935"/>
              <a:gd name="connsiteX623" fmla="*/ 149337 w 1485658"/>
              <a:gd name="connsiteY623" fmla="*/ 827770 h 1479935"/>
              <a:gd name="connsiteX624" fmla="*/ 118784 w 1485658"/>
              <a:gd name="connsiteY624" fmla="*/ 858207 h 1479935"/>
              <a:gd name="connsiteX625" fmla="*/ 178081 w 1485658"/>
              <a:gd name="connsiteY625" fmla="*/ 858207 h 1479935"/>
              <a:gd name="connsiteX626" fmla="*/ 208634 w 1485658"/>
              <a:gd name="connsiteY626" fmla="*/ 888644 h 1479935"/>
              <a:gd name="connsiteX627" fmla="*/ 239186 w 1485658"/>
              <a:gd name="connsiteY627" fmla="*/ 858207 h 1479935"/>
              <a:gd name="connsiteX628" fmla="*/ 208634 w 1485658"/>
              <a:gd name="connsiteY628" fmla="*/ 827770 h 1479935"/>
              <a:gd name="connsiteX629" fmla="*/ 178081 w 1485658"/>
              <a:gd name="connsiteY629" fmla="*/ 858207 h 1479935"/>
              <a:gd name="connsiteX630" fmla="*/ 356162 w 1485658"/>
              <a:gd name="connsiteY630" fmla="*/ 858207 h 1479935"/>
              <a:gd name="connsiteX631" fmla="*/ 386715 w 1485658"/>
              <a:gd name="connsiteY631" fmla="*/ 888644 h 1479935"/>
              <a:gd name="connsiteX632" fmla="*/ 417267 w 1485658"/>
              <a:gd name="connsiteY632" fmla="*/ 858207 h 1479935"/>
              <a:gd name="connsiteX633" fmla="*/ 386715 w 1485658"/>
              <a:gd name="connsiteY633" fmla="*/ 827770 h 1479935"/>
              <a:gd name="connsiteX634" fmla="*/ 356162 w 1485658"/>
              <a:gd name="connsiteY634" fmla="*/ 858207 h 1479935"/>
              <a:gd name="connsiteX635" fmla="*/ 474851 w 1485658"/>
              <a:gd name="connsiteY635" fmla="*/ 858207 h 1479935"/>
              <a:gd name="connsiteX636" fmla="*/ 505404 w 1485658"/>
              <a:gd name="connsiteY636" fmla="*/ 888644 h 1479935"/>
              <a:gd name="connsiteX637" fmla="*/ 535956 w 1485658"/>
              <a:gd name="connsiteY637" fmla="*/ 858207 h 1479935"/>
              <a:gd name="connsiteX638" fmla="*/ 505404 w 1485658"/>
              <a:gd name="connsiteY638" fmla="*/ 827770 h 1479935"/>
              <a:gd name="connsiteX639" fmla="*/ 474851 w 1485658"/>
              <a:gd name="connsiteY639" fmla="*/ 858207 h 1479935"/>
              <a:gd name="connsiteX640" fmla="*/ 771621 w 1485658"/>
              <a:gd name="connsiteY640" fmla="*/ 858207 h 1479935"/>
              <a:gd name="connsiteX641" fmla="*/ 802174 w 1485658"/>
              <a:gd name="connsiteY641" fmla="*/ 888644 h 1479935"/>
              <a:gd name="connsiteX642" fmla="*/ 832726 w 1485658"/>
              <a:gd name="connsiteY642" fmla="*/ 858207 h 1479935"/>
              <a:gd name="connsiteX643" fmla="*/ 802174 w 1485658"/>
              <a:gd name="connsiteY643" fmla="*/ 827770 h 1479935"/>
              <a:gd name="connsiteX644" fmla="*/ 771621 w 1485658"/>
              <a:gd name="connsiteY644" fmla="*/ 858207 h 1479935"/>
              <a:gd name="connsiteX645" fmla="*/ 831013 w 1485658"/>
              <a:gd name="connsiteY645" fmla="*/ 858207 h 1479935"/>
              <a:gd name="connsiteX646" fmla="*/ 861566 w 1485658"/>
              <a:gd name="connsiteY646" fmla="*/ 888644 h 1479935"/>
              <a:gd name="connsiteX647" fmla="*/ 892118 w 1485658"/>
              <a:gd name="connsiteY647" fmla="*/ 858207 h 1479935"/>
              <a:gd name="connsiteX648" fmla="*/ 861566 w 1485658"/>
              <a:gd name="connsiteY648" fmla="*/ 827770 h 1479935"/>
              <a:gd name="connsiteX649" fmla="*/ 831013 w 1485658"/>
              <a:gd name="connsiteY649" fmla="*/ 858207 h 1479935"/>
              <a:gd name="connsiteX650" fmla="*/ 890310 w 1485658"/>
              <a:gd name="connsiteY650" fmla="*/ 858207 h 1479935"/>
              <a:gd name="connsiteX651" fmla="*/ 920863 w 1485658"/>
              <a:gd name="connsiteY651" fmla="*/ 888644 h 1479935"/>
              <a:gd name="connsiteX652" fmla="*/ 951415 w 1485658"/>
              <a:gd name="connsiteY652" fmla="*/ 858207 h 1479935"/>
              <a:gd name="connsiteX653" fmla="*/ 920863 w 1485658"/>
              <a:gd name="connsiteY653" fmla="*/ 827770 h 1479935"/>
              <a:gd name="connsiteX654" fmla="*/ 890310 w 1485658"/>
              <a:gd name="connsiteY654" fmla="*/ 858207 h 1479935"/>
              <a:gd name="connsiteX655" fmla="*/ 949702 w 1485658"/>
              <a:gd name="connsiteY655" fmla="*/ 858207 h 1479935"/>
              <a:gd name="connsiteX656" fmla="*/ 980255 w 1485658"/>
              <a:gd name="connsiteY656" fmla="*/ 888644 h 1479935"/>
              <a:gd name="connsiteX657" fmla="*/ 1010807 w 1485658"/>
              <a:gd name="connsiteY657" fmla="*/ 858207 h 1479935"/>
              <a:gd name="connsiteX658" fmla="*/ 980255 w 1485658"/>
              <a:gd name="connsiteY658" fmla="*/ 827770 h 1479935"/>
              <a:gd name="connsiteX659" fmla="*/ 949702 w 1485658"/>
              <a:gd name="connsiteY659" fmla="*/ 858207 h 1479935"/>
              <a:gd name="connsiteX660" fmla="*/ 1068391 w 1485658"/>
              <a:gd name="connsiteY660" fmla="*/ 858207 h 1479935"/>
              <a:gd name="connsiteX661" fmla="*/ 1098944 w 1485658"/>
              <a:gd name="connsiteY661" fmla="*/ 888644 h 1479935"/>
              <a:gd name="connsiteX662" fmla="*/ 1129496 w 1485658"/>
              <a:gd name="connsiteY662" fmla="*/ 858207 h 1479935"/>
              <a:gd name="connsiteX663" fmla="*/ 1098944 w 1485658"/>
              <a:gd name="connsiteY663" fmla="*/ 827770 h 1479935"/>
              <a:gd name="connsiteX664" fmla="*/ 1068391 w 1485658"/>
              <a:gd name="connsiteY664" fmla="*/ 858207 h 1479935"/>
              <a:gd name="connsiteX665" fmla="*/ 1127783 w 1485658"/>
              <a:gd name="connsiteY665" fmla="*/ 858207 h 1479935"/>
              <a:gd name="connsiteX666" fmla="*/ 1158336 w 1485658"/>
              <a:gd name="connsiteY666" fmla="*/ 888644 h 1479935"/>
              <a:gd name="connsiteX667" fmla="*/ 1188888 w 1485658"/>
              <a:gd name="connsiteY667" fmla="*/ 858207 h 1479935"/>
              <a:gd name="connsiteX668" fmla="*/ 1158336 w 1485658"/>
              <a:gd name="connsiteY668" fmla="*/ 827770 h 1479935"/>
              <a:gd name="connsiteX669" fmla="*/ 1127783 w 1485658"/>
              <a:gd name="connsiteY669" fmla="*/ 858207 h 1479935"/>
              <a:gd name="connsiteX670" fmla="*/ 1187080 w 1485658"/>
              <a:gd name="connsiteY670" fmla="*/ 858207 h 1479935"/>
              <a:gd name="connsiteX671" fmla="*/ 1217633 w 1485658"/>
              <a:gd name="connsiteY671" fmla="*/ 888644 h 1479935"/>
              <a:gd name="connsiteX672" fmla="*/ 1248185 w 1485658"/>
              <a:gd name="connsiteY672" fmla="*/ 858207 h 1479935"/>
              <a:gd name="connsiteX673" fmla="*/ 1217633 w 1485658"/>
              <a:gd name="connsiteY673" fmla="*/ 827770 h 1479935"/>
              <a:gd name="connsiteX674" fmla="*/ 1187080 w 1485658"/>
              <a:gd name="connsiteY674" fmla="*/ 858207 h 1479935"/>
              <a:gd name="connsiteX675" fmla="*/ 1246472 w 1485658"/>
              <a:gd name="connsiteY675" fmla="*/ 858207 h 1479935"/>
              <a:gd name="connsiteX676" fmla="*/ 1277025 w 1485658"/>
              <a:gd name="connsiteY676" fmla="*/ 888644 h 1479935"/>
              <a:gd name="connsiteX677" fmla="*/ 1307577 w 1485658"/>
              <a:gd name="connsiteY677" fmla="*/ 858207 h 1479935"/>
              <a:gd name="connsiteX678" fmla="*/ 1277025 w 1485658"/>
              <a:gd name="connsiteY678" fmla="*/ 827770 h 1479935"/>
              <a:gd name="connsiteX679" fmla="*/ 1246472 w 1485658"/>
              <a:gd name="connsiteY679" fmla="*/ 858207 h 1479935"/>
              <a:gd name="connsiteX680" fmla="*/ 1365161 w 1485658"/>
              <a:gd name="connsiteY680" fmla="*/ 858207 h 1479935"/>
              <a:gd name="connsiteX681" fmla="*/ 1395714 w 1485658"/>
              <a:gd name="connsiteY681" fmla="*/ 888644 h 1479935"/>
              <a:gd name="connsiteX682" fmla="*/ 1426266 w 1485658"/>
              <a:gd name="connsiteY682" fmla="*/ 858207 h 1479935"/>
              <a:gd name="connsiteX683" fmla="*/ 1395714 w 1485658"/>
              <a:gd name="connsiteY683" fmla="*/ 827770 h 1479935"/>
              <a:gd name="connsiteX684" fmla="*/ 1365161 w 1485658"/>
              <a:gd name="connsiteY684" fmla="*/ 858207 h 1479935"/>
              <a:gd name="connsiteX685" fmla="*/ 1424553 w 1485658"/>
              <a:gd name="connsiteY685" fmla="*/ 858207 h 1479935"/>
              <a:gd name="connsiteX686" fmla="*/ 1455106 w 1485658"/>
              <a:gd name="connsiteY686" fmla="*/ 888644 h 1479935"/>
              <a:gd name="connsiteX687" fmla="*/ 1485658 w 1485658"/>
              <a:gd name="connsiteY687" fmla="*/ 858207 h 1479935"/>
              <a:gd name="connsiteX688" fmla="*/ 1455106 w 1485658"/>
              <a:gd name="connsiteY688" fmla="*/ 827770 h 1479935"/>
              <a:gd name="connsiteX689" fmla="*/ 1424553 w 1485658"/>
              <a:gd name="connsiteY689" fmla="*/ 858207 h 1479935"/>
              <a:gd name="connsiteX690" fmla="*/ 95 w 1485658"/>
              <a:gd name="connsiteY690" fmla="*/ 917374 h 1479935"/>
              <a:gd name="connsiteX691" fmla="*/ 30648 w 1485658"/>
              <a:gd name="connsiteY691" fmla="*/ 947811 h 1479935"/>
              <a:gd name="connsiteX692" fmla="*/ 61200 w 1485658"/>
              <a:gd name="connsiteY692" fmla="*/ 917374 h 1479935"/>
              <a:gd name="connsiteX693" fmla="*/ 30648 w 1485658"/>
              <a:gd name="connsiteY693" fmla="*/ 886937 h 1479935"/>
              <a:gd name="connsiteX694" fmla="*/ 95 w 1485658"/>
              <a:gd name="connsiteY694" fmla="*/ 917374 h 1479935"/>
              <a:gd name="connsiteX695" fmla="*/ 593635 w 1485658"/>
              <a:gd name="connsiteY695" fmla="*/ 917374 h 1479935"/>
              <a:gd name="connsiteX696" fmla="*/ 624188 w 1485658"/>
              <a:gd name="connsiteY696" fmla="*/ 947811 h 1479935"/>
              <a:gd name="connsiteX697" fmla="*/ 654740 w 1485658"/>
              <a:gd name="connsiteY697" fmla="*/ 917374 h 1479935"/>
              <a:gd name="connsiteX698" fmla="*/ 624188 w 1485658"/>
              <a:gd name="connsiteY698" fmla="*/ 886937 h 1479935"/>
              <a:gd name="connsiteX699" fmla="*/ 593635 w 1485658"/>
              <a:gd name="connsiteY699" fmla="*/ 917374 h 1479935"/>
              <a:gd name="connsiteX700" fmla="*/ 712324 w 1485658"/>
              <a:gd name="connsiteY700" fmla="*/ 917374 h 1479935"/>
              <a:gd name="connsiteX701" fmla="*/ 742877 w 1485658"/>
              <a:gd name="connsiteY701" fmla="*/ 947811 h 1479935"/>
              <a:gd name="connsiteX702" fmla="*/ 773429 w 1485658"/>
              <a:gd name="connsiteY702" fmla="*/ 917374 h 1479935"/>
              <a:gd name="connsiteX703" fmla="*/ 742877 w 1485658"/>
              <a:gd name="connsiteY703" fmla="*/ 886937 h 1479935"/>
              <a:gd name="connsiteX704" fmla="*/ 712324 w 1485658"/>
              <a:gd name="connsiteY704" fmla="*/ 917374 h 1479935"/>
              <a:gd name="connsiteX705" fmla="*/ 771621 w 1485658"/>
              <a:gd name="connsiteY705" fmla="*/ 917374 h 1479935"/>
              <a:gd name="connsiteX706" fmla="*/ 802174 w 1485658"/>
              <a:gd name="connsiteY706" fmla="*/ 947811 h 1479935"/>
              <a:gd name="connsiteX707" fmla="*/ 832726 w 1485658"/>
              <a:gd name="connsiteY707" fmla="*/ 917374 h 1479935"/>
              <a:gd name="connsiteX708" fmla="*/ 802174 w 1485658"/>
              <a:gd name="connsiteY708" fmla="*/ 886937 h 1479935"/>
              <a:gd name="connsiteX709" fmla="*/ 771621 w 1485658"/>
              <a:gd name="connsiteY709" fmla="*/ 917374 h 1479935"/>
              <a:gd name="connsiteX710" fmla="*/ 890310 w 1485658"/>
              <a:gd name="connsiteY710" fmla="*/ 917374 h 1479935"/>
              <a:gd name="connsiteX711" fmla="*/ 920863 w 1485658"/>
              <a:gd name="connsiteY711" fmla="*/ 947811 h 1479935"/>
              <a:gd name="connsiteX712" fmla="*/ 951415 w 1485658"/>
              <a:gd name="connsiteY712" fmla="*/ 917374 h 1479935"/>
              <a:gd name="connsiteX713" fmla="*/ 920863 w 1485658"/>
              <a:gd name="connsiteY713" fmla="*/ 886937 h 1479935"/>
              <a:gd name="connsiteX714" fmla="*/ 890310 w 1485658"/>
              <a:gd name="connsiteY714" fmla="*/ 917374 h 1479935"/>
              <a:gd name="connsiteX715" fmla="*/ 949702 w 1485658"/>
              <a:gd name="connsiteY715" fmla="*/ 917374 h 1479935"/>
              <a:gd name="connsiteX716" fmla="*/ 980255 w 1485658"/>
              <a:gd name="connsiteY716" fmla="*/ 947811 h 1479935"/>
              <a:gd name="connsiteX717" fmla="*/ 1010807 w 1485658"/>
              <a:gd name="connsiteY717" fmla="*/ 917374 h 1479935"/>
              <a:gd name="connsiteX718" fmla="*/ 980255 w 1485658"/>
              <a:gd name="connsiteY718" fmla="*/ 886937 h 1479935"/>
              <a:gd name="connsiteX719" fmla="*/ 949702 w 1485658"/>
              <a:gd name="connsiteY719" fmla="*/ 917374 h 1479935"/>
              <a:gd name="connsiteX720" fmla="*/ 1127783 w 1485658"/>
              <a:gd name="connsiteY720" fmla="*/ 917374 h 1479935"/>
              <a:gd name="connsiteX721" fmla="*/ 1158336 w 1485658"/>
              <a:gd name="connsiteY721" fmla="*/ 947811 h 1479935"/>
              <a:gd name="connsiteX722" fmla="*/ 1188888 w 1485658"/>
              <a:gd name="connsiteY722" fmla="*/ 917374 h 1479935"/>
              <a:gd name="connsiteX723" fmla="*/ 1158336 w 1485658"/>
              <a:gd name="connsiteY723" fmla="*/ 886937 h 1479935"/>
              <a:gd name="connsiteX724" fmla="*/ 1127783 w 1485658"/>
              <a:gd name="connsiteY724" fmla="*/ 917374 h 1479935"/>
              <a:gd name="connsiteX725" fmla="*/ 1187080 w 1485658"/>
              <a:gd name="connsiteY725" fmla="*/ 917374 h 1479935"/>
              <a:gd name="connsiteX726" fmla="*/ 1217633 w 1485658"/>
              <a:gd name="connsiteY726" fmla="*/ 947811 h 1479935"/>
              <a:gd name="connsiteX727" fmla="*/ 1248185 w 1485658"/>
              <a:gd name="connsiteY727" fmla="*/ 917374 h 1479935"/>
              <a:gd name="connsiteX728" fmla="*/ 1217633 w 1485658"/>
              <a:gd name="connsiteY728" fmla="*/ 886937 h 1479935"/>
              <a:gd name="connsiteX729" fmla="*/ 1187080 w 1485658"/>
              <a:gd name="connsiteY729" fmla="*/ 917374 h 1479935"/>
              <a:gd name="connsiteX730" fmla="*/ 1424553 w 1485658"/>
              <a:gd name="connsiteY730" fmla="*/ 917374 h 1479935"/>
              <a:gd name="connsiteX731" fmla="*/ 1455106 w 1485658"/>
              <a:gd name="connsiteY731" fmla="*/ 947811 h 1479935"/>
              <a:gd name="connsiteX732" fmla="*/ 1485658 w 1485658"/>
              <a:gd name="connsiteY732" fmla="*/ 917374 h 1479935"/>
              <a:gd name="connsiteX733" fmla="*/ 1455106 w 1485658"/>
              <a:gd name="connsiteY733" fmla="*/ 886937 h 1479935"/>
              <a:gd name="connsiteX734" fmla="*/ 1424553 w 1485658"/>
              <a:gd name="connsiteY734" fmla="*/ 917374 h 1479935"/>
              <a:gd name="connsiteX735" fmla="*/ 95 w 1485658"/>
              <a:gd name="connsiteY735" fmla="*/ 976446 h 1479935"/>
              <a:gd name="connsiteX736" fmla="*/ 30648 w 1485658"/>
              <a:gd name="connsiteY736" fmla="*/ 1006883 h 1479935"/>
              <a:gd name="connsiteX737" fmla="*/ 61200 w 1485658"/>
              <a:gd name="connsiteY737" fmla="*/ 976446 h 1479935"/>
              <a:gd name="connsiteX738" fmla="*/ 30648 w 1485658"/>
              <a:gd name="connsiteY738" fmla="*/ 946009 h 1479935"/>
              <a:gd name="connsiteX739" fmla="*/ 95 w 1485658"/>
              <a:gd name="connsiteY739" fmla="*/ 976446 h 1479935"/>
              <a:gd name="connsiteX740" fmla="*/ 178081 w 1485658"/>
              <a:gd name="connsiteY740" fmla="*/ 976446 h 1479935"/>
              <a:gd name="connsiteX741" fmla="*/ 208634 w 1485658"/>
              <a:gd name="connsiteY741" fmla="*/ 1006883 h 1479935"/>
              <a:gd name="connsiteX742" fmla="*/ 239186 w 1485658"/>
              <a:gd name="connsiteY742" fmla="*/ 976446 h 1479935"/>
              <a:gd name="connsiteX743" fmla="*/ 208634 w 1485658"/>
              <a:gd name="connsiteY743" fmla="*/ 946009 h 1479935"/>
              <a:gd name="connsiteX744" fmla="*/ 178081 w 1485658"/>
              <a:gd name="connsiteY744" fmla="*/ 976446 h 1479935"/>
              <a:gd name="connsiteX745" fmla="*/ 356162 w 1485658"/>
              <a:gd name="connsiteY745" fmla="*/ 976446 h 1479935"/>
              <a:gd name="connsiteX746" fmla="*/ 386715 w 1485658"/>
              <a:gd name="connsiteY746" fmla="*/ 1006883 h 1479935"/>
              <a:gd name="connsiteX747" fmla="*/ 417267 w 1485658"/>
              <a:gd name="connsiteY747" fmla="*/ 976446 h 1479935"/>
              <a:gd name="connsiteX748" fmla="*/ 386715 w 1485658"/>
              <a:gd name="connsiteY748" fmla="*/ 946009 h 1479935"/>
              <a:gd name="connsiteX749" fmla="*/ 356162 w 1485658"/>
              <a:gd name="connsiteY749" fmla="*/ 976446 h 1479935"/>
              <a:gd name="connsiteX750" fmla="*/ 415554 w 1485658"/>
              <a:gd name="connsiteY750" fmla="*/ 976446 h 1479935"/>
              <a:gd name="connsiteX751" fmla="*/ 446107 w 1485658"/>
              <a:gd name="connsiteY751" fmla="*/ 1006883 h 1479935"/>
              <a:gd name="connsiteX752" fmla="*/ 476659 w 1485658"/>
              <a:gd name="connsiteY752" fmla="*/ 976446 h 1479935"/>
              <a:gd name="connsiteX753" fmla="*/ 446107 w 1485658"/>
              <a:gd name="connsiteY753" fmla="*/ 946009 h 1479935"/>
              <a:gd name="connsiteX754" fmla="*/ 415554 w 1485658"/>
              <a:gd name="connsiteY754" fmla="*/ 976446 h 1479935"/>
              <a:gd name="connsiteX755" fmla="*/ 534243 w 1485658"/>
              <a:gd name="connsiteY755" fmla="*/ 976446 h 1479935"/>
              <a:gd name="connsiteX756" fmla="*/ 564796 w 1485658"/>
              <a:gd name="connsiteY756" fmla="*/ 1006883 h 1479935"/>
              <a:gd name="connsiteX757" fmla="*/ 595348 w 1485658"/>
              <a:gd name="connsiteY757" fmla="*/ 976446 h 1479935"/>
              <a:gd name="connsiteX758" fmla="*/ 564796 w 1485658"/>
              <a:gd name="connsiteY758" fmla="*/ 946009 h 1479935"/>
              <a:gd name="connsiteX759" fmla="*/ 534243 w 1485658"/>
              <a:gd name="connsiteY759" fmla="*/ 976446 h 1479935"/>
              <a:gd name="connsiteX760" fmla="*/ 593635 w 1485658"/>
              <a:gd name="connsiteY760" fmla="*/ 976446 h 1479935"/>
              <a:gd name="connsiteX761" fmla="*/ 624188 w 1485658"/>
              <a:gd name="connsiteY761" fmla="*/ 1006883 h 1479935"/>
              <a:gd name="connsiteX762" fmla="*/ 654740 w 1485658"/>
              <a:gd name="connsiteY762" fmla="*/ 976446 h 1479935"/>
              <a:gd name="connsiteX763" fmla="*/ 624188 w 1485658"/>
              <a:gd name="connsiteY763" fmla="*/ 946009 h 1479935"/>
              <a:gd name="connsiteX764" fmla="*/ 593635 w 1485658"/>
              <a:gd name="connsiteY764" fmla="*/ 976446 h 1479935"/>
              <a:gd name="connsiteX765" fmla="*/ 712324 w 1485658"/>
              <a:gd name="connsiteY765" fmla="*/ 976446 h 1479935"/>
              <a:gd name="connsiteX766" fmla="*/ 742877 w 1485658"/>
              <a:gd name="connsiteY766" fmla="*/ 1006883 h 1479935"/>
              <a:gd name="connsiteX767" fmla="*/ 773429 w 1485658"/>
              <a:gd name="connsiteY767" fmla="*/ 976446 h 1479935"/>
              <a:gd name="connsiteX768" fmla="*/ 742877 w 1485658"/>
              <a:gd name="connsiteY768" fmla="*/ 946009 h 1479935"/>
              <a:gd name="connsiteX769" fmla="*/ 712324 w 1485658"/>
              <a:gd name="connsiteY769" fmla="*/ 976446 h 1479935"/>
              <a:gd name="connsiteX770" fmla="*/ 831013 w 1485658"/>
              <a:gd name="connsiteY770" fmla="*/ 976446 h 1479935"/>
              <a:gd name="connsiteX771" fmla="*/ 861566 w 1485658"/>
              <a:gd name="connsiteY771" fmla="*/ 1006883 h 1479935"/>
              <a:gd name="connsiteX772" fmla="*/ 892118 w 1485658"/>
              <a:gd name="connsiteY772" fmla="*/ 976446 h 1479935"/>
              <a:gd name="connsiteX773" fmla="*/ 861566 w 1485658"/>
              <a:gd name="connsiteY773" fmla="*/ 946009 h 1479935"/>
              <a:gd name="connsiteX774" fmla="*/ 831013 w 1485658"/>
              <a:gd name="connsiteY774" fmla="*/ 976446 h 1479935"/>
              <a:gd name="connsiteX775" fmla="*/ 890310 w 1485658"/>
              <a:gd name="connsiteY775" fmla="*/ 976446 h 1479935"/>
              <a:gd name="connsiteX776" fmla="*/ 920863 w 1485658"/>
              <a:gd name="connsiteY776" fmla="*/ 1006883 h 1479935"/>
              <a:gd name="connsiteX777" fmla="*/ 951415 w 1485658"/>
              <a:gd name="connsiteY777" fmla="*/ 976446 h 1479935"/>
              <a:gd name="connsiteX778" fmla="*/ 920863 w 1485658"/>
              <a:gd name="connsiteY778" fmla="*/ 946009 h 1479935"/>
              <a:gd name="connsiteX779" fmla="*/ 890310 w 1485658"/>
              <a:gd name="connsiteY779" fmla="*/ 976446 h 1479935"/>
              <a:gd name="connsiteX780" fmla="*/ 949702 w 1485658"/>
              <a:gd name="connsiteY780" fmla="*/ 976446 h 1479935"/>
              <a:gd name="connsiteX781" fmla="*/ 980255 w 1485658"/>
              <a:gd name="connsiteY781" fmla="*/ 1006883 h 1479935"/>
              <a:gd name="connsiteX782" fmla="*/ 1010807 w 1485658"/>
              <a:gd name="connsiteY782" fmla="*/ 976446 h 1479935"/>
              <a:gd name="connsiteX783" fmla="*/ 980255 w 1485658"/>
              <a:gd name="connsiteY783" fmla="*/ 946009 h 1479935"/>
              <a:gd name="connsiteX784" fmla="*/ 949702 w 1485658"/>
              <a:gd name="connsiteY784" fmla="*/ 976446 h 1479935"/>
              <a:gd name="connsiteX785" fmla="*/ 1009094 w 1485658"/>
              <a:gd name="connsiteY785" fmla="*/ 976446 h 1479935"/>
              <a:gd name="connsiteX786" fmla="*/ 1039647 w 1485658"/>
              <a:gd name="connsiteY786" fmla="*/ 1006883 h 1479935"/>
              <a:gd name="connsiteX787" fmla="*/ 1070199 w 1485658"/>
              <a:gd name="connsiteY787" fmla="*/ 976446 h 1479935"/>
              <a:gd name="connsiteX788" fmla="*/ 1039647 w 1485658"/>
              <a:gd name="connsiteY788" fmla="*/ 946009 h 1479935"/>
              <a:gd name="connsiteX789" fmla="*/ 1009094 w 1485658"/>
              <a:gd name="connsiteY789" fmla="*/ 976446 h 1479935"/>
              <a:gd name="connsiteX790" fmla="*/ 1068391 w 1485658"/>
              <a:gd name="connsiteY790" fmla="*/ 976446 h 1479935"/>
              <a:gd name="connsiteX791" fmla="*/ 1098944 w 1485658"/>
              <a:gd name="connsiteY791" fmla="*/ 1006883 h 1479935"/>
              <a:gd name="connsiteX792" fmla="*/ 1129496 w 1485658"/>
              <a:gd name="connsiteY792" fmla="*/ 976446 h 1479935"/>
              <a:gd name="connsiteX793" fmla="*/ 1098944 w 1485658"/>
              <a:gd name="connsiteY793" fmla="*/ 946009 h 1479935"/>
              <a:gd name="connsiteX794" fmla="*/ 1068391 w 1485658"/>
              <a:gd name="connsiteY794" fmla="*/ 976446 h 1479935"/>
              <a:gd name="connsiteX795" fmla="*/ 1127783 w 1485658"/>
              <a:gd name="connsiteY795" fmla="*/ 976446 h 1479935"/>
              <a:gd name="connsiteX796" fmla="*/ 1158336 w 1485658"/>
              <a:gd name="connsiteY796" fmla="*/ 1006883 h 1479935"/>
              <a:gd name="connsiteX797" fmla="*/ 1188888 w 1485658"/>
              <a:gd name="connsiteY797" fmla="*/ 976446 h 1479935"/>
              <a:gd name="connsiteX798" fmla="*/ 1158336 w 1485658"/>
              <a:gd name="connsiteY798" fmla="*/ 946009 h 1479935"/>
              <a:gd name="connsiteX799" fmla="*/ 1127783 w 1485658"/>
              <a:gd name="connsiteY799" fmla="*/ 976446 h 1479935"/>
              <a:gd name="connsiteX800" fmla="*/ 1187080 w 1485658"/>
              <a:gd name="connsiteY800" fmla="*/ 976446 h 1479935"/>
              <a:gd name="connsiteX801" fmla="*/ 1217633 w 1485658"/>
              <a:gd name="connsiteY801" fmla="*/ 1006883 h 1479935"/>
              <a:gd name="connsiteX802" fmla="*/ 1248185 w 1485658"/>
              <a:gd name="connsiteY802" fmla="*/ 976446 h 1479935"/>
              <a:gd name="connsiteX803" fmla="*/ 1217633 w 1485658"/>
              <a:gd name="connsiteY803" fmla="*/ 946009 h 1479935"/>
              <a:gd name="connsiteX804" fmla="*/ 1187080 w 1485658"/>
              <a:gd name="connsiteY804" fmla="*/ 976446 h 1479935"/>
              <a:gd name="connsiteX805" fmla="*/ 1305769 w 1485658"/>
              <a:gd name="connsiteY805" fmla="*/ 976446 h 1479935"/>
              <a:gd name="connsiteX806" fmla="*/ 1336322 w 1485658"/>
              <a:gd name="connsiteY806" fmla="*/ 1006883 h 1479935"/>
              <a:gd name="connsiteX807" fmla="*/ 1366874 w 1485658"/>
              <a:gd name="connsiteY807" fmla="*/ 976446 h 1479935"/>
              <a:gd name="connsiteX808" fmla="*/ 1336322 w 1485658"/>
              <a:gd name="connsiteY808" fmla="*/ 946009 h 1479935"/>
              <a:gd name="connsiteX809" fmla="*/ 1305769 w 1485658"/>
              <a:gd name="connsiteY809" fmla="*/ 976446 h 1479935"/>
              <a:gd name="connsiteX810" fmla="*/ 474851 w 1485658"/>
              <a:gd name="connsiteY810" fmla="*/ 1035613 h 1479935"/>
              <a:gd name="connsiteX811" fmla="*/ 505404 w 1485658"/>
              <a:gd name="connsiteY811" fmla="*/ 1066050 h 1479935"/>
              <a:gd name="connsiteX812" fmla="*/ 535956 w 1485658"/>
              <a:gd name="connsiteY812" fmla="*/ 1035613 h 1479935"/>
              <a:gd name="connsiteX813" fmla="*/ 505404 w 1485658"/>
              <a:gd name="connsiteY813" fmla="*/ 1005176 h 1479935"/>
              <a:gd name="connsiteX814" fmla="*/ 474851 w 1485658"/>
              <a:gd name="connsiteY814" fmla="*/ 1035613 h 1479935"/>
              <a:gd name="connsiteX815" fmla="*/ 534243 w 1485658"/>
              <a:gd name="connsiteY815" fmla="*/ 1035613 h 1479935"/>
              <a:gd name="connsiteX816" fmla="*/ 564796 w 1485658"/>
              <a:gd name="connsiteY816" fmla="*/ 1066050 h 1479935"/>
              <a:gd name="connsiteX817" fmla="*/ 595348 w 1485658"/>
              <a:gd name="connsiteY817" fmla="*/ 1035613 h 1479935"/>
              <a:gd name="connsiteX818" fmla="*/ 564796 w 1485658"/>
              <a:gd name="connsiteY818" fmla="*/ 1005176 h 1479935"/>
              <a:gd name="connsiteX819" fmla="*/ 534243 w 1485658"/>
              <a:gd name="connsiteY819" fmla="*/ 1035613 h 1479935"/>
              <a:gd name="connsiteX820" fmla="*/ 593635 w 1485658"/>
              <a:gd name="connsiteY820" fmla="*/ 1035613 h 1479935"/>
              <a:gd name="connsiteX821" fmla="*/ 624188 w 1485658"/>
              <a:gd name="connsiteY821" fmla="*/ 1066050 h 1479935"/>
              <a:gd name="connsiteX822" fmla="*/ 654740 w 1485658"/>
              <a:gd name="connsiteY822" fmla="*/ 1035613 h 1479935"/>
              <a:gd name="connsiteX823" fmla="*/ 624188 w 1485658"/>
              <a:gd name="connsiteY823" fmla="*/ 1005176 h 1479935"/>
              <a:gd name="connsiteX824" fmla="*/ 593635 w 1485658"/>
              <a:gd name="connsiteY824" fmla="*/ 1035613 h 1479935"/>
              <a:gd name="connsiteX825" fmla="*/ 890310 w 1485658"/>
              <a:gd name="connsiteY825" fmla="*/ 1035613 h 1479935"/>
              <a:gd name="connsiteX826" fmla="*/ 920863 w 1485658"/>
              <a:gd name="connsiteY826" fmla="*/ 1066050 h 1479935"/>
              <a:gd name="connsiteX827" fmla="*/ 951415 w 1485658"/>
              <a:gd name="connsiteY827" fmla="*/ 1035613 h 1479935"/>
              <a:gd name="connsiteX828" fmla="*/ 920863 w 1485658"/>
              <a:gd name="connsiteY828" fmla="*/ 1005176 h 1479935"/>
              <a:gd name="connsiteX829" fmla="*/ 890310 w 1485658"/>
              <a:gd name="connsiteY829" fmla="*/ 1035613 h 1479935"/>
              <a:gd name="connsiteX830" fmla="*/ 949702 w 1485658"/>
              <a:gd name="connsiteY830" fmla="*/ 1035613 h 1479935"/>
              <a:gd name="connsiteX831" fmla="*/ 980255 w 1485658"/>
              <a:gd name="connsiteY831" fmla="*/ 1066050 h 1479935"/>
              <a:gd name="connsiteX832" fmla="*/ 1010807 w 1485658"/>
              <a:gd name="connsiteY832" fmla="*/ 1035613 h 1479935"/>
              <a:gd name="connsiteX833" fmla="*/ 980255 w 1485658"/>
              <a:gd name="connsiteY833" fmla="*/ 1005176 h 1479935"/>
              <a:gd name="connsiteX834" fmla="*/ 949702 w 1485658"/>
              <a:gd name="connsiteY834" fmla="*/ 1035613 h 1479935"/>
              <a:gd name="connsiteX835" fmla="*/ 1187080 w 1485658"/>
              <a:gd name="connsiteY835" fmla="*/ 1035613 h 1479935"/>
              <a:gd name="connsiteX836" fmla="*/ 1217633 w 1485658"/>
              <a:gd name="connsiteY836" fmla="*/ 1066050 h 1479935"/>
              <a:gd name="connsiteX837" fmla="*/ 1248185 w 1485658"/>
              <a:gd name="connsiteY837" fmla="*/ 1035613 h 1479935"/>
              <a:gd name="connsiteX838" fmla="*/ 1217633 w 1485658"/>
              <a:gd name="connsiteY838" fmla="*/ 1005176 h 1479935"/>
              <a:gd name="connsiteX839" fmla="*/ 1187080 w 1485658"/>
              <a:gd name="connsiteY839" fmla="*/ 1035613 h 1479935"/>
              <a:gd name="connsiteX840" fmla="*/ 1246472 w 1485658"/>
              <a:gd name="connsiteY840" fmla="*/ 1035613 h 1479935"/>
              <a:gd name="connsiteX841" fmla="*/ 1277025 w 1485658"/>
              <a:gd name="connsiteY841" fmla="*/ 1066050 h 1479935"/>
              <a:gd name="connsiteX842" fmla="*/ 1307577 w 1485658"/>
              <a:gd name="connsiteY842" fmla="*/ 1035613 h 1479935"/>
              <a:gd name="connsiteX843" fmla="*/ 1277025 w 1485658"/>
              <a:gd name="connsiteY843" fmla="*/ 1005176 h 1479935"/>
              <a:gd name="connsiteX844" fmla="*/ 1246472 w 1485658"/>
              <a:gd name="connsiteY844" fmla="*/ 1035613 h 1479935"/>
              <a:gd name="connsiteX845" fmla="*/ 652932 w 1485658"/>
              <a:gd name="connsiteY845" fmla="*/ 1094685 h 1479935"/>
              <a:gd name="connsiteX846" fmla="*/ 683485 w 1485658"/>
              <a:gd name="connsiteY846" fmla="*/ 1125122 h 1479935"/>
              <a:gd name="connsiteX847" fmla="*/ 714037 w 1485658"/>
              <a:gd name="connsiteY847" fmla="*/ 1094685 h 1479935"/>
              <a:gd name="connsiteX848" fmla="*/ 683485 w 1485658"/>
              <a:gd name="connsiteY848" fmla="*/ 1064249 h 1479935"/>
              <a:gd name="connsiteX849" fmla="*/ 652932 w 1485658"/>
              <a:gd name="connsiteY849" fmla="*/ 1094685 h 1479935"/>
              <a:gd name="connsiteX850" fmla="*/ 712324 w 1485658"/>
              <a:gd name="connsiteY850" fmla="*/ 1094685 h 1479935"/>
              <a:gd name="connsiteX851" fmla="*/ 742877 w 1485658"/>
              <a:gd name="connsiteY851" fmla="*/ 1125122 h 1479935"/>
              <a:gd name="connsiteX852" fmla="*/ 773429 w 1485658"/>
              <a:gd name="connsiteY852" fmla="*/ 1094685 h 1479935"/>
              <a:gd name="connsiteX853" fmla="*/ 742877 w 1485658"/>
              <a:gd name="connsiteY853" fmla="*/ 1064249 h 1479935"/>
              <a:gd name="connsiteX854" fmla="*/ 712324 w 1485658"/>
              <a:gd name="connsiteY854" fmla="*/ 1094685 h 1479935"/>
              <a:gd name="connsiteX855" fmla="*/ 949702 w 1485658"/>
              <a:gd name="connsiteY855" fmla="*/ 1094685 h 1479935"/>
              <a:gd name="connsiteX856" fmla="*/ 980255 w 1485658"/>
              <a:gd name="connsiteY856" fmla="*/ 1125122 h 1479935"/>
              <a:gd name="connsiteX857" fmla="*/ 1010807 w 1485658"/>
              <a:gd name="connsiteY857" fmla="*/ 1094685 h 1479935"/>
              <a:gd name="connsiteX858" fmla="*/ 980255 w 1485658"/>
              <a:gd name="connsiteY858" fmla="*/ 1064249 h 1479935"/>
              <a:gd name="connsiteX859" fmla="*/ 949702 w 1485658"/>
              <a:gd name="connsiteY859" fmla="*/ 1094685 h 1479935"/>
              <a:gd name="connsiteX860" fmla="*/ 1068391 w 1485658"/>
              <a:gd name="connsiteY860" fmla="*/ 1094685 h 1479935"/>
              <a:gd name="connsiteX861" fmla="*/ 1098944 w 1485658"/>
              <a:gd name="connsiteY861" fmla="*/ 1125122 h 1479935"/>
              <a:gd name="connsiteX862" fmla="*/ 1129496 w 1485658"/>
              <a:gd name="connsiteY862" fmla="*/ 1094685 h 1479935"/>
              <a:gd name="connsiteX863" fmla="*/ 1098944 w 1485658"/>
              <a:gd name="connsiteY863" fmla="*/ 1064249 h 1479935"/>
              <a:gd name="connsiteX864" fmla="*/ 1068391 w 1485658"/>
              <a:gd name="connsiteY864" fmla="*/ 1094685 h 1479935"/>
              <a:gd name="connsiteX865" fmla="*/ 1187080 w 1485658"/>
              <a:gd name="connsiteY865" fmla="*/ 1094685 h 1479935"/>
              <a:gd name="connsiteX866" fmla="*/ 1217633 w 1485658"/>
              <a:gd name="connsiteY866" fmla="*/ 1125122 h 1479935"/>
              <a:gd name="connsiteX867" fmla="*/ 1248185 w 1485658"/>
              <a:gd name="connsiteY867" fmla="*/ 1094685 h 1479935"/>
              <a:gd name="connsiteX868" fmla="*/ 1217633 w 1485658"/>
              <a:gd name="connsiteY868" fmla="*/ 1064249 h 1479935"/>
              <a:gd name="connsiteX869" fmla="*/ 1187080 w 1485658"/>
              <a:gd name="connsiteY869" fmla="*/ 1094685 h 1479935"/>
              <a:gd name="connsiteX870" fmla="*/ 1305769 w 1485658"/>
              <a:gd name="connsiteY870" fmla="*/ 1094685 h 1479935"/>
              <a:gd name="connsiteX871" fmla="*/ 1336322 w 1485658"/>
              <a:gd name="connsiteY871" fmla="*/ 1125122 h 1479935"/>
              <a:gd name="connsiteX872" fmla="*/ 1366874 w 1485658"/>
              <a:gd name="connsiteY872" fmla="*/ 1094685 h 1479935"/>
              <a:gd name="connsiteX873" fmla="*/ 1336322 w 1485658"/>
              <a:gd name="connsiteY873" fmla="*/ 1064249 h 1479935"/>
              <a:gd name="connsiteX874" fmla="*/ 1305769 w 1485658"/>
              <a:gd name="connsiteY874" fmla="*/ 1094685 h 1479935"/>
              <a:gd name="connsiteX875" fmla="*/ 1365161 w 1485658"/>
              <a:gd name="connsiteY875" fmla="*/ 1094685 h 1479935"/>
              <a:gd name="connsiteX876" fmla="*/ 1395714 w 1485658"/>
              <a:gd name="connsiteY876" fmla="*/ 1125122 h 1479935"/>
              <a:gd name="connsiteX877" fmla="*/ 1426266 w 1485658"/>
              <a:gd name="connsiteY877" fmla="*/ 1094685 h 1479935"/>
              <a:gd name="connsiteX878" fmla="*/ 1395714 w 1485658"/>
              <a:gd name="connsiteY878" fmla="*/ 1064249 h 1479935"/>
              <a:gd name="connsiteX879" fmla="*/ 1365161 w 1485658"/>
              <a:gd name="connsiteY879" fmla="*/ 1094685 h 1479935"/>
              <a:gd name="connsiteX880" fmla="*/ 1424553 w 1485658"/>
              <a:gd name="connsiteY880" fmla="*/ 1094685 h 1479935"/>
              <a:gd name="connsiteX881" fmla="*/ 1455106 w 1485658"/>
              <a:gd name="connsiteY881" fmla="*/ 1125122 h 1479935"/>
              <a:gd name="connsiteX882" fmla="*/ 1485658 w 1485658"/>
              <a:gd name="connsiteY882" fmla="*/ 1094685 h 1479935"/>
              <a:gd name="connsiteX883" fmla="*/ 1455106 w 1485658"/>
              <a:gd name="connsiteY883" fmla="*/ 1064249 h 1479935"/>
              <a:gd name="connsiteX884" fmla="*/ 1424553 w 1485658"/>
              <a:gd name="connsiteY884" fmla="*/ 1094685 h 1479935"/>
              <a:gd name="connsiteX885" fmla="*/ 474851 w 1485658"/>
              <a:gd name="connsiteY885" fmla="*/ 1153853 h 1479935"/>
              <a:gd name="connsiteX886" fmla="*/ 505404 w 1485658"/>
              <a:gd name="connsiteY886" fmla="*/ 1184289 h 1479935"/>
              <a:gd name="connsiteX887" fmla="*/ 535956 w 1485658"/>
              <a:gd name="connsiteY887" fmla="*/ 1153853 h 1479935"/>
              <a:gd name="connsiteX888" fmla="*/ 505404 w 1485658"/>
              <a:gd name="connsiteY888" fmla="*/ 1123416 h 1479935"/>
              <a:gd name="connsiteX889" fmla="*/ 474851 w 1485658"/>
              <a:gd name="connsiteY889" fmla="*/ 1153853 h 1479935"/>
              <a:gd name="connsiteX890" fmla="*/ 593635 w 1485658"/>
              <a:gd name="connsiteY890" fmla="*/ 1153853 h 1479935"/>
              <a:gd name="connsiteX891" fmla="*/ 624188 w 1485658"/>
              <a:gd name="connsiteY891" fmla="*/ 1184289 h 1479935"/>
              <a:gd name="connsiteX892" fmla="*/ 654740 w 1485658"/>
              <a:gd name="connsiteY892" fmla="*/ 1153853 h 1479935"/>
              <a:gd name="connsiteX893" fmla="*/ 624188 w 1485658"/>
              <a:gd name="connsiteY893" fmla="*/ 1123416 h 1479935"/>
              <a:gd name="connsiteX894" fmla="*/ 593635 w 1485658"/>
              <a:gd name="connsiteY894" fmla="*/ 1153853 h 1479935"/>
              <a:gd name="connsiteX895" fmla="*/ 652932 w 1485658"/>
              <a:gd name="connsiteY895" fmla="*/ 1153853 h 1479935"/>
              <a:gd name="connsiteX896" fmla="*/ 683485 w 1485658"/>
              <a:gd name="connsiteY896" fmla="*/ 1184289 h 1479935"/>
              <a:gd name="connsiteX897" fmla="*/ 714037 w 1485658"/>
              <a:gd name="connsiteY897" fmla="*/ 1153853 h 1479935"/>
              <a:gd name="connsiteX898" fmla="*/ 683485 w 1485658"/>
              <a:gd name="connsiteY898" fmla="*/ 1123416 h 1479935"/>
              <a:gd name="connsiteX899" fmla="*/ 652932 w 1485658"/>
              <a:gd name="connsiteY899" fmla="*/ 1153853 h 1479935"/>
              <a:gd name="connsiteX900" fmla="*/ 831013 w 1485658"/>
              <a:gd name="connsiteY900" fmla="*/ 1153853 h 1479935"/>
              <a:gd name="connsiteX901" fmla="*/ 861566 w 1485658"/>
              <a:gd name="connsiteY901" fmla="*/ 1184289 h 1479935"/>
              <a:gd name="connsiteX902" fmla="*/ 892118 w 1485658"/>
              <a:gd name="connsiteY902" fmla="*/ 1153853 h 1479935"/>
              <a:gd name="connsiteX903" fmla="*/ 861566 w 1485658"/>
              <a:gd name="connsiteY903" fmla="*/ 1123416 h 1479935"/>
              <a:gd name="connsiteX904" fmla="*/ 831013 w 1485658"/>
              <a:gd name="connsiteY904" fmla="*/ 1153853 h 1479935"/>
              <a:gd name="connsiteX905" fmla="*/ 949702 w 1485658"/>
              <a:gd name="connsiteY905" fmla="*/ 1153853 h 1479935"/>
              <a:gd name="connsiteX906" fmla="*/ 980255 w 1485658"/>
              <a:gd name="connsiteY906" fmla="*/ 1184289 h 1479935"/>
              <a:gd name="connsiteX907" fmla="*/ 1010807 w 1485658"/>
              <a:gd name="connsiteY907" fmla="*/ 1153853 h 1479935"/>
              <a:gd name="connsiteX908" fmla="*/ 980255 w 1485658"/>
              <a:gd name="connsiteY908" fmla="*/ 1123416 h 1479935"/>
              <a:gd name="connsiteX909" fmla="*/ 949702 w 1485658"/>
              <a:gd name="connsiteY909" fmla="*/ 1153853 h 1479935"/>
              <a:gd name="connsiteX910" fmla="*/ 1187080 w 1485658"/>
              <a:gd name="connsiteY910" fmla="*/ 1153853 h 1479935"/>
              <a:gd name="connsiteX911" fmla="*/ 1217633 w 1485658"/>
              <a:gd name="connsiteY911" fmla="*/ 1184289 h 1479935"/>
              <a:gd name="connsiteX912" fmla="*/ 1248185 w 1485658"/>
              <a:gd name="connsiteY912" fmla="*/ 1153853 h 1479935"/>
              <a:gd name="connsiteX913" fmla="*/ 1217633 w 1485658"/>
              <a:gd name="connsiteY913" fmla="*/ 1123416 h 1479935"/>
              <a:gd name="connsiteX914" fmla="*/ 1187080 w 1485658"/>
              <a:gd name="connsiteY914" fmla="*/ 1153853 h 1479935"/>
              <a:gd name="connsiteX915" fmla="*/ 1246472 w 1485658"/>
              <a:gd name="connsiteY915" fmla="*/ 1153853 h 1479935"/>
              <a:gd name="connsiteX916" fmla="*/ 1277025 w 1485658"/>
              <a:gd name="connsiteY916" fmla="*/ 1184289 h 1479935"/>
              <a:gd name="connsiteX917" fmla="*/ 1307577 w 1485658"/>
              <a:gd name="connsiteY917" fmla="*/ 1153853 h 1479935"/>
              <a:gd name="connsiteX918" fmla="*/ 1277025 w 1485658"/>
              <a:gd name="connsiteY918" fmla="*/ 1123416 h 1479935"/>
              <a:gd name="connsiteX919" fmla="*/ 1246472 w 1485658"/>
              <a:gd name="connsiteY919" fmla="*/ 1153853 h 1479935"/>
              <a:gd name="connsiteX920" fmla="*/ 1424553 w 1485658"/>
              <a:gd name="connsiteY920" fmla="*/ 1153853 h 1479935"/>
              <a:gd name="connsiteX921" fmla="*/ 1455106 w 1485658"/>
              <a:gd name="connsiteY921" fmla="*/ 1184289 h 1479935"/>
              <a:gd name="connsiteX922" fmla="*/ 1485658 w 1485658"/>
              <a:gd name="connsiteY922" fmla="*/ 1153853 h 1479935"/>
              <a:gd name="connsiteX923" fmla="*/ 1455106 w 1485658"/>
              <a:gd name="connsiteY923" fmla="*/ 1123416 h 1479935"/>
              <a:gd name="connsiteX924" fmla="*/ 1424553 w 1485658"/>
              <a:gd name="connsiteY924" fmla="*/ 1153853 h 1479935"/>
              <a:gd name="connsiteX925" fmla="*/ 474851 w 1485658"/>
              <a:gd name="connsiteY925" fmla="*/ 1212925 h 1479935"/>
              <a:gd name="connsiteX926" fmla="*/ 505404 w 1485658"/>
              <a:gd name="connsiteY926" fmla="*/ 1243362 h 1479935"/>
              <a:gd name="connsiteX927" fmla="*/ 535956 w 1485658"/>
              <a:gd name="connsiteY927" fmla="*/ 1212925 h 1479935"/>
              <a:gd name="connsiteX928" fmla="*/ 505404 w 1485658"/>
              <a:gd name="connsiteY928" fmla="*/ 1182488 h 1479935"/>
              <a:gd name="connsiteX929" fmla="*/ 474851 w 1485658"/>
              <a:gd name="connsiteY929" fmla="*/ 1212925 h 1479935"/>
              <a:gd name="connsiteX930" fmla="*/ 534243 w 1485658"/>
              <a:gd name="connsiteY930" fmla="*/ 1212925 h 1479935"/>
              <a:gd name="connsiteX931" fmla="*/ 564796 w 1485658"/>
              <a:gd name="connsiteY931" fmla="*/ 1243362 h 1479935"/>
              <a:gd name="connsiteX932" fmla="*/ 595348 w 1485658"/>
              <a:gd name="connsiteY932" fmla="*/ 1212925 h 1479935"/>
              <a:gd name="connsiteX933" fmla="*/ 564796 w 1485658"/>
              <a:gd name="connsiteY933" fmla="*/ 1182488 h 1479935"/>
              <a:gd name="connsiteX934" fmla="*/ 534243 w 1485658"/>
              <a:gd name="connsiteY934" fmla="*/ 1212925 h 1479935"/>
              <a:gd name="connsiteX935" fmla="*/ 652932 w 1485658"/>
              <a:gd name="connsiteY935" fmla="*/ 1212925 h 1479935"/>
              <a:gd name="connsiteX936" fmla="*/ 683485 w 1485658"/>
              <a:gd name="connsiteY936" fmla="*/ 1243362 h 1479935"/>
              <a:gd name="connsiteX937" fmla="*/ 714037 w 1485658"/>
              <a:gd name="connsiteY937" fmla="*/ 1212925 h 1479935"/>
              <a:gd name="connsiteX938" fmla="*/ 683485 w 1485658"/>
              <a:gd name="connsiteY938" fmla="*/ 1182488 h 1479935"/>
              <a:gd name="connsiteX939" fmla="*/ 652932 w 1485658"/>
              <a:gd name="connsiteY939" fmla="*/ 1212925 h 1479935"/>
              <a:gd name="connsiteX940" fmla="*/ 890310 w 1485658"/>
              <a:gd name="connsiteY940" fmla="*/ 1212925 h 1479935"/>
              <a:gd name="connsiteX941" fmla="*/ 920863 w 1485658"/>
              <a:gd name="connsiteY941" fmla="*/ 1243362 h 1479935"/>
              <a:gd name="connsiteX942" fmla="*/ 951415 w 1485658"/>
              <a:gd name="connsiteY942" fmla="*/ 1212925 h 1479935"/>
              <a:gd name="connsiteX943" fmla="*/ 920863 w 1485658"/>
              <a:gd name="connsiteY943" fmla="*/ 1182488 h 1479935"/>
              <a:gd name="connsiteX944" fmla="*/ 890310 w 1485658"/>
              <a:gd name="connsiteY944" fmla="*/ 1212925 h 1479935"/>
              <a:gd name="connsiteX945" fmla="*/ 949702 w 1485658"/>
              <a:gd name="connsiteY945" fmla="*/ 1212925 h 1479935"/>
              <a:gd name="connsiteX946" fmla="*/ 980255 w 1485658"/>
              <a:gd name="connsiteY946" fmla="*/ 1243362 h 1479935"/>
              <a:gd name="connsiteX947" fmla="*/ 1010807 w 1485658"/>
              <a:gd name="connsiteY947" fmla="*/ 1212925 h 1479935"/>
              <a:gd name="connsiteX948" fmla="*/ 980255 w 1485658"/>
              <a:gd name="connsiteY948" fmla="*/ 1182488 h 1479935"/>
              <a:gd name="connsiteX949" fmla="*/ 949702 w 1485658"/>
              <a:gd name="connsiteY949" fmla="*/ 1212925 h 1479935"/>
              <a:gd name="connsiteX950" fmla="*/ 1009094 w 1485658"/>
              <a:gd name="connsiteY950" fmla="*/ 1212925 h 1479935"/>
              <a:gd name="connsiteX951" fmla="*/ 1039647 w 1485658"/>
              <a:gd name="connsiteY951" fmla="*/ 1243362 h 1479935"/>
              <a:gd name="connsiteX952" fmla="*/ 1070199 w 1485658"/>
              <a:gd name="connsiteY952" fmla="*/ 1212925 h 1479935"/>
              <a:gd name="connsiteX953" fmla="*/ 1039647 w 1485658"/>
              <a:gd name="connsiteY953" fmla="*/ 1182488 h 1479935"/>
              <a:gd name="connsiteX954" fmla="*/ 1009094 w 1485658"/>
              <a:gd name="connsiteY954" fmla="*/ 1212925 h 1479935"/>
              <a:gd name="connsiteX955" fmla="*/ 1068391 w 1485658"/>
              <a:gd name="connsiteY955" fmla="*/ 1212925 h 1479935"/>
              <a:gd name="connsiteX956" fmla="*/ 1098944 w 1485658"/>
              <a:gd name="connsiteY956" fmla="*/ 1243362 h 1479935"/>
              <a:gd name="connsiteX957" fmla="*/ 1129496 w 1485658"/>
              <a:gd name="connsiteY957" fmla="*/ 1212925 h 1479935"/>
              <a:gd name="connsiteX958" fmla="*/ 1098944 w 1485658"/>
              <a:gd name="connsiteY958" fmla="*/ 1182488 h 1479935"/>
              <a:gd name="connsiteX959" fmla="*/ 1068391 w 1485658"/>
              <a:gd name="connsiteY959" fmla="*/ 1212925 h 1479935"/>
              <a:gd name="connsiteX960" fmla="*/ 1127783 w 1485658"/>
              <a:gd name="connsiteY960" fmla="*/ 1212925 h 1479935"/>
              <a:gd name="connsiteX961" fmla="*/ 1158336 w 1485658"/>
              <a:gd name="connsiteY961" fmla="*/ 1243362 h 1479935"/>
              <a:gd name="connsiteX962" fmla="*/ 1188888 w 1485658"/>
              <a:gd name="connsiteY962" fmla="*/ 1212925 h 1479935"/>
              <a:gd name="connsiteX963" fmla="*/ 1158336 w 1485658"/>
              <a:gd name="connsiteY963" fmla="*/ 1182488 h 1479935"/>
              <a:gd name="connsiteX964" fmla="*/ 1127783 w 1485658"/>
              <a:gd name="connsiteY964" fmla="*/ 1212925 h 1479935"/>
              <a:gd name="connsiteX965" fmla="*/ 1187080 w 1485658"/>
              <a:gd name="connsiteY965" fmla="*/ 1212925 h 1479935"/>
              <a:gd name="connsiteX966" fmla="*/ 1217633 w 1485658"/>
              <a:gd name="connsiteY966" fmla="*/ 1243362 h 1479935"/>
              <a:gd name="connsiteX967" fmla="*/ 1248185 w 1485658"/>
              <a:gd name="connsiteY967" fmla="*/ 1212925 h 1479935"/>
              <a:gd name="connsiteX968" fmla="*/ 1217633 w 1485658"/>
              <a:gd name="connsiteY968" fmla="*/ 1182488 h 1479935"/>
              <a:gd name="connsiteX969" fmla="*/ 1187080 w 1485658"/>
              <a:gd name="connsiteY969" fmla="*/ 1212925 h 1479935"/>
              <a:gd name="connsiteX970" fmla="*/ 1305769 w 1485658"/>
              <a:gd name="connsiteY970" fmla="*/ 1212925 h 1479935"/>
              <a:gd name="connsiteX971" fmla="*/ 1336322 w 1485658"/>
              <a:gd name="connsiteY971" fmla="*/ 1243362 h 1479935"/>
              <a:gd name="connsiteX972" fmla="*/ 1366874 w 1485658"/>
              <a:gd name="connsiteY972" fmla="*/ 1212925 h 1479935"/>
              <a:gd name="connsiteX973" fmla="*/ 1336322 w 1485658"/>
              <a:gd name="connsiteY973" fmla="*/ 1182488 h 1479935"/>
              <a:gd name="connsiteX974" fmla="*/ 1305769 w 1485658"/>
              <a:gd name="connsiteY974" fmla="*/ 1212925 h 1479935"/>
              <a:gd name="connsiteX975" fmla="*/ 1365161 w 1485658"/>
              <a:gd name="connsiteY975" fmla="*/ 1212925 h 1479935"/>
              <a:gd name="connsiteX976" fmla="*/ 1395714 w 1485658"/>
              <a:gd name="connsiteY976" fmla="*/ 1243362 h 1479935"/>
              <a:gd name="connsiteX977" fmla="*/ 1426266 w 1485658"/>
              <a:gd name="connsiteY977" fmla="*/ 1212925 h 1479935"/>
              <a:gd name="connsiteX978" fmla="*/ 1395714 w 1485658"/>
              <a:gd name="connsiteY978" fmla="*/ 1182488 h 1479935"/>
              <a:gd name="connsiteX979" fmla="*/ 1365161 w 1485658"/>
              <a:gd name="connsiteY979" fmla="*/ 1212925 h 1479935"/>
              <a:gd name="connsiteX980" fmla="*/ 1424553 w 1485658"/>
              <a:gd name="connsiteY980" fmla="*/ 1212925 h 1479935"/>
              <a:gd name="connsiteX981" fmla="*/ 1455106 w 1485658"/>
              <a:gd name="connsiteY981" fmla="*/ 1243362 h 1479935"/>
              <a:gd name="connsiteX982" fmla="*/ 1485658 w 1485658"/>
              <a:gd name="connsiteY982" fmla="*/ 1212925 h 1479935"/>
              <a:gd name="connsiteX983" fmla="*/ 1455106 w 1485658"/>
              <a:gd name="connsiteY983" fmla="*/ 1182488 h 1479935"/>
              <a:gd name="connsiteX984" fmla="*/ 1424553 w 1485658"/>
              <a:gd name="connsiteY984" fmla="*/ 1212925 h 1479935"/>
              <a:gd name="connsiteX985" fmla="*/ 474851 w 1485658"/>
              <a:gd name="connsiteY985" fmla="*/ 1272092 h 1479935"/>
              <a:gd name="connsiteX986" fmla="*/ 505404 w 1485658"/>
              <a:gd name="connsiteY986" fmla="*/ 1302529 h 1479935"/>
              <a:gd name="connsiteX987" fmla="*/ 535956 w 1485658"/>
              <a:gd name="connsiteY987" fmla="*/ 1272092 h 1479935"/>
              <a:gd name="connsiteX988" fmla="*/ 505404 w 1485658"/>
              <a:gd name="connsiteY988" fmla="*/ 1241655 h 1479935"/>
              <a:gd name="connsiteX989" fmla="*/ 474851 w 1485658"/>
              <a:gd name="connsiteY989" fmla="*/ 1272092 h 1479935"/>
              <a:gd name="connsiteX990" fmla="*/ 534243 w 1485658"/>
              <a:gd name="connsiteY990" fmla="*/ 1272092 h 1479935"/>
              <a:gd name="connsiteX991" fmla="*/ 564796 w 1485658"/>
              <a:gd name="connsiteY991" fmla="*/ 1302529 h 1479935"/>
              <a:gd name="connsiteX992" fmla="*/ 595348 w 1485658"/>
              <a:gd name="connsiteY992" fmla="*/ 1272092 h 1479935"/>
              <a:gd name="connsiteX993" fmla="*/ 564796 w 1485658"/>
              <a:gd name="connsiteY993" fmla="*/ 1241655 h 1479935"/>
              <a:gd name="connsiteX994" fmla="*/ 534243 w 1485658"/>
              <a:gd name="connsiteY994" fmla="*/ 1272092 h 1479935"/>
              <a:gd name="connsiteX995" fmla="*/ 712324 w 1485658"/>
              <a:gd name="connsiteY995" fmla="*/ 1272092 h 1479935"/>
              <a:gd name="connsiteX996" fmla="*/ 742877 w 1485658"/>
              <a:gd name="connsiteY996" fmla="*/ 1302529 h 1479935"/>
              <a:gd name="connsiteX997" fmla="*/ 773429 w 1485658"/>
              <a:gd name="connsiteY997" fmla="*/ 1272092 h 1479935"/>
              <a:gd name="connsiteX998" fmla="*/ 742877 w 1485658"/>
              <a:gd name="connsiteY998" fmla="*/ 1241655 h 1479935"/>
              <a:gd name="connsiteX999" fmla="*/ 712324 w 1485658"/>
              <a:gd name="connsiteY999" fmla="*/ 1272092 h 1479935"/>
              <a:gd name="connsiteX1000" fmla="*/ 771621 w 1485658"/>
              <a:gd name="connsiteY1000" fmla="*/ 1272092 h 1479935"/>
              <a:gd name="connsiteX1001" fmla="*/ 802174 w 1485658"/>
              <a:gd name="connsiteY1001" fmla="*/ 1302529 h 1479935"/>
              <a:gd name="connsiteX1002" fmla="*/ 832726 w 1485658"/>
              <a:gd name="connsiteY1002" fmla="*/ 1272092 h 1479935"/>
              <a:gd name="connsiteX1003" fmla="*/ 802174 w 1485658"/>
              <a:gd name="connsiteY1003" fmla="*/ 1241655 h 1479935"/>
              <a:gd name="connsiteX1004" fmla="*/ 771621 w 1485658"/>
              <a:gd name="connsiteY1004" fmla="*/ 1272092 h 1479935"/>
              <a:gd name="connsiteX1005" fmla="*/ 831013 w 1485658"/>
              <a:gd name="connsiteY1005" fmla="*/ 1272092 h 1479935"/>
              <a:gd name="connsiteX1006" fmla="*/ 861566 w 1485658"/>
              <a:gd name="connsiteY1006" fmla="*/ 1302529 h 1479935"/>
              <a:gd name="connsiteX1007" fmla="*/ 892118 w 1485658"/>
              <a:gd name="connsiteY1007" fmla="*/ 1272092 h 1479935"/>
              <a:gd name="connsiteX1008" fmla="*/ 861566 w 1485658"/>
              <a:gd name="connsiteY1008" fmla="*/ 1241655 h 1479935"/>
              <a:gd name="connsiteX1009" fmla="*/ 831013 w 1485658"/>
              <a:gd name="connsiteY1009" fmla="*/ 1272092 h 1479935"/>
              <a:gd name="connsiteX1010" fmla="*/ 890310 w 1485658"/>
              <a:gd name="connsiteY1010" fmla="*/ 1272092 h 1479935"/>
              <a:gd name="connsiteX1011" fmla="*/ 920863 w 1485658"/>
              <a:gd name="connsiteY1011" fmla="*/ 1302529 h 1479935"/>
              <a:gd name="connsiteX1012" fmla="*/ 951415 w 1485658"/>
              <a:gd name="connsiteY1012" fmla="*/ 1272092 h 1479935"/>
              <a:gd name="connsiteX1013" fmla="*/ 920863 w 1485658"/>
              <a:gd name="connsiteY1013" fmla="*/ 1241655 h 1479935"/>
              <a:gd name="connsiteX1014" fmla="*/ 890310 w 1485658"/>
              <a:gd name="connsiteY1014" fmla="*/ 1272092 h 1479935"/>
              <a:gd name="connsiteX1015" fmla="*/ 1009094 w 1485658"/>
              <a:gd name="connsiteY1015" fmla="*/ 1272092 h 1479935"/>
              <a:gd name="connsiteX1016" fmla="*/ 1039647 w 1485658"/>
              <a:gd name="connsiteY1016" fmla="*/ 1302529 h 1479935"/>
              <a:gd name="connsiteX1017" fmla="*/ 1070199 w 1485658"/>
              <a:gd name="connsiteY1017" fmla="*/ 1272092 h 1479935"/>
              <a:gd name="connsiteX1018" fmla="*/ 1039647 w 1485658"/>
              <a:gd name="connsiteY1018" fmla="*/ 1241655 h 1479935"/>
              <a:gd name="connsiteX1019" fmla="*/ 1009094 w 1485658"/>
              <a:gd name="connsiteY1019" fmla="*/ 1272092 h 1479935"/>
              <a:gd name="connsiteX1020" fmla="*/ 1068391 w 1485658"/>
              <a:gd name="connsiteY1020" fmla="*/ 1272092 h 1479935"/>
              <a:gd name="connsiteX1021" fmla="*/ 1098944 w 1485658"/>
              <a:gd name="connsiteY1021" fmla="*/ 1302529 h 1479935"/>
              <a:gd name="connsiteX1022" fmla="*/ 1129496 w 1485658"/>
              <a:gd name="connsiteY1022" fmla="*/ 1272092 h 1479935"/>
              <a:gd name="connsiteX1023" fmla="*/ 1098944 w 1485658"/>
              <a:gd name="connsiteY1023" fmla="*/ 1241655 h 1479935"/>
              <a:gd name="connsiteX1024" fmla="*/ 1068391 w 1485658"/>
              <a:gd name="connsiteY1024" fmla="*/ 1272092 h 1479935"/>
              <a:gd name="connsiteX1025" fmla="*/ 1187080 w 1485658"/>
              <a:gd name="connsiteY1025" fmla="*/ 1272092 h 1479935"/>
              <a:gd name="connsiteX1026" fmla="*/ 1217633 w 1485658"/>
              <a:gd name="connsiteY1026" fmla="*/ 1302529 h 1479935"/>
              <a:gd name="connsiteX1027" fmla="*/ 1248185 w 1485658"/>
              <a:gd name="connsiteY1027" fmla="*/ 1272092 h 1479935"/>
              <a:gd name="connsiteX1028" fmla="*/ 1217633 w 1485658"/>
              <a:gd name="connsiteY1028" fmla="*/ 1241655 h 1479935"/>
              <a:gd name="connsiteX1029" fmla="*/ 1187080 w 1485658"/>
              <a:gd name="connsiteY1029" fmla="*/ 1272092 h 1479935"/>
              <a:gd name="connsiteX1030" fmla="*/ 1246472 w 1485658"/>
              <a:gd name="connsiteY1030" fmla="*/ 1272092 h 1479935"/>
              <a:gd name="connsiteX1031" fmla="*/ 1277025 w 1485658"/>
              <a:gd name="connsiteY1031" fmla="*/ 1302529 h 1479935"/>
              <a:gd name="connsiteX1032" fmla="*/ 1307577 w 1485658"/>
              <a:gd name="connsiteY1032" fmla="*/ 1272092 h 1479935"/>
              <a:gd name="connsiteX1033" fmla="*/ 1277025 w 1485658"/>
              <a:gd name="connsiteY1033" fmla="*/ 1241655 h 1479935"/>
              <a:gd name="connsiteX1034" fmla="*/ 1246472 w 1485658"/>
              <a:gd name="connsiteY1034" fmla="*/ 1272092 h 1479935"/>
              <a:gd name="connsiteX1035" fmla="*/ 1305769 w 1485658"/>
              <a:gd name="connsiteY1035" fmla="*/ 1272092 h 1479935"/>
              <a:gd name="connsiteX1036" fmla="*/ 1336322 w 1485658"/>
              <a:gd name="connsiteY1036" fmla="*/ 1302529 h 1479935"/>
              <a:gd name="connsiteX1037" fmla="*/ 1366874 w 1485658"/>
              <a:gd name="connsiteY1037" fmla="*/ 1272092 h 1479935"/>
              <a:gd name="connsiteX1038" fmla="*/ 1336322 w 1485658"/>
              <a:gd name="connsiteY1038" fmla="*/ 1241655 h 1479935"/>
              <a:gd name="connsiteX1039" fmla="*/ 1305769 w 1485658"/>
              <a:gd name="connsiteY1039" fmla="*/ 1272092 h 1479935"/>
              <a:gd name="connsiteX1040" fmla="*/ 1365161 w 1485658"/>
              <a:gd name="connsiteY1040" fmla="*/ 1272092 h 1479935"/>
              <a:gd name="connsiteX1041" fmla="*/ 1395714 w 1485658"/>
              <a:gd name="connsiteY1041" fmla="*/ 1302529 h 1479935"/>
              <a:gd name="connsiteX1042" fmla="*/ 1426266 w 1485658"/>
              <a:gd name="connsiteY1042" fmla="*/ 1272092 h 1479935"/>
              <a:gd name="connsiteX1043" fmla="*/ 1395714 w 1485658"/>
              <a:gd name="connsiteY1043" fmla="*/ 1241655 h 1479935"/>
              <a:gd name="connsiteX1044" fmla="*/ 1365161 w 1485658"/>
              <a:gd name="connsiteY1044" fmla="*/ 1272092 h 1479935"/>
              <a:gd name="connsiteX1045" fmla="*/ 1424553 w 1485658"/>
              <a:gd name="connsiteY1045" fmla="*/ 1272092 h 1479935"/>
              <a:gd name="connsiteX1046" fmla="*/ 1455106 w 1485658"/>
              <a:gd name="connsiteY1046" fmla="*/ 1302529 h 1479935"/>
              <a:gd name="connsiteX1047" fmla="*/ 1485658 w 1485658"/>
              <a:gd name="connsiteY1047" fmla="*/ 1272092 h 1479935"/>
              <a:gd name="connsiteX1048" fmla="*/ 1455106 w 1485658"/>
              <a:gd name="connsiteY1048" fmla="*/ 1241655 h 1479935"/>
              <a:gd name="connsiteX1049" fmla="*/ 1424553 w 1485658"/>
              <a:gd name="connsiteY1049" fmla="*/ 1272092 h 1479935"/>
              <a:gd name="connsiteX1050" fmla="*/ 474851 w 1485658"/>
              <a:gd name="connsiteY1050" fmla="*/ 1331259 h 1479935"/>
              <a:gd name="connsiteX1051" fmla="*/ 505404 w 1485658"/>
              <a:gd name="connsiteY1051" fmla="*/ 1361696 h 1479935"/>
              <a:gd name="connsiteX1052" fmla="*/ 535956 w 1485658"/>
              <a:gd name="connsiteY1052" fmla="*/ 1331259 h 1479935"/>
              <a:gd name="connsiteX1053" fmla="*/ 505404 w 1485658"/>
              <a:gd name="connsiteY1053" fmla="*/ 1300822 h 1479935"/>
              <a:gd name="connsiteX1054" fmla="*/ 474851 w 1485658"/>
              <a:gd name="connsiteY1054" fmla="*/ 1331259 h 1479935"/>
              <a:gd name="connsiteX1055" fmla="*/ 593635 w 1485658"/>
              <a:gd name="connsiteY1055" fmla="*/ 1331259 h 1479935"/>
              <a:gd name="connsiteX1056" fmla="*/ 624188 w 1485658"/>
              <a:gd name="connsiteY1056" fmla="*/ 1361696 h 1479935"/>
              <a:gd name="connsiteX1057" fmla="*/ 654740 w 1485658"/>
              <a:gd name="connsiteY1057" fmla="*/ 1331259 h 1479935"/>
              <a:gd name="connsiteX1058" fmla="*/ 624188 w 1485658"/>
              <a:gd name="connsiteY1058" fmla="*/ 1300822 h 1479935"/>
              <a:gd name="connsiteX1059" fmla="*/ 593635 w 1485658"/>
              <a:gd name="connsiteY1059" fmla="*/ 1331259 h 1479935"/>
              <a:gd name="connsiteX1060" fmla="*/ 771621 w 1485658"/>
              <a:gd name="connsiteY1060" fmla="*/ 1331259 h 1479935"/>
              <a:gd name="connsiteX1061" fmla="*/ 802174 w 1485658"/>
              <a:gd name="connsiteY1061" fmla="*/ 1361696 h 1479935"/>
              <a:gd name="connsiteX1062" fmla="*/ 832726 w 1485658"/>
              <a:gd name="connsiteY1062" fmla="*/ 1331259 h 1479935"/>
              <a:gd name="connsiteX1063" fmla="*/ 802174 w 1485658"/>
              <a:gd name="connsiteY1063" fmla="*/ 1300822 h 1479935"/>
              <a:gd name="connsiteX1064" fmla="*/ 771621 w 1485658"/>
              <a:gd name="connsiteY1064" fmla="*/ 1331259 h 1479935"/>
              <a:gd name="connsiteX1065" fmla="*/ 831013 w 1485658"/>
              <a:gd name="connsiteY1065" fmla="*/ 1331259 h 1479935"/>
              <a:gd name="connsiteX1066" fmla="*/ 861566 w 1485658"/>
              <a:gd name="connsiteY1066" fmla="*/ 1361696 h 1479935"/>
              <a:gd name="connsiteX1067" fmla="*/ 892118 w 1485658"/>
              <a:gd name="connsiteY1067" fmla="*/ 1331259 h 1479935"/>
              <a:gd name="connsiteX1068" fmla="*/ 861566 w 1485658"/>
              <a:gd name="connsiteY1068" fmla="*/ 1300822 h 1479935"/>
              <a:gd name="connsiteX1069" fmla="*/ 831013 w 1485658"/>
              <a:gd name="connsiteY1069" fmla="*/ 1331259 h 1479935"/>
              <a:gd name="connsiteX1070" fmla="*/ 1246472 w 1485658"/>
              <a:gd name="connsiteY1070" fmla="*/ 1331259 h 1479935"/>
              <a:gd name="connsiteX1071" fmla="*/ 1277025 w 1485658"/>
              <a:gd name="connsiteY1071" fmla="*/ 1361696 h 1479935"/>
              <a:gd name="connsiteX1072" fmla="*/ 1307577 w 1485658"/>
              <a:gd name="connsiteY1072" fmla="*/ 1331259 h 1479935"/>
              <a:gd name="connsiteX1073" fmla="*/ 1277025 w 1485658"/>
              <a:gd name="connsiteY1073" fmla="*/ 1300822 h 1479935"/>
              <a:gd name="connsiteX1074" fmla="*/ 1246472 w 1485658"/>
              <a:gd name="connsiteY1074" fmla="*/ 1331259 h 1479935"/>
              <a:gd name="connsiteX1075" fmla="*/ 1305769 w 1485658"/>
              <a:gd name="connsiteY1075" fmla="*/ 1331259 h 1479935"/>
              <a:gd name="connsiteX1076" fmla="*/ 1336322 w 1485658"/>
              <a:gd name="connsiteY1076" fmla="*/ 1361696 h 1479935"/>
              <a:gd name="connsiteX1077" fmla="*/ 1366874 w 1485658"/>
              <a:gd name="connsiteY1077" fmla="*/ 1331259 h 1479935"/>
              <a:gd name="connsiteX1078" fmla="*/ 1336322 w 1485658"/>
              <a:gd name="connsiteY1078" fmla="*/ 1300822 h 1479935"/>
              <a:gd name="connsiteX1079" fmla="*/ 1305769 w 1485658"/>
              <a:gd name="connsiteY1079" fmla="*/ 1331259 h 1479935"/>
              <a:gd name="connsiteX1080" fmla="*/ 1424553 w 1485658"/>
              <a:gd name="connsiteY1080" fmla="*/ 1331259 h 1479935"/>
              <a:gd name="connsiteX1081" fmla="*/ 1455106 w 1485658"/>
              <a:gd name="connsiteY1081" fmla="*/ 1361696 h 1479935"/>
              <a:gd name="connsiteX1082" fmla="*/ 1485658 w 1485658"/>
              <a:gd name="connsiteY1082" fmla="*/ 1331259 h 1479935"/>
              <a:gd name="connsiteX1083" fmla="*/ 1455106 w 1485658"/>
              <a:gd name="connsiteY1083" fmla="*/ 1300822 h 1479935"/>
              <a:gd name="connsiteX1084" fmla="*/ 1424553 w 1485658"/>
              <a:gd name="connsiteY1084" fmla="*/ 1331259 h 1479935"/>
              <a:gd name="connsiteX1085" fmla="*/ 712324 w 1485658"/>
              <a:gd name="connsiteY1085" fmla="*/ 1390331 h 1479935"/>
              <a:gd name="connsiteX1086" fmla="*/ 742877 w 1485658"/>
              <a:gd name="connsiteY1086" fmla="*/ 1420768 h 1479935"/>
              <a:gd name="connsiteX1087" fmla="*/ 773429 w 1485658"/>
              <a:gd name="connsiteY1087" fmla="*/ 1390331 h 1479935"/>
              <a:gd name="connsiteX1088" fmla="*/ 742877 w 1485658"/>
              <a:gd name="connsiteY1088" fmla="*/ 1359894 h 1479935"/>
              <a:gd name="connsiteX1089" fmla="*/ 712324 w 1485658"/>
              <a:gd name="connsiteY1089" fmla="*/ 1390331 h 1479935"/>
              <a:gd name="connsiteX1090" fmla="*/ 771621 w 1485658"/>
              <a:gd name="connsiteY1090" fmla="*/ 1390331 h 1479935"/>
              <a:gd name="connsiteX1091" fmla="*/ 802174 w 1485658"/>
              <a:gd name="connsiteY1091" fmla="*/ 1420768 h 1479935"/>
              <a:gd name="connsiteX1092" fmla="*/ 832726 w 1485658"/>
              <a:gd name="connsiteY1092" fmla="*/ 1390331 h 1479935"/>
              <a:gd name="connsiteX1093" fmla="*/ 802174 w 1485658"/>
              <a:gd name="connsiteY1093" fmla="*/ 1359894 h 1479935"/>
              <a:gd name="connsiteX1094" fmla="*/ 771621 w 1485658"/>
              <a:gd name="connsiteY1094" fmla="*/ 1390331 h 1479935"/>
              <a:gd name="connsiteX1095" fmla="*/ 949702 w 1485658"/>
              <a:gd name="connsiteY1095" fmla="*/ 1390331 h 1479935"/>
              <a:gd name="connsiteX1096" fmla="*/ 980255 w 1485658"/>
              <a:gd name="connsiteY1096" fmla="*/ 1420768 h 1479935"/>
              <a:gd name="connsiteX1097" fmla="*/ 1010807 w 1485658"/>
              <a:gd name="connsiteY1097" fmla="*/ 1390331 h 1479935"/>
              <a:gd name="connsiteX1098" fmla="*/ 980255 w 1485658"/>
              <a:gd name="connsiteY1098" fmla="*/ 1359894 h 1479935"/>
              <a:gd name="connsiteX1099" fmla="*/ 949702 w 1485658"/>
              <a:gd name="connsiteY1099" fmla="*/ 1390331 h 1479935"/>
              <a:gd name="connsiteX1100" fmla="*/ 1068391 w 1485658"/>
              <a:gd name="connsiteY1100" fmla="*/ 1390331 h 1479935"/>
              <a:gd name="connsiteX1101" fmla="*/ 1098944 w 1485658"/>
              <a:gd name="connsiteY1101" fmla="*/ 1420768 h 1479935"/>
              <a:gd name="connsiteX1102" fmla="*/ 1129496 w 1485658"/>
              <a:gd name="connsiteY1102" fmla="*/ 1390331 h 1479935"/>
              <a:gd name="connsiteX1103" fmla="*/ 1098944 w 1485658"/>
              <a:gd name="connsiteY1103" fmla="*/ 1359894 h 1479935"/>
              <a:gd name="connsiteX1104" fmla="*/ 1068391 w 1485658"/>
              <a:gd name="connsiteY1104" fmla="*/ 1390331 h 1479935"/>
              <a:gd name="connsiteX1105" fmla="*/ 1127783 w 1485658"/>
              <a:gd name="connsiteY1105" fmla="*/ 1390331 h 1479935"/>
              <a:gd name="connsiteX1106" fmla="*/ 1158336 w 1485658"/>
              <a:gd name="connsiteY1106" fmla="*/ 1420768 h 1479935"/>
              <a:gd name="connsiteX1107" fmla="*/ 1188888 w 1485658"/>
              <a:gd name="connsiteY1107" fmla="*/ 1390331 h 1479935"/>
              <a:gd name="connsiteX1108" fmla="*/ 1158336 w 1485658"/>
              <a:gd name="connsiteY1108" fmla="*/ 1359894 h 1479935"/>
              <a:gd name="connsiteX1109" fmla="*/ 1127783 w 1485658"/>
              <a:gd name="connsiteY1109" fmla="*/ 1390331 h 1479935"/>
              <a:gd name="connsiteX1110" fmla="*/ 1187080 w 1485658"/>
              <a:gd name="connsiteY1110" fmla="*/ 1390331 h 1479935"/>
              <a:gd name="connsiteX1111" fmla="*/ 1217633 w 1485658"/>
              <a:gd name="connsiteY1111" fmla="*/ 1420768 h 1479935"/>
              <a:gd name="connsiteX1112" fmla="*/ 1248185 w 1485658"/>
              <a:gd name="connsiteY1112" fmla="*/ 1390331 h 1479935"/>
              <a:gd name="connsiteX1113" fmla="*/ 1217633 w 1485658"/>
              <a:gd name="connsiteY1113" fmla="*/ 1359894 h 1479935"/>
              <a:gd name="connsiteX1114" fmla="*/ 1187080 w 1485658"/>
              <a:gd name="connsiteY1114" fmla="*/ 1390331 h 1479935"/>
              <a:gd name="connsiteX1115" fmla="*/ 1246472 w 1485658"/>
              <a:gd name="connsiteY1115" fmla="*/ 1390331 h 1479935"/>
              <a:gd name="connsiteX1116" fmla="*/ 1277025 w 1485658"/>
              <a:gd name="connsiteY1116" fmla="*/ 1420768 h 1479935"/>
              <a:gd name="connsiteX1117" fmla="*/ 1307577 w 1485658"/>
              <a:gd name="connsiteY1117" fmla="*/ 1390331 h 1479935"/>
              <a:gd name="connsiteX1118" fmla="*/ 1277025 w 1485658"/>
              <a:gd name="connsiteY1118" fmla="*/ 1359894 h 1479935"/>
              <a:gd name="connsiteX1119" fmla="*/ 1246472 w 1485658"/>
              <a:gd name="connsiteY1119" fmla="*/ 1390331 h 1479935"/>
              <a:gd name="connsiteX1120" fmla="*/ 1424553 w 1485658"/>
              <a:gd name="connsiteY1120" fmla="*/ 1390331 h 1479935"/>
              <a:gd name="connsiteX1121" fmla="*/ 1455106 w 1485658"/>
              <a:gd name="connsiteY1121" fmla="*/ 1420768 h 1479935"/>
              <a:gd name="connsiteX1122" fmla="*/ 1485658 w 1485658"/>
              <a:gd name="connsiteY1122" fmla="*/ 1390331 h 1479935"/>
              <a:gd name="connsiteX1123" fmla="*/ 1455106 w 1485658"/>
              <a:gd name="connsiteY1123" fmla="*/ 1359894 h 1479935"/>
              <a:gd name="connsiteX1124" fmla="*/ 1424553 w 1485658"/>
              <a:gd name="connsiteY1124" fmla="*/ 1390331 h 1479935"/>
              <a:gd name="connsiteX1125" fmla="*/ 474851 w 1485658"/>
              <a:gd name="connsiteY1125" fmla="*/ 1449498 h 1479935"/>
              <a:gd name="connsiteX1126" fmla="*/ 505404 w 1485658"/>
              <a:gd name="connsiteY1126" fmla="*/ 1479935 h 1479935"/>
              <a:gd name="connsiteX1127" fmla="*/ 535956 w 1485658"/>
              <a:gd name="connsiteY1127" fmla="*/ 1449498 h 1479935"/>
              <a:gd name="connsiteX1128" fmla="*/ 505404 w 1485658"/>
              <a:gd name="connsiteY1128" fmla="*/ 1419061 h 1479935"/>
              <a:gd name="connsiteX1129" fmla="*/ 474851 w 1485658"/>
              <a:gd name="connsiteY1129" fmla="*/ 1449498 h 1479935"/>
              <a:gd name="connsiteX1130" fmla="*/ 593635 w 1485658"/>
              <a:gd name="connsiteY1130" fmla="*/ 1449498 h 1479935"/>
              <a:gd name="connsiteX1131" fmla="*/ 624188 w 1485658"/>
              <a:gd name="connsiteY1131" fmla="*/ 1479935 h 1479935"/>
              <a:gd name="connsiteX1132" fmla="*/ 654740 w 1485658"/>
              <a:gd name="connsiteY1132" fmla="*/ 1449498 h 1479935"/>
              <a:gd name="connsiteX1133" fmla="*/ 624188 w 1485658"/>
              <a:gd name="connsiteY1133" fmla="*/ 1419061 h 1479935"/>
              <a:gd name="connsiteX1134" fmla="*/ 593635 w 1485658"/>
              <a:gd name="connsiteY1134" fmla="*/ 1449498 h 1479935"/>
              <a:gd name="connsiteX1135" fmla="*/ 712324 w 1485658"/>
              <a:gd name="connsiteY1135" fmla="*/ 1449498 h 1479935"/>
              <a:gd name="connsiteX1136" fmla="*/ 742877 w 1485658"/>
              <a:gd name="connsiteY1136" fmla="*/ 1479935 h 1479935"/>
              <a:gd name="connsiteX1137" fmla="*/ 773429 w 1485658"/>
              <a:gd name="connsiteY1137" fmla="*/ 1449498 h 1479935"/>
              <a:gd name="connsiteX1138" fmla="*/ 742877 w 1485658"/>
              <a:gd name="connsiteY1138" fmla="*/ 1419061 h 1479935"/>
              <a:gd name="connsiteX1139" fmla="*/ 712324 w 1485658"/>
              <a:gd name="connsiteY1139" fmla="*/ 1449498 h 1479935"/>
              <a:gd name="connsiteX1140" fmla="*/ 831013 w 1485658"/>
              <a:gd name="connsiteY1140" fmla="*/ 1449498 h 1479935"/>
              <a:gd name="connsiteX1141" fmla="*/ 861566 w 1485658"/>
              <a:gd name="connsiteY1141" fmla="*/ 1479935 h 1479935"/>
              <a:gd name="connsiteX1142" fmla="*/ 892118 w 1485658"/>
              <a:gd name="connsiteY1142" fmla="*/ 1449498 h 1479935"/>
              <a:gd name="connsiteX1143" fmla="*/ 861566 w 1485658"/>
              <a:gd name="connsiteY1143" fmla="*/ 1419061 h 1479935"/>
              <a:gd name="connsiteX1144" fmla="*/ 831013 w 1485658"/>
              <a:gd name="connsiteY1144" fmla="*/ 1449498 h 1479935"/>
              <a:gd name="connsiteX1145" fmla="*/ 1009094 w 1485658"/>
              <a:gd name="connsiteY1145" fmla="*/ 1449498 h 1479935"/>
              <a:gd name="connsiteX1146" fmla="*/ 1039647 w 1485658"/>
              <a:gd name="connsiteY1146" fmla="*/ 1479935 h 1479935"/>
              <a:gd name="connsiteX1147" fmla="*/ 1070199 w 1485658"/>
              <a:gd name="connsiteY1147" fmla="*/ 1449498 h 1479935"/>
              <a:gd name="connsiteX1148" fmla="*/ 1039647 w 1485658"/>
              <a:gd name="connsiteY1148" fmla="*/ 1419061 h 1479935"/>
              <a:gd name="connsiteX1149" fmla="*/ 1009094 w 1485658"/>
              <a:gd name="connsiteY1149" fmla="*/ 1449498 h 1479935"/>
              <a:gd name="connsiteX1150" fmla="*/ 1068391 w 1485658"/>
              <a:gd name="connsiteY1150" fmla="*/ 1449498 h 1479935"/>
              <a:gd name="connsiteX1151" fmla="*/ 1098944 w 1485658"/>
              <a:gd name="connsiteY1151" fmla="*/ 1479935 h 1479935"/>
              <a:gd name="connsiteX1152" fmla="*/ 1129496 w 1485658"/>
              <a:gd name="connsiteY1152" fmla="*/ 1449498 h 1479935"/>
              <a:gd name="connsiteX1153" fmla="*/ 1098944 w 1485658"/>
              <a:gd name="connsiteY1153" fmla="*/ 1419061 h 1479935"/>
              <a:gd name="connsiteX1154" fmla="*/ 1068391 w 1485658"/>
              <a:gd name="connsiteY1154" fmla="*/ 1449498 h 1479935"/>
              <a:gd name="connsiteX1155" fmla="*/ 1127783 w 1485658"/>
              <a:gd name="connsiteY1155" fmla="*/ 1449498 h 1479935"/>
              <a:gd name="connsiteX1156" fmla="*/ 1158336 w 1485658"/>
              <a:gd name="connsiteY1156" fmla="*/ 1479935 h 1479935"/>
              <a:gd name="connsiteX1157" fmla="*/ 1188888 w 1485658"/>
              <a:gd name="connsiteY1157" fmla="*/ 1449498 h 1479935"/>
              <a:gd name="connsiteX1158" fmla="*/ 1158336 w 1485658"/>
              <a:gd name="connsiteY1158" fmla="*/ 1419061 h 1479935"/>
              <a:gd name="connsiteX1159" fmla="*/ 1127783 w 1485658"/>
              <a:gd name="connsiteY1159" fmla="*/ 1449498 h 1479935"/>
              <a:gd name="connsiteX1160" fmla="*/ 1187080 w 1485658"/>
              <a:gd name="connsiteY1160" fmla="*/ 1449498 h 1479935"/>
              <a:gd name="connsiteX1161" fmla="*/ 1217633 w 1485658"/>
              <a:gd name="connsiteY1161" fmla="*/ 1479935 h 1479935"/>
              <a:gd name="connsiteX1162" fmla="*/ 1248185 w 1485658"/>
              <a:gd name="connsiteY1162" fmla="*/ 1449498 h 1479935"/>
              <a:gd name="connsiteX1163" fmla="*/ 1217633 w 1485658"/>
              <a:gd name="connsiteY1163" fmla="*/ 1419061 h 1479935"/>
              <a:gd name="connsiteX1164" fmla="*/ 1187080 w 1485658"/>
              <a:gd name="connsiteY1164" fmla="*/ 1449498 h 1479935"/>
              <a:gd name="connsiteX1165" fmla="*/ 1246472 w 1485658"/>
              <a:gd name="connsiteY1165" fmla="*/ 1449498 h 1479935"/>
              <a:gd name="connsiteX1166" fmla="*/ 1277025 w 1485658"/>
              <a:gd name="connsiteY1166" fmla="*/ 1479935 h 1479935"/>
              <a:gd name="connsiteX1167" fmla="*/ 1307577 w 1485658"/>
              <a:gd name="connsiteY1167" fmla="*/ 1449498 h 1479935"/>
              <a:gd name="connsiteX1168" fmla="*/ 1277025 w 1485658"/>
              <a:gd name="connsiteY1168" fmla="*/ 1419061 h 1479935"/>
              <a:gd name="connsiteX1169" fmla="*/ 1246472 w 1485658"/>
              <a:gd name="connsiteY1169" fmla="*/ 1449498 h 1479935"/>
              <a:gd name="connsiteX1170" fmla="*/ 1305769 w 1485658"/>
              <a:gd name="connsiteY1170" fmla="*/ 1449498 h 1479935"/>
              <a:gd name="connsiteX1171" fmla="*/ 1336322 w 1485658"/>
              <a:gd name="connsiteY1171" fmla="*/ 1479935 h 1479935"/>
              <a:gd name="connsiteX1172" fmla="*/ 1366874 w 1485658"/>
              <a:gd name="connsiteY1172" fmla="*/ 1449498 h 1479935"/>
              <a:gd name="connsiteX1173" fmla="*/ 1336322 w 1485658"/>
              <a:gd name="connsiteY1173" fmla="*/ 1419061 h 1479935"/>
              <a:gd name="connsiteX1174" fmla="*/ 1305769 w 1485658"/>
              <a:gd name="connsiteY1174" fmla="*/ 1449498 h 1479935"/>
              <a:gd name="connsiteX1175" fmla="*/ 1365161 w 1485658"/>
              <a:gd name="connsiteY1175" fmla="*/ 1449498 h 1479935"/>
              <a:gd name="connsiteX1176" fmla="*/ 1395714 w 1485658"/>
              <a:gd name="connsiteY1176" fmla="*/ 1479935 h 1479935"/>
              <a:gd name="connsiteX1177" fmla="*/ 1426266 w 1485658"/>
              <a:gd name="connsiteY1177" fmla="*/ 1449498 h 1479935"/>
              <a:gd name="connsiteX1178" fmla="*/ 1395714 w 1485658"/>
              <a:gd name="connsiteY1178" fmla="*/ 1419061 h 1479935"/>
              <a:gd name="connsiteX1179" fmla="*/ 1365161 w 1485658"/>
              <a:gd name="connsiteY1179" fmla="*/ 1449498 h 1479935"/>
              <a:gd name="connsiteX1180" fmla="*/ 1424553 w 1485658"/>
              <a:gd name="connsiteY1180" fmla="*/ 1449498 h 1479935"/>
              <a:gd name="connsiteX1181" fmla="*/ 1455106 w 1485658"/>
              <a:gd name="connsiteY1181" fmla="*/ 1479935 h 1479935"/>
              <a:gd name="connsiteX1182" fmla="*/ 1485658 w 1485658"/>
              <a:gd name="connsiteY1182" fmla="*/ 1449498 h 1479935"/>
              <a:gd name="connsiteX1183" fmla="*/ 1455106 w 1485658"/>
              <a:gd name="connsiteY1183" fmla="*/ 1419061 h 1479935"/>
              <a:gd name="connsiteX1184" fmla="*/ 1424553 w 1485658"/>
              <a:gd name="connsiteY1184" fmla="*/ 1449498 h 1479935"/>
              <a:gd name="connsiteX1185" fmla="*/ 207777 w 1485658"/>
              <a:gd name="connsiteY1185" fmla="*/ 0 h 1479935"/>
              <a:gd name="connsiteX1186" fmla="*/ 207777 w 1485658"/>
              <a:gd name="connsiteY1186" fmla="*/ 0 h 1479935"/>
              <a:gd name="connsiteX1187" fmla="*/ 415554 w 1485658"/>
              <a:gd name="connsiteY1187" fmla="*/ 206990 h 1479935"/>
              <a:gd name="connsiteX1188" fmla="*/ 415554 w 1485658"/>
              <a:gd name="connsiteY1188" fmla="*/ 206990 h 1479935"/>
              <a:gd name="connsiteX1189" fmla="*/ 207777 w 1485658"/>
              <a:gd name="connsiteY1189" fmla="*/ 413980 h 1479935"/>
              <a:gd name="connsiteX1190" fmla="*/ 207777 w 1485658"/>
              <a:gd name="connsiteY1190" fmla="*/ 413980 h 1479935"/>
              <a:gd name="connsiteX1191" fmla="*/ 0 w 1485658"/>
              <a:gd name="connsiteY1191" fmla="*/ 206990 h 1479935"/>
              <a:gd name="connsiteX1192" fmla="*/ 0 w 1485658"/>
              <a:gd name="connsiteY1192" fmla="*/ 206990 h 1479935"/>
              <a:gd name="connsiteX1193" fmla="*/ 207777 w 1485658"/>
              <a:gd name="connsiteY1193" fmla="*/ 0 h 1479935"/>
              <a:gd name="connsiteX1194" fmla="*/ 356162 w 1485658"/>
              <a:gd name="connsiteY1194" fmla="*/ 206895 h 1479935"/>
              <a:gd name="connsiteX1195" fmla="*/ 356162 w 1485658"/>
              <a:gd name="connsiteY1195" fmla="*/ 206895 h 1479935"/>
              <a:gd name="connsiteX1196" fmla="*/ 207777 w 1485658"/>
              <a:gd name="connsiteY1196" fmla="*/ 59072 h 1479935"/>
              <a:gd name="connsiteX1197" fmla="*/ 207777 w 1485658"/>
              <a:gd name="connsiteY1197" fmla="*/ 59072 h 1479935"/>
              <a:gd name="connsiteX1198" fmla="*/ 59392 w 1485658"/>
              <a:gd name="connsiteY1198" fmla="*/ 206895 h 1479935"/>
              <a:gd name="connsiteX1199" fmla="*/ 59392 w 1485658"/>
              <a:gd name="connsiteY1199" fmla="*/ 206895 h 1479935"/>
              <a:gd name="connsiteX1200" fmla="*/ 207777 w 1485658"/>
              <a:gd name="connsiteY1200" fmla="*/ 354718 h 1479935"/>
              <a:gd name="connsiteX1201" fmla="*/ 207777 w 1485658"/>
              <a:gd name="connsiteY1201" fmla="*/ 354718 h 1479935"/>
              <a:gd name="connsiteX1202" fmla="*/ 356162 w 1485658"/>
              <a:gd name="connsiteY1202" fmla="*/ 206895 h 1479935"/>
              <a:gd name="connsiteX1203" fmla="*/ 1276168 w 1485658"/>
              <a:gd name="connsiteY1203" fmla="*/ 0 h 1479935"/>
              <a:gd name="connsiteX1204" fmla="*/ 1276168 w 1485658"/>
              <a:gd name="connsiteY1204" fmla="*/ 0 h 1479935"/>
              <a:gd name="connsiteX1205" fmla="*/ 1483945 w 1485658"/>
              <a:gd name="connsiteY1205" fmla="*/ 206990 h 1479935"/>
              <a:gd name="connsiteX1206" fmla="*/ 1483945 w 1485658"/>
              <a:gd name="connsiteY1206" fmla="*/ 206990 h 1479935"/>
              <a:gd name="connsiteX1207" fmla="*/ 1276168 w 1485658"/>
              <a:gd name="connsiteY1207" fmla="*/ 413980 h 1479935"/>
              <a:gd name="connsiteX1208" fmla="*/ 1276168 w 1485658"/>
              <a:gd name="connsiteY1208" fmla="*/ 413980 h 1479935"/>
              <a:gd name="connsiteX1209" fmla="*/ 1068391 w 1485658"/>
              <a:gd name="connsiteY1209" fmla="*/ 206990 h 1479935"/>
              <a:gd name="connsiteX1210" fmla="*/ 1068391 w 1485658"/>
              <a:gd name="connsiteY1210" fmla="*/ 206990 h 1479935"/>
              <a:gd name="connsiteX1211" fmla="*/ 1276168 w 1485658"/>
              <a:gd name="connsiteY1211" fmla="*/ 0 h 1479935"/>
              <a:gd name="connsiteX1212" fmla="*/ 1424553 w 1485658"/>
              <a:gd name="connsiteY1212" fmla="*/ 206895 h 1479935"/>
              <a:gd name="connsiteX1213" fmla="*/ 1424553 w 1485658"/>
              <a:gd name="connsiteY1213" fmla="*/ 206895 h 1479935"/>
              <a:gd name="connsiteX1214" fmla="*/ 1276168 w 1485658"/>
              <a:gd name="connsiteY1214" fmla="*/ 59072 h 1479935"/>
              <a:gd name="connsiteX1215" fmla="*/ 1276168 w 1485658"/>
              <a:gd name="connsiteY1215" fmla="*/ 59072 h 1479935"/>
              <a:gd name="connsiteX1216" fmla="*/ 1127783 w 1485658"/>
              <a:gd name="connsiteY1216" fmla="*/ 206895 h 1479935"/>
              <a:gd name="connsiteX1217" fmla="*/ 1127783 w 1485658"/>
              <a:gd name="connsiteY1217" fmla="*/ 206895 h 1479935"/>
              <a:gd name="connsiteX1218" fmla="*/ 1276168 w 1485658"/>
              <a:gd name="connsiteY1218" fmla="*/ 354718 h 1479935"/>
              <a:gd name="connsiteX1219" fmla="*/ 1276168 w 1485658"/>
              <a:gd name="connsiteY1219" fmla="*/ 354718 h 1479935"/>
              <a:gd name="connsiteX1220" fmla="*/ 1424553 w 1485658"/>
              <a:gd name="connsiteY1220" fmla="*/ 206895 h 1479935"/>
              <a:gd name="connsiteX1221" fmla="*/ 207777 w 1485658"/>
              <a:gd name="connsiteY1221" fmla="*/ 1064249 h 1479935"/>
              <a:gd name="connsiteX1222" fmla="*/ 207777 w 1485658"/>
              <a:gd name="connsiteY1222" fmla="*/ 1064249 h 1479935"/>
              <a:gd name="connsiteX1223" fmla="*/ 415554 w 1485658"/>
              <a:gd name="connsiteY1223" fmla="*/ 1271238 h 1479935"/>
              <a:gd name="connsiteX1224" fmla="*/ 415554 w 1485658"/>
              <a:gd name="connsiteY1224" fmla="*/ 1271238 h 1479935"/>
              <a:gd name="connsiteX1225" fmla="*/ 207777 w 1485658"/>
              <a:gd name="connsiteY1225" fmla="*/ 1478228 h 1479935"/>
              <a:gd name="connsiteX1226" fmla="*/ 207777 w 1485658"/>
              <a:gd name="connsiteY1226" fmla="*/ 1478228 h 1479935"/>
              <a:gd name="connsiteX1227" fmla="*/ 0 w 1485658"/>
              <a:gd name="connsiteY1227" fmla="*/ 1271238 h 1479935"/>
              <a:gd name="connsiteX1228" fmla="*/ 0 w 1485658"/>
              <a:gd name="connsiteY1228" fmla="*/ 1271238 h 1479935"/>
              <a:gd name="connsiteX1229" fmla="*/ 207777 w 1485658"/>
              <a:gd name="connsiteY1229" fmla="*/ 1064249 h 1479935"/>
              <a:gd name="connsiteX1230" fmla="*/ 356162 w 1485658"/>
              <a:gd name="connsiteY1230" fmla="*/ 1271238 h 1479935"/>
              <a:gd name="connsiteX1231" fmla="*/ 356162 w 1485658"/>
              <a:gd name="connsiteY1231" fmla="*/ 1271238 h 1479935"/>
              <a:gd name="connsiteX1232" fmla="*/ 207777 w 1485658"/>
              <a:gd name="connsiteY1232" fmla="*/ 1123416 h 1479935"/>
              <a:gd name="connsiteX1233" fmla="*/ 207777 w 1485658"/>
              <a:gd name="connsiteY1233" fmla="*/ 1123416 h 1479935"/>
              <a:gd name="connsiteX1234" fmla="*/ 59392 w 1485658"/>
              <a:gd name="connsiteY1234" fmla="*/ 1271238 h 1479935"/>
              <a:gd name="connsiteX1235" fmla="*/ 59392 w 1485658"/>
              <a:gd name="connsiteY1235" fmla="*/ 1271238 h 1479935"/>
              <a:gd name="connsiteX1236" fmla="*/ 207777 w 1485658"/>
              <a:gd name="connsiteY1236" fmla="*/ 1419061 h 1479935"/>
              <a:gd name="connsiteX1237" fmla="*/ 207777 w 1485658"/>
              <a:gd name="connsiteY1237" fmla="*/ 1419061 h 1479935"/>
              <a:gd name="connsiteX1238" fmla="*/ 356162 w 1485658"/>
              <a:gd name="connsiteY1238" fmla="*/ 1271238 h 1479935"/>
              <a:gd name="connsiteX1239" fmla="*/ 118784 w 1485658"/>
              <a:gd name="connsiteY1239" fmla="*/ 206895 h 1479935"/>
              <a:gd name="connsiteX1240" fmla="*/ 207777 w 1485658"/>
              <a:gd name="connsiteY1240" fmla="*/ 295551 h 1479935"/>
              <a:gd name="connsiteX1241" fmla="*/ 296770 w 1485658"/>
              <a:gd name="connsiteY1241" fmla="*/ 206895 h 1479935"/>
              <a:gd name="connsiteX1242" fmla="*/ 207777 w 1485658"/>
              <a:gd name="connsiteY1242" fmla="*/ 118239 h 1479935"/>
              <a:gd name="connsiteX1243" fmla="*/ 118784 w 1485658"/>
              <a:gd name="connsiteY1243" fmla="*/ 206895 h 1479935"/>
              <a:gd name="connsiteX1244" fmla="*/ 1187080 w 1485658"/>
              <a:gd name="connsiteY1244" fmla="*/ 206895 h 1479935"/>
              <a:gd name="connsiteX1245" fmla="*/ 1276073 w 1485658"/>
              <a:gd name="connsiteY1245" fmla="*/ 295551 h 1479935"/>
              <a:gd name="connsiteX1246" fmla="*/ 1365066 w 1485658"/>
              <a:gd name="connsiteY1246" fmla="*/ 206895 h 1479935"/>
              <a:gd name="connsiteX1247" fmla="*/ 1276073 w 1485658"/>
              <a:gd name="connsiteY1247" fmla="*/ 118239 h 1479935"/>
              <a:gd name="connsiteX1248" fmla="*/ 1187080 w 1485658"/>
              <a:gd name="connsiteY1248" fmla="*/ 206895 h 1479935"/>
              <a:gd name="connsiteX1249" fmla="*/ 118784 w 1485658"/>
              <a:gd name="connsiteY1249" fmla="*/ 1271238 h 1479935"/>
              <a:gd name="connsiteX1250" fmla="*/ 207777 w 1485658"/>
              <a:gd name="connsiteY1250" fmla="*/ 1359894 h 1479935"/>
              <a:gd name="connsiteX1251" fmla="*/ 296770 w 1485658"/>
              <a:gd name="connsiteY1251" fmla="*/ 1271238 h 1479935"/>
              <a:gd name="connsiteX1252" fmla="*/ 207777 w 1485658"/>
              <a:gd name="connsiteY1252" fmla="*/ 1182583 h 1479935"/>
              <a:gd name="connsiteX1253" fmla="*/ 118784 w 1485658"/>
              <a:gd name="connsiteY1253" fmla="*/ 1271238 h 1479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</a:cxnLst>
            <a:rect l="l" t="t" r="r" b="b"/>
            <a:pathLst>
              <a:path w="1485658" h="1479935">
                <a:moveTo>
                  <a:pt x="564796" y="0"/>
                </a:moveTo>
                <a:cubicBezTo>
                  <a:pt x="581643" y="0"/>
                  <a:pt x="595348" y="13654"/>
                  <a:pt x="595348" y="30437"/>
                </a:cubicBezTo>
                <a:cubicBezTo>
                  <a:pt x="595348" y="47220"/>
                  <a:pt x="581643" y="60874"/>
                  <a:pt x="564796" y="60874"/>
                </a:cubicBezTo>
                <a:cubicBezTo>
                  <a:pt x="547949" y="60874"/>
                  <a:pt x="534243" y="47220"/>
                  <a:pt x="534243" y="30437"/>
                </a:cubicBezTo>
                <a:cubicBezTo>
                  <a:pt x="534243" y="13654"/>
                  <a:pt x="547949" y="0"/>
                  <a:pt x="564796" y="0"/>
                </a:cubicBezTo>
                <a:close/>
                <a:moveTo>
                  <a:pt x="593635" y="30437"/>
                </a:moveTo>
                <a:cubicBezTo>
                  <a:pt x="593635" y="47220"/>
                  <a:pt x="607341" y="60874"/>
                  <a:pt x="624188" y="60874"/>
                </a:cubicBezTo>
                <a:cubicBezTo>
                  <a:pt x="641035" y="60874"/>
                  <a:pt x="654740" y="47220"/>
                  <a:pt x="654740" y="30437"/>
                </a:cubicBezTo>
                <a:cubicBezTo>
                  <a:pt x="654740" y="13654"/>
                  <a:pt x="641035" y="0"/>
                  <a:pt x="624188" y="0"/>
                </a:cubicBezTo>
                <a:cubicBezTo>
                  <a:pt x="607341" y="0"/>
                  <a:pt x="593635" y="13654"/>
                  <a:pt x="593635" y="30437"/>
                </a:cubicBezTo>
                <a:close/>
                <a:moveTo>
                  <a:pt x="652932" y="30437"/>
                </a:moveTo>
                <a:cubicBezTo>
                  <a:pt x="652932" y="47220"/>
                  <a:pt x="666638" y="60874"/>
                  <a:pt x="683485" y="60874"/>
                </a:cubicBezTo>
                <a:cubicBezTo>
                  <a:pt x="700332" y="60874"/>
                  <a:pt x="714037" y="47220"/>
                  <a:pt x="714037" y="30437"/>
                </a:cubicBezTo>
                <a:cubicBezTo>
                  <a:pt x="714037" y="13654"/>
                  <a:pt x="700332" y="0"/>
                  <a:pt x="683485" y="0"/>
                </a:cubicBezTo>
                <a:cubicBezTo>
                  <a:pt x="666638" y="0"/>
                  <a:pt x="652932" y="13654"/>
                  <a:pt x="652932" y="30437"/>
                </a:cubicBezTo>
                <a:close/>
                <a:moveTo>
                  <a:pt x="831013" y="30437"/>
                </a:moveTo>
                <a:cubicBezTo>
                  <a:pt x="831013" y="47220"/>
                  <a:pt x="844719" y="60874"/>
                  <a:pt x="861566" y="60874"/>
                </a:cubicBezTo>
                <a:cubicBezTo>
                  <a:pt x="878413" y="60874"/>
                  <a:pt x="892118" y="47220"/>
                  <a:pt x="892118" y="30437"/>
                </a:cubicBezTo>
                <a:cubicBezTo>
                  <a:pt x="892118" y="13654"/>
                  <a:pt x="878413" y="0"/>
                  <a:pt x="861566" y="0"/>
                </a:cubicBezTo>
                <a:cubicBezTo>
                  <a:pt x="844719" y="0"/>
                  <a:pt x="831013" y="13654"/>
                  <a:pt x="831013" y="30437"/>
                </a:cubicBezTo>
                <a:close/>
                <a:moveTo>
                  <a:pt x="949702" y="30437"/>
                </a:moveTo>
                <a:cubicBezTo>
                  <a:pt x="949702" y="47220"/>
                  <a:pt x="963408" y="60874"/>
                  <a:pt x="980255" y="60874"/>
                </a:cubicBezTo>
                <a:cubicBezTo>
                  <a:pt x="997101" y="60874"/>
                  <a:pt x="1010807" y="47220"/>
                  <a:pt x="1010807" y="30437"/>
                </a:cubicBezTo>
                <a:cubicBezTo>
                  <a:pt x="1010807" y="13654"/>
                  <a:pt x="997101" y="0"/>
                  <a:pt x="980255" y="0"/>
                </a:cubicBezTo>
                <a:cubicBezTo>
                  <a:pt x="963408" y="0"/>
                  <a:pt x="949702" y="13654"/>
                  <a:pt x="949702" y="30437"/>
                </a:cubicBezTo>
                <a:close/>
                <a:moveTo>
                  <a:pt x="593635" y="89509"/>
                </a:moveTo>
                <a:cubicBezTo>
                  <a:pt x="593635" y="106292"/>
                  <a:pt x="607341" y="119946"/>
                  <a:pt x="624188" y="119946"/>
                </a:cubicBezTo>
                <a:cubicBezTo>
                  <a:pt x="641035" y="119946"/>
                  <a:pt x="654740" y="106292"/>
                  <a:pt x="654740" y="89509"/>
                </a:cubicBezTo>
                <a:cubicBezTo>
                  <a:pt x="654740" y="72726"/>
                  <a:pt x="641035" y="59072"/>
                  <a:pt x="624188" y="59072"/>
                </a:cubicBezTo>
                <a:cubicBezTo>
                  <a:pt x="607341" y="59072"/>
                  <a:pt x="593635" y="72726"/>
                  <a:pt x="593635" y="89509"/>
                </a:cubicBezTo>
                <a:close/>
                <a:moveTo>
                  <a:pt x="771621" y="89509"/>
                </a:moveTo>
                <a:cubicBezTo>
                  <a:pt x="771621" y="106292"/>
                  <a:pt x="785327" y="119946"/>
                  <a:pt x="802174" y="119946"/>
                </a:cubicBezTo>
                <a:cubicBezTo>
                  <a:pt x="819021" y="119946"/>
                  <a:pt x="832726" y="106292"/>
                  <a:pt x="832726" y="89509"/>
                </a:cubicBezTo>
                <a:cubicBezTo>
                  <a:pt x="832726" y="72726"/>
                  <a:pt x="819021" y="59072"/>
                  <a:pt x="802174" y="59072"/>
                </a:cubicBezTo>
                <a:cubicBezTo>
                  <a:pt x="785327" y="59072"/>
                  <a:pt x="771621" y="72726"/>
                  <a:pt x="771621" y="89509"/>
                </a:cubicBezTo>
                <a:close/>
                <a:moveTo>
                  <a:pt x="890310" y="89509"/>
                </a:moveTo>
                <a:cubicBezTo>
                  <a:pt x="890310" y="106292"/>
                  <a:pt x="904016" y="119946"/>
                  <a:pt x="920863" y="119946"/>
                </a:cubicBezTo>
                <a:cubicBezTo>
                  <a:pt x="937709" y="119946"/>
                  <a:pt x="951415" y="106292"/>
                  <a:pt x="951415" y="89509"/>
                </a:cubicBezTo>
                <a:cubicBezTo>
                  <a:pt x="951415" y="72726"/>
                  <a:pt x="937709" y="59072"/>
                  <a:pt x="920863" y="59072"/>
                </a:cubicBezTo>
                <a:cubicBezTo>
                  <a:pt x="904016" y="59072"/>
                  <a:pt x="890310" y="72726"/>
                  <a:pt x="890310" y="89509"/>
                </a:cubicBezTo>
                <a:close/>
                <a:moveTo>
                  <a:pt x="474851" y="148676"/>
                </a:moveTo>
                <a:cubicBezTo>
                  <a:pt x="474851" y="165459"/>
                  <a:pt x="488557" y="179113"/>
                  <a:pt x="505404" y="179113"/>
                </a:cubicBezTo>
                <a:cubicBezTo>
                  <a:pt x="522250" y="179113"/>
                  <a:pt x="535956" y="165459"/>
                  <a:pt x="535956" y="148676"/>
                </a:cubicBezTo>
                <a:cubicBezTo>
                  <a:pt x="535956" y="131893"/>
                  <a:pt x="522250" y="118239"/>
                  <a:pt x="505404" y="118239"/>
                </a:cubicBezTo>
                <a:cubicBezTo>
                  <a:pt x="488557" y="118239"/>
                  <a:pt x="474851" y="131893"/>
                  <a:pt x="474851" y="148676"/>
                </a:cubicBezTo>
                <a:close/>
                <a:moveTo>
                  <a:pt x="712324" y="148676"/>
                </a:moveTo>
                <a:cubicBezTo>
                  <a:pt x="712324" y="165459"/>
                  <a:pt x="726030" y="179113"/>
                  <a:pt x="742877" y="179113"/>
                </a:cubicBezTo>
                <a:cubicBezTo>
                  <a:pt x="759724" y="179113"/>
                  <a:pt x="773429" y="165459"/>
                  <a:pt x="773429" y="148676"/>
                </a:cubicBezTo>
                <a:cubicBezTo>
                  <a:pt x="773429" y="131893"/>
                  <a:pt x="759724" y="118239"/>
                  <a:pt x="742877" y="118239"/>
                </a:cubicBezTo>
                <a:cubicBezTo>
                  <a:pt x="726030" y="118239"/>
                  <a:pt x="712324" y="131893"/>
                  <a:pt x="712324" y="148676"/>
                </a:cubicBezTo>
                <a:close/>
                <a:moveTo>
                  <a:pt x="949702" y="148676"/>
                </a:moveTo>
                <a:cubicBezTo>
                  <a:pt x="949702" y="165459"/>
                  <a:pt x="963408" y="179113"/>
                  <a:pt x="980255" y="179113"/>
                </a:cubicBezTo>
                <a:cubicBezTo>
                  <a:pt x="997101" y="179113"/>
                  <a:pt x="1010807" y="165459"/>
                  <a:pt x="1010807" y="148676"/>
                </a:cubicBezTo>
                <a:cubicBezTo>
                  <a:pt x="1010807" y="131893"/>
                  <a:pt x="997101" y="118239"/>
                  <a:pt x="980255" y="118239"/>
                </a:cubicBezTo>
                <a:cubicBezTo>
                  <a:pt x="963408" y="118239"/>
                  <a:pt x="949702" y="131893"/>
                  <a:pt x="949702" y="148676"/>
                </a:cubicBezTo>
                <a:close/>
                <a:moveTo>
                  <a:pt x="474851" y="207843"/>
                </a:moveTo>
                <a:cubicBezTo>
                  <a:pt x="474851" y="224626"/>
                  <a:pt x="488557" y="238280"/>
                  <a:pt x="505404" y="238280"/>
                </a:cubicBezTo>
                <a:cubicBezTo>
                  <a:pt x="522250" y="238280"/>
                  <a:pt x="535956" y="224626"/>
                  <a:pt x="535956" y="207843"/>
                </a:cubicBezTo>
                <a:cubicBezTo>
                  <a:pt x="535956" y="191060"/>
                  <a:pt x="522250" y="177406"/>
                  <a:pt x="505404" y="177406"/>
                </a:cubicBezTo>
                <a:cubicBezTo>
                  <a:pt x="488557" y="177406"/>
                  <a:pt x="474851" y="191060"/>
                  <a:pt x="474851" y="207843"/>
                </a:cubicBezTo>
                <a:close/>
                <a:moveTo>
                  <a:pt x="534243" y="207843"/>
                </a:moveTo>
                <a:cubicBezTo>
                  <a:pt x="534243" y="224626"/>
                  <a:pt x="547949" y="238280"/>
                  <a:pt x="564796" y="238280"/>
                </a:cubicBezTo>
                <a:cubicBezTo>
                  <a:pt x="581643" y="238280"/>
                  <a:pt x="595348" y="224626"/>
                  <a:pt x="595348" y="207843"/>
                </a:cubicBezTo>
                <a:cubicBezTo>
                  <a:pt x="595348" y="191060"/>
                  <a:pt x="581643" y="177406"/>
                  <a:pt x="564796" y="177406"/>
                </a:cubicBezTo>
                <a:cubicBezTo>
                  <a:pt x="547949" y="177406"/>
                  <a:pt x="534243" y="191060"/>
                  <a:pt x="534243" y="207843"/>
                </a:cubicBezTo>
                <a:close/>
                <a:moveTo>
                  <a:pt x="593635" y="207843"/>
                </a:moveTo>
                <a:cubicBezTo>
                  <a:pt x="593635" y="224626"/>
                  <a:pt x="607341" y="238280"/>
                  <a:pt x="624188" y="238280"/>
                </a:cubicBezTo>
                <a:cubicBezTo>
                  <a:pt x="641035" y="238280"/>
                  <a:pt x="654740" y="224626"/>
                  <a:pt x="654740" y="207843"/>
                </a:cubicBezTo>
                <a:cubicBezTo>
                  <a:pt x="654740" y="191060"/>
                  <a:pt x="641035" y="177406"/>
                  <a:pt x="624188" y="177406"/>
                </a:cubicBezTo>
                <a:cubicBezTo>
                  <a:pt x="607341" y="177406"/>
                  <a:pt x="593635" y="191060"/>
                  <a:pt x="593635" y="207843"/>
                </a:cubicBezTo>
                <a:close/>
                <a:moveTo>
                  <a:pt x="652932" y="207843"/>
                </a:moveTo>
                <a:cubicBezTo>
                  <a:pt x="652932" y="224626"/>
                  <a:pt x="666638" y="238280"/>
                  <a:pt x="683485" y="238280"/>
                </a:cubicBezTo>
                <a:cubicBezTo>
                  <a:pt x="700332" y="238280"/>
                  <a:pt x="714037" y="224626"/>
                  <a:pt x="714037" y="207843"/>
                </a:cubicBezTo>
                <a:cubicBezTo>
                  <a:pt x="714037" y="191060"/>
                  <a:pt x="700332" y="177406"/>
                  <a:pt x="683485" y="177406"/>
                </a:cubicBezTo>
                <a:cubicBezTo>
                  <a:pt x="666638" y="177406"/>
                  <a:pt x="652932" y="191060"/>
                  <a:pt x="652932" y="207843"/>
                </a:cubicBezTo>
                <a:close/>
                <a:moveTo>
                  <a:pt x="771621" y="207843"/>
                </a:moveTo>
                <a:cubicBezTo>
                  <a:pt x="771621" y="224626"/>
                  <a:pt x="785327" y="238280"/>
                  <a:pt x="802174" y="238280"/>
                </a:cubicBezTo>
                <a:cubicBezTo>
                  <a:pt x="819021" y="238280"/>
                  <a:pt x="832726" y="224626"/>
                  <a:pt x="832726" y="207843"/>
                </a:cubicBezTo>
                <a:cubicBezTo>
                  <a:pt x="832726" y="191060"/>
                  <a:pt x="819021" y="177406"/>
                  <a:pt x="802174" y="177406"/>
                </a:cubicBezTo>
                <a:cubicBezTo>
                  <a:pt x="785327" y="177406"/>
                  <a:pt x="771621" y="191060"/>
                  <a:pt x="771621" y="207843"/>
                </a:cubicBezTo>
                <a:close/>
                <a:moveTo>
                  <a:pt x="831013" y="207843"/>
                </a:moveTo>
                <a:cubicBezTo>
                  <a:pt x="831013" y="224626"/>
                  <a:pt x="844719" y="238280"/>
                  <a:pt x="861566" y="238280"/>
                </a:cubicBezTo>
                <a:cubicBezTo>
                  <a:pt x="878413" y="238280"/>
                  <a:pt x="892118" y="224626"/>
                  <a:pt x="892118" y="207843"/>
                </a:cubicBezTo>
                <a:cubicBezTo>
                  <a:pt x="892118" y="191060"/>
                  <a:pt x="878413" y="177406"/>
                  <a:pt x="861566" y="177406"/>
                </a:cubicBezTo>
                <a:cubicBezTo>
                  <a:pt x="844719" y="177406"/>
                  <a:pt x="831013" y="191060"/>
                  <a:pt x="831013" y="207843"/>
                </a:cubicBezTo>
                <a:close/>
                <a:moveTo>
                  <a:pt x="474851" y="266915"/>
                </a:moveTo>
                <a:cubicBezTo>
                  <a:pt x="474851" y="283698"/>
                  <a:pt x="488557" y="297352"/>
                  <a:pt x="505404" y="297352"/>
                </a:cubicBezTo>
                <a:cubicBezTo>
                  <a:pt x="522250" y="297352"/>
                  <a:pt x="535956" y="283698"/>
                  <a:pt x="535956" y="266915"/>
                </a:cubicBezTo>
                <a:cubicBezTo>
                  <a:pt x="535956" y="250133"/>
                  <a:pt x="522250" y="236479"/>
                  <a:pt x="505404" y="236479"/>
                </a:cubicBezTo>
                <a:cubicBezTo>
                  <a:pt x="488557" y="236479"/>
                  <a:pt x="474851" y="250133"/>
                  <a:pt x="474851" y="266915"/>
                </a:cubicBezTo>
                <a:close/>
                <a:moveTo>
                  <a:pt x="652932" y="266915"/>
                </a:moveTo>
                <a:cubicBezTo>
                  <a:pt x="652932" y="283698"/>
                  <a:pt x="666638" y="297352"/>
                  <a:pt x="683485" y="297352"/>
                </a:cubicBezTo>
                <a:cubicBezTo>
                  <a:pt x="700332" y="297352"/>
                  <a:pt x="714037" y="283698"/>
                  <a:pt x="714037" y="266915"/>
                </a:cubicBezTo>
                <a:cubicBezTo>
                  <a:pt x="714037" y="250133"/>
                  <a:pt x="700332" y="236479"/>
                  <a:pt x="683485" y="236479"/>
                </a:cubicBezTo>
                <a:cubicBezTo>
                  <a:pt x="666638" y="236479"/>
                  <a:pt x="652932" y="250133"/>
                  <a:pt x="652932" y="266915"/>
                </a:cubicBezTo>
                <a:close/>
                <a:moveTo>
                  <a:pt x="712324" y="266915"/>
                </a:moveTo>
                <a:cubicBezTo>
                  <a:pt x="712324" y="283698"/>
                  <a:pt x="726030" y="297352"/>
                  <a:pt x="742877" y="297352"/>
                </a:cubicBezTo>
                <a:cubicBezTo>
                  <a:pt x="759724" y="297352"/>
                  <a:pt x="773429" y="283698"/>
                  <a:pt x="773429" y="266915"/>
                </a:cubicBezTo>
                <a:cubicBezTo>
                  <a:pt x="773429" y="250133"/>
                  <a:pt x="759724" y="236479"/>
                  <a:pt x="742877" y="236479"/>
                </a:cubicBezTo>
                <a:cubicBezTo>
                  <a:pt x="726030" y="236479"/>
                  <a:pt x="712324" y="250133"/>
                  <a:pt x="712324" y="266915"/>
                </a:cubicBezTo>
                <a:close/>
                <a:moveTo>
                  <a:pt x="831013" y="266915"/>
                </a:moveTo>
                <a:cubicBezTo>
                  <a:pt x="831013" y="283698"/>
                  <a:pt x="844719" y="297352"/>
                  <a:pt x="861566" y="297352"/>
                </a:cubicBezTo>
                <a:cubicBezTo>
                  <a:pt x="878413" y="297352"/>
                  <a:pt x="892118" y="283698"/>
                  <a:pt x="892118" y="266915"/>
                </a:cubicBezTo>
                <a:cubicBezTo>
                  <a:pt x="892118" y="250133"/>
                  <a:pt x="878413" y="236479"/>
                  <a:pt x="861566" y="236479"/>
                </a:cubicBezTo>
                <a:cubicBezTo>
                  <a:pt x="844719" y="236479"/>
                  <a:pt x="831013" y="250133"/>
                  <a:pt x="831013" y="266915"/>
                </a:cubicBezTo>
                <a:close/>
                <a:moveTo>
                  <a:pt x="474851" y="326083"/>
                </a:moveTo>
                <a:cubicBezTo>
                  <a:pt x="474851" y="342866"/>
                  <a:pt x="488557" y="356519"/>
                  <a:pt x="505404" y="356519"/>
                </a:cubicBezTo>
                <a:cubicBezTo>
                  <a:pt x="522250" y="356519"/>
                  <a:pt x="535956" y="342866"/>
                  <a:pt x="535956" y="326083"/>
                </a:cubicBezTo>
                <a:cubicBezTo>
                  <a:pt x="535956" y="309300"/>
                  <a:pt x="522250" y="295646"/>
                  <a:pt x="505404" y="295646"/>
                </a:cubicBezTo>
                <a:cubicBezTo>
                  <a:pt x="488557" y="295646"/>
                  <a:pt x="474851" y="309300"/>
                  <a:pt x="474851" y="326083"/>
                </a:cubicBezTo>
                <a:close/>
                <a:moveTo>
                  <a:pt x="593635" y="326083"/>
                </a:moveTo>
                <a:cubicBezTo>
                  <a:pt x="593635" y="342866"/>
                  <a:pt x="607341" y="356519"/>
                  <a:pt x="624188" y="356519"/>
                </a:cubicBezTo>
                <a:cubicBezTo>
                  <a:pt x="641035" y="356519"/>
                  <a:pt x="654740" y="342866"/>
                  <a:pt x="654740" y="326083"/>
                </a:cubicBezTo>
                <a:cubicBezTo>
                  <a:pt x="654740" y="309300"/>
                  <a:pt x="641035" y="295646"/>
                  <a:pt x="624188" y="295646"/>
                </a:cubicBezTo>
                <a:cubicBezTo>
                  <a:pt x="607341" y="295646"/>
                  <a:pt x="593635" y="309300"/>
                  <a:pt x="593635" y="326083"/>
                </a:cubicBezTo>
                <a:close/>
                <a:moveTo>
                  <a:pt x="831013" y="326083"/>
                </a:moveTo>
                <a:cubicBezTo>
                  <a:pt x="831013" y="342866"/>
                  <a:pt x="844719" y="356519"/>
                  <a:pt x="861566" y="356519"/>
                </a:cubicBezTo>
                <a:cubicBezTo>
                  <a:pt x="878413" y="356519"/>
                  <a:pt x="892118" y="342866"/>
                  <a:pt x="892118" y="326083"/>
                </a:cubicBezTo>
                <a:cubicBezTo>
                  <a:pt x="892118" y="309300"/>
                  <a:pt x="878413" y="295646"/>
                  <a:pt x="861566" y="295646"/>
                </a:cubicBezTo>
                <a:cubicBezTo>
                  <a:pt x="844719" y="295646"/>
                  <a:pt x="831013" y="309300"/>
                  <a:pt x="831013" y="326083"/>
                </a:cubicBezTo>
                <a:close/>
                <a:moveTo>
                  <a:pt x="890310" y="326083"/>
                </a:moveTo>
                <a:cubicBezTo>
                  <a:pt x="890310" y="342866"/>
                  <a:pt x="904016" y="356519"/>
                  <a:pt x="920863" y="356519"/>
                </a:cubicBezTo>
                <a:cubicBezTo>
                  <a:pt x="937709" y="356519"/>
                  <a:pt x="951415" y="342866"/>
                  <a:pt x="951415" y="326083"/>
                </a:cubicBezTo>
                <a:cubicBezTo>
                  <a:pt x="951415" y="309300"/>
                  <a:pt x="937709" y="295646"/>
                  <a:pt x="920863" y="295646"/>
                </a:cubicBezTo>
                <a:cubicBezTo>
                  <a:pt x="904016" y="295646"/>
                  <a:pt x="890310" y="309300"/>
                  <a:pt x="890310" y="326083"/>
                </a:cubicBezTo>
                <a:close/>
                <a:moveTo>
                  <a:pt x="949702" y="326083"/>
                </a:moveTo>
                <a:cubicBezTo>
                  <a:pt x="949702" y="342866"/>
                  <a:pt x="963408" y="356519"/>
                  <a:pt x="980255" y="356519"/>
                </a:cubicBezTo>
                <a:cubicBezTo>
                  <a:pt x="997101" y="356519"/>
                  <a:pt x="1010807" y="342866"/>
                  <a:pt x="1010807" y="326083"/>
                </a:cubicBezTo>
                <a:cubicBezTo>
                  <a:pt x="1010807" y="309300"/>
                  <a:pt x="997101" y="295646"/>
                  <a:pt x="980255" y="295646"/>
                </a:cubicBezTo>
                <a:cubicBezTo>
                  <a:pt x="963408" y="295646"/>
                  <a:pt x="949702" y="309300"/>
                  <a:pt x="949702" y="326083"/>
                </a:cubicBezTo>
                <a:close/>
                <a:moveTo>
                  <a:pt x="474851" y="385155"/>
                </a:moveTo>
                <a:cubicBezTo>
                  <a:pt x="474851" y="401938"/>
                  <a:pt x="488557" y="415592"/>
                  <a:pt x="505404" y="415592"/>
                </a:cubicBezTo>
                <a:cubicBezTo>
                  <a:pt x="522250" y="415592"/>
                  <a:pt x="535956" y="401938"/>
                  <a:pt x="535956" y="385155"/>
                </a:cubicBezTo>
                <a:cubicBezTo>
                  <a:pt x="535956" y="368372"/>
                  <a:pt x="522250" y="354718"/>
                  <a:pt x="505404" y="354718"/>
                </a:cubicBezTo>
                <a:cubicBezTo>
                  <a:pt x="488557" y="354718"/>
                  <a:pt x="474851" y="368372"/>
                  <a:pt x="474851" y="385155"/>
                </a:cubicBezTo>
                <a:close/>
                <a:moveTo>
                  <a:pt x="593635" y="385155"/>
                </a:moveTo>
                <a:cubicBezTo>
                  <a:pt x="593635" y="401938"/>
                  <a:pt x="607341" y="415592"/>
                  <a:pt x="624188" y="415592"/>
                </a:cubicBezTo>
                <a:cubicBezTo>
                  <a:pt x="641035" y="415592"/>
                  <a:pt x="654740" y="401938"/>
                  <a:pt x="654740" y="385155"/>
                </a:cubicBezTo>
                <a:cubicBezTo>
                  <a:pt x="654740" y="368372"/>
                  <a:pt x="641035" y="354718"/>
                  <a:pt x="624188" y="354718"/>
                </a:cubicBezTo>
                <a:cubicBezTo>
                  <a:pt x="607341" y="354718"/>
                  <a:pt x="593635" y="368372"/>
                  <a:pt x="593635" y="385155"/>
                </a:cubicBezTo>
                <a:close/>
                <a:moveTo>
                  <a:pt x="712324" y="385155"/>
                </a:moveTo>
                <a:cubicBezTo>
                  <a:pt x="712324" y="401938"/>
                  <a:pt x="726030" y="415592"/>
                  <a:pt x="742877" y="415592"/>
                </a:cubicBezTo>
                <a:cubicBezTo>
                  <a:pt x="759724" y="415592"/>
                  <a:pt x="773429" y="401938"/>
                  <a:pt x="773429" y="385155"/>
                </a:cubicBezTo>
                <a:cubicBezTo>
                  <a:pt x="773429" y="368372"/>
                  <a:pt x="759724" y="354718"/>
                  <a:pt x="742877" y="354718"/>
                </a:cubicBezTo>
                <a:cubicBezTo>
                  <a:pt x="726030" y="354718"/>
                  <a:pt x="712324" y="368372"/>
                  <a:pt x="712324" y="385155"/>
                </a:cubicBezTo>
                <a:close/>
                <a:moveTo>
                  <a:pt x="831013" y="385155"/>
                </a:moveTo>
                <a:cubicBezTo>
                  <a:pt x="831013" y="401938"/>
                  <a:pt x="844719" y="415592"/>
                  <a:pt x="861566" y="415592"/>
                </a:cubicBezTo>
                <a:cubicBezTo>
                  <a:pt x="878413" y="415592"/>
                  <a:pt x="892118" y="401938"/>
                  <a:pt x="892118" y="385155"/>
                </a:cubicBezTo>
                <a:cubicBezTo>
                  <a:pt x="892118" y="368372"/>
                  <a:pt x="878413" y="354718"/>
                  <a:pt x="861566" y="354718"/>
                </a:cubicBezTo>
                <a:cubicBezTo>
                  <a:pt x="844719" y="354718"/>
                  <a:pt x="831013" y="368372"/>
                  <a:pt x="831013" y="385155"/>
                </a:cubicBezTo>
                <a:close/>
                <a:moveTo>
                  <a:pt x="949702" y="385155"/>
                </a:moveTo>
                <a:cubicBezTo>
                  <a:pt x="949702" y="401938"/>
                  <a:pt x="963408" y="415592"/>
                  <a:pt x="980255" y="415592"/>
                </a:cubicBezTo>
                <a:cubicBezTo>
                  <a:pt x="997101" y="415592"/>
                  <a:pt x="1010807" y="401938"/>
                  <a:pt x="1010807" y="385155"/>
                </a:cubicBezTo>
                <a:cubicBezTo>
                  <a:pt x="1010807" y="368372"/>
                  <a:pt x="997101" y="354718"/>
                  <a:pt x="980255" y="354718"/>
                </a:cubicBezTo>
                <a:cubicBezTo>
                  <a:pt x="963408" y="354718"/>
                  <a:pt x="949702" y="368372"/>
                  <a:pt x="949702" y="385155"/>
                </a:cubicBezTo>
                <a:close/>
                <a:moveTo>
                  <a:pt x="474851" y="444322"/>
                </a:moveTo>
                <a:cubicBezTo>
                  <a:pt x="474851" y="461105"/>
                  <a:pt x="488557" y="474759"/>
                  <a:pt x="505404" y="474759"/>
                </a:cubicBezTo>
                <a:cubicBezTo>
                  <a:pt x="522250" y="474759"/>
                  <a:pt x="535956" y="461105"/>
                  <a:pt x="535956" y="444322"/>
                </a:cubicBezTo>
                <a:cubicBezTo>
                  <a:pt x="535956" y="427539"/>
                  <a:pt x="522250" y="413885"/>
                  <a:pt x="505404" y="413885"/>
                </a:cubicBezTo>
                <a:cubicBezTo>
                  <a:pt x="488557" y="413885"/>
                  <a:pt x="474851" y="427539"/>
                  <a:pt x="474851" y="444322"/>
                </a:cubicBezTo>
                <a:close/>
                <a:moveTo>
                  <a:pt x="831013" y="444322"/>
                </a:moveTo>
                <a:cubicBezTo>
                  <a:pt x="831013" y="461105"/>
                  <a:pt x="844719" y="474759"/>
                  <a:pt x="861566" y="474759"/>
                </a:cubicBezTo>
                <a:cubicBezTo>
                  <a:pt x="878413" y="474759"/>
                  <a:pt x="892118" y="461105"/>
                  <a:pt x="892118" y="444322"/>
                </a:cubicBezTo>
                <a:cubicBezTo>
                  <a:pt x="892118" y="427539"/>
                  <a:pt x="878413" y="413885"/>
                  <a:pt x="861566" y="413885"/>
                </a:cubicBezTo>
                <a:cubicBezTo>
                  <a:pt x="844719" y="413885"/>
                  <a:pt x="831013" y="427539"/>
                  <a:pt x="831013" y="444322"/>
                </a:cubicBezTo>
                <a:close/>
                <a:moveTo>
                  <a:pt x="890310" y="444322"/>
                </a:moveTo>
                <a:cubicBezTo>
                  <a:pt x="890310" y="461105"/>
                  <a:pt x="904016" y="474759"/>
                  <a:pt x="920863" y="474759"/>
                </a:cubicBezTo>
                <a:cubicBezTo>
                  <a:pt x="937709" y="474759"/>
                  <a:pt x="951415" y="461105"/>
                  <a:pt x="951415" y="444322"/>
                </a:cubicBezTo>
                <a:cubicBezTo>
                  <a:pt x="951415" y="427539"/>
                  <a:pt x="937709" y="413885"/>
                  <a:pt x="920863" y="413885"/>
                </a:cubicBezTo>
                <a:cubicBezTo>
                  <a:pt x="904016" y="413885"/>
                  <a:pt x="890310" y="427539"/>
                  <a:pt x="890310" y="444322"/>
                </a:cubicBezTo>
                <a:close/>
                <a:moveTo>
                  <a:pt x="95" y="503394"/>
                </a:moveTo>
                <a:cubicBezTo>
                  <a:pt x="95" y="520177"/>
                  <a:pt x="13801" y="533831"/>
                  <a:pt x="30648" y="533831"/>
                </a:cubicBezTo>
                <a:cubicBezTo>
                  <a:pt x="47495" y="533831"/>
                  <a:pt x="61200" y="520177"/>
                  <a:pt x="61200" y="503394"/>
                </a:cubicBezTo>
                <a:cubicBezTo>
                  <a:pt x="61200" y="486611"/>
                  <a:pt x="47495" y="472957"/>
                  <a:pt x="30648" y="472957"/>
                </a:cubicBezTo>
                <a:cubicBezTo>
                  <a:pt x="13801" y="472957"/>
                  <a:pt x="95" y="486611"/>
                  <a:pt x="95" y="503394"/>
                </a:cubicBezTo>
                <a:close/>
                <a:moveTo>
                  <a:pt x="118784" y="503394"/>
                </a:moveTo>
                <a:cubicBezTo>
                  <a:pt x="118784" y="520177"/>
                  <a:pt x="132490" y="533831"/>
                  <a:pt x="149337" y="533831"/>
                </a:cubicBezTo>
                <a:cubicBezTo>
                  <a:pt x="166184" y="533831"/>
                  <a:pt x="179889" y="520177"/>
                  <a:pt x="179889" y="503394"/>
                </a:cubicBezTo>
                <a:cubicBezTo>
                  <a:pt x="179889" y="486611"/>
                  <a:pt x="166184" y="472957"/>
                  <a:pt x="149337" y="472957"/>
                </a:cubicBezTo>
                <a:cubicBezTo>
                  <a:pt x="132490" y="472957"/>
                  <a:pt x="118784" y="486611"/>
                  <a:pt x="118784" y="503394"/>
                </a:cubicBezTo>
                <a:close/>
                <a:moveTo>
                  <a:pt x="178081" y="503394"/>
                </a:moveTo>
                <a:cubicBezTo>
                  <a:pt x="178081" y="520177"/>
                  <a:pt x="191787" y="533831"/>
                  <a:pt x="208634" y="533831"/>
                </a:cubicBezTo>
                <a:cubicBezTo>
                  <a:pt x="225480" y="533831"/>
                  <a:pt x="239186" y="520177"/>
                  <a:pt x="239186" y="503394"/>
                </a:cubicBezTo>
                <a:cubicBezTo>
                  <a:pt x="239186" y="486611"/>
                  <a:pt x="225480" y="472957"/>
                  <a:pt x="208634" y="472957"/>
                </a:cubicBezTo>
                <a:cubicBezTo>
                  <a:pt x="191787" y="472957"/>
                  <a:pt x="178081" y="486611"/>
                  <a:pt x="178081" y="503394"/>
                </a:cubicBezTo>
                <a:close/>
                <a:moveTo>
                  <a:pt x="237473" y="503394"/>
                </a:moveTo>
                <a:cubicBezTo>
                  <a:pt x="237473" y="520177"/>
                  <a:pt x="251179" y="533831"/>
                  <a:pt x="268026" y="533831"/>
                </a:cubicBezTo>
                <a:cubicBezTo>
                  <a:pt x="284873" y="533831"/>
                  <a:pt x="298578" y="520177"/>
                  <a:pt x="298578" y="503394"/>
                </a:cubicBezTo>
                <a:cubicBezTo>
                  <a:pt x="298578" y="486611"/>
                  <a:pt x="284873" y="472957"/>
                  <a:pt x="268026" y="472957"/>
                </a:cubicBezTo>
                <a:cubicBezTo>
                  <a:pt x="251179" y="472957"/>
                  <a:pt x="237473" y="486611"/>
                  <a:pt x="237473" y="503394"/>
                </a:cubicBezTo>
                <a:close/>
                <a:moveTo>
                  <a:pt x="296865" y="503394"/>
                </a:moveTo>
                <a:cubicBezTo>
                  <a:pt x="296865" y="520177"/>
                  <a:pt x="310571" y="533831"/>
                  <a:pt x="327418" y="533831"/>
                </a:cubicBezTo>
                <a:cubicBezTo>
                  <a:pt x="344265" y="533831"/>
                  <a:pt x="357970" y="520177"/>
                  <a:pt x="357970" y="503394"/>
                </a:cubicBezTo>
                <a:cubicBezTo>
                  <a:pt x="357970" y="486611"/>
                  <a:pt x="344265" y="472957"/>
                  <a:pt x="327418" y="472957"/>
                </a:cubicBezTo>
                <a:cubicBezTo>
                  <a:pt x="310571" y="472957"/>
                  <a:pt x="296865" y="486611"/>
                  <a:pt x="296865" y="503394"/>
                </a:cubicBezTo>
                <a:close/>
                <a:moveTo>
                  <a:pt x="356162" y="503394"/>
                </a:moveTo>
                <a:cubicBezTo>
                  <a:pt x="356162" y="520177"/>
                  <a:pt x="369868" y="533831"/>
                  <a:pt x="386715" y="533831"/>
                </a:cubicBezTo>
                <a:cubicBezTo>
                  <a:pt x="403562" y="533831"/>
                  <a:pt x="417267" y="520177"/>
                  <a:pt x="417267" y="503394"/>
                </a:cubicBezTo>
                <a:cubicBezTo>
                  <a:pt x="417267" y="486611"/>
                  <a:pt x="403562" y="472957"/>
                  <a:pt x="386715" y="472957"/>
                </a:cubicBezTo>
                <a:cubicBezTo>
                  <a:pt x="369868" y="472957"/>
                  <a:pt x="356162" y="486611"/>
                  <a:pt x="356162" y="503394"/>
                </a:cubicBezTo>
                <a:close/>
                <a:moveTo>
                  <a:pt x="534243" y="503394"/>
                </a:moveTo>
                <a:cubicBezTo>
                  <a:pt x="534243" y="520177"/>
                  <a:pt x="547949" y="533831"/>
                  <a:pt x="564796" y="533831"/>
                </a:cubicBezTo>
                <a:cubicBezTo>
                  <a:pt x="581643" y="533831"/>
                  <a:pt x="595348" y="520177"/>
                  <a:pt x="595348" y="503394"/>
                </a:cubicBezTo>
                <a:cubicBezTo>
                  <a:pt x="595348" y="486611"/>
                  <a:pt x="581643" y="472957"/>
                  <a:pt x="564796" y="472957"/>
                </a:cubicBezTo>
                <a:cubicBezTo>
                  <a:pt x="547949" y="472957"/>
                  <a:pt x="534243" y="486611"/>
                  <a:pt x="534243" y="503394"/>
                </a:cubicBezTo>
                <a:close/>
                <a:moveTo>
                  <a:pt x="712324" y="503394"/>
                </a:moveTo>
                <a:cubicBezTo>
                  <a:pt x="712324" y="520177"/>
                  <a:pt x="726030" y="533831"/>
                  <a:pt x="742877" y="533831"/>
                </a:cubicBezTo>
                <a:cubicBezTo>
                  <a:pt x="759724" y="533831"/>
                  <a:pt x="773429" y="520177"/>
                  <a:pt x="773429" y="503394"/>
                </a:cubicBezTo>
                <a:cubicBezTo>
                  <a:pt x="773429" y="486611"/>
                  <a:pt x="759724" y="472957"/>
                  <a:pt x="742877" y="472957"/>
                </a:cubicBezTo>
                <a:cubicBezTo>
                  <a:pt x="726030" y="472957"/>
                  <a:pt x="712324" y="486611"/>
                  <a:pt x="712324" y="503394"/>
                </a:cubicBezTo>
                <a:close/>
                <a:moveTo>
                  <a:pt x="771621" y="503394"/>
                </a:moveTo>
                <a:cubicBezTo>
                  <a:pt x="771621" y="520177"/>
                  <a:pt x="785327" y="533831"/>
                  <a:pt x="802174" y="533831"/>
                </a:cubicBezTo>
                <a:cubicBezTo>
                  <a:pt x="819021" y="533831"/>
                  <a:pt x="832726" y="520177"/>
                  <a:pt x="832726" y="503394"/>
                </a:cubicBezTo>
                <a:cubicBezTo>
                  <a:pt x="832726" y="486611"/>
                  <a:pt x="819021" y="472957"/>
                  <a:pt x="802174" y="472957"/>
                </a:cubicBezTo>
                <a:cubicBezTo>
                  <a:pt x="785327" y="472957"/>
                  <a:pt x="771621" y="486611"/>
                  <a:pt x="771621" y="503394"/>
                </a:cubicBezTo>
                <a:close/>
                <a:moveTo>
                  <a:pt x="949702" y="503394"/>
                </a:moveTo>
                <a:cubicBezTo>
                  <a:pt x="949702" y="520177"/>
                  <a:pt x="963408" y="533831"/>
                  <a:pt x="980255" y="533831"/>
                </a:cubicBezTo>
                <a:cubicBezTo>
                  <a:pt x="997101" y="533831"/>
                  <a:pt x="1010807" y="520177"/>
                  <a:pt x="1010807" y="503394"/>
                </a:cubicBezTo>
                <a:cubicBezTo>
                  <a:pt x="1010807" y="486611"/>
                  <a:pt x="997101" y="472957"/>
                  <a:pt x="980255" y="472957"/>
                </a:cubicBezTo>
                <a:cubicBezTo>
                  <a:pt x="963408" y="472957"/>
                  <a:pt x="949702" y="486611"/>
                  <a:pt x="949702" y="503394"/>
                </a:cubicBezTo>
                <a:close/>
                <a:moveTo>
                  <a:pt x="1068391" y="503394"/>
                </a:moveTo>
                <a:cubicBezTo>
                  <a:pt x="1068391" y="520177"/>
                  <a:pt x="1082097" y="533831"/>
                  <a:pt x="1098944" y="533831"/>
                </a:cubicBezTo>
                <a:cubicBezTo>
                  <a:pt x="1115790" y="533831"/>
                  <a:pt x="1129496" y="520177"/>
                  <a:pt x="1129496" y="503394"/>
                </a:cubicBezTo>
                <a:cubicBezTo>
                  <a:pt x="1129496" y="486611"/>
                  <a:pt x="1115790" y="472957"/>
                  <a:pt x="1098944" y="472957"/>
                </a:cubicBezTo>
                <a:cubicBezTo>
                  <a:pt x="1082097" y="472957"/>
                  <a:pt x="1068391" y="486611"/>
                  <a:pt x="1068391" y="503394"/>
                </a:cubicBezTo>
                <a:close/>
                <a:moveTo>
                  <a:pt x="1127783" y="503394"/>
                </a:moveTo>
                <a:cubicBezTo>
                  <a:pt x="1127783" y="520177"/>
                  <a:pt x="1141489" y="533831"/>
                  <a:pt x="1158336" y="533831"/>
                </a:cubicBezTo>
                <a:cubicBezTo>
                  <a:pt x="1175183" y="533831"/>
                  <a:pt x="1188888" y="520177"/>
                  <a:pt x="1188888" y="503394"/>
                </a:cubicBezTo>
                <a:cubicBezTo>
                  <a:pt x="1188888" y="486611"/>
                  <a:pt x="1175183" y="472957"/>
                  <a:pt x="1158336" y="472957"/>
                </a:cubicBezTo>
                <a:cubicBezTo>
                  <a:pt x="1141489" y="472957"/>
                  <a:pt x="1127783" y="486611"/>
                  <a:pt x="1127783" y="503394"/>
                </a:cubicBezTo>
                <a:close/>
                <a:moveTo>
                  <a:pt x="1187080" y="503394"/>
                </a:moveTo>
                <a:cubicBezTo>
                  <a:pt x="1187080" y="520177"/>
                  <a:pt x="1200786" y="533831"/>
                  <a:pt x="1217633" y="533831"/>
                </a:cubicBezTo>
                <a:cubicBezTo>
                  <a:pt x="1234479" y="533831"/>
                  <a:pt x="1248185" y="520177"/>
                  <a:pt x="1248185" y="503394"/>
                </a:cubicBezTo>
                <a:cubicBezTo>
                  <a:pt x="1248185" y="486611"/>
                  <a:pt x="1234479" y="472957"/>
                  <a:pt x="1217633" y="472957"/>
                </a:cubicBezTo>
                <a:cubicBezTo>
                  <a:pt x="1200786" y="472957"/>
                  <a:pt x="1187080" y="486611"/>
                  <a:pt x="1187080" y="503394"/>
                </a:cubicBezTo>
                <a:close/>
                <a:moveTo>
                  <a:pt x="1246472" y="503394"/>
                </a:moveTo>
                <a:cubicBezTo>
                  <a:pt x="1246472" y="520177"/>
                  <a:pt x="1260178" y="533831"/>
                  <a:pt x="1277025" y="533831"/>
                </a:cubicBezTo>
                <a:cubicBezTo>
                  <a:pt x="1293872" y="533831"/>
                  <a:pt x="1307577" y="520177"/>
                  <a:pt x="1307577" y="503394"/>
                </a:cubicBezTo>
                <a:cubicBezTo>
                  <a:pt x="1307577" y="486611"/>
                  <a:pt x="1293872" y="472957"/>
                  <a:pt x="1277025" y="472957"/>
                </a:cubicBezTo>
                <a:cubicBezTo>
                  <a:pt x="1260178" y="472957"/>
                  <a:pt x="1246472" y="486611"/>
                  <a:pt x="1246472" y="503394"/>
                </a:cubicBezTo>
                <a:close/>
                <a:moveTo>
                  <a:pt x="1305769" y="503394"/>
                </a:moveTo>
                <a:cubicBezTo>
                  <a:pt x="1305769" y="520177"/>
                  <a:pt x="1319475" y="533831"/>
                  <a:pt x="1336322" y="533831"/>
                </a:cubicBezTo>
                <a:cubicBezTo>
                  <a:pt x="1353168" y="533831"/>
                  <a:pt x="1366874" y="520177"/>
                  <a:pt x="1366874" y="503394"/>
                </a:cubicBezTo>
                <a:cubicBezTo>
                  <a:pt x="1366874" y="486611"/>
                  <a:pt x="1353168" y="472957"/>
                  <a:pt x="1336322" y="472957"/>
                </a:cubicBezTo>
                <a:cubicBezTo>
                  <a:pt x="1319475" y="472957"/>
                  <a:pt x="1305769" y="486611"/>
                  <a:pt x="1305769" y="503394"/>
                </a:cubicBezTo>
                <a:close/>
                <a:moveTo>
                  <a:pt x="95" y="562561"/>
                </a:moveTo>
                <a:cubicBezTo>
                  <a:pt x="95" y="579344"/>
                  <a:pt x="13801" y="592998"/>
                  <a:pt x="30648" y="592998"/>
                </a:cubicBezTo>
                <a:cubicBezTo>
                  <a:pt x="47495" y="592998"/>
                  <a:pt x="61200" y="579344"/>
                  <a:pt x="61200" y="562561"/>
                </a:cubicBezTo>
                <a:cubicBezTo>
                  <a:pt x="61200" y="545778"/>
                  <a:pt x="47495" y="532124"/>
                  <a:pt x="30648" y="532124"/>
                </a:cubicBezTo>
                <a:cubicBezTo>
                  <a:pt x="13801" y="532124"/>
                  <a:pt x="95" y="545778"/>
                  <a:pt x="95" y="562561"/>
                </a:cubicBezTo>
                <a:close/>
                <a:moveTo>
                  <a:pt x="118784" y="562561"/>
                </a:moveTo>
                <a:cubicBezTo>
                  <a:pt x="118784" y="579344"/>
                  <a:pt x="132490" y="592998"/>
                  <a:pt x="149337" y="592998"/>
                </a:cubicBezTo>
                <a:cubicBezTo>
                  <a:pt x="166184" y="592998"/>
                  <a:pt x="179889" y="579344"/>
                  <a:pt x="179889" y="562561"/>
                </a:cubicBezTo>
                <a:cubicBezTo>
                  <a:pt x="179889" y="545778"/>
                  <a:pt x="166184" y="532124"/>
                  <a:pt x="149337" y="532124"/>
                </a:cubicBezTo>
                <a:cubicBezTo>
                  <a:pt x="132490" y="532124"/>
                  <a:pt x="118784" y="545778"/>
                  <a:pt x="118784" y="562561"/>
                </a:cubicBezTo>
                <a:close/>
                <a:moveTo>
                  <a:pt x="237473" y="562561"/>
                </a:moveTo>
                <a:cubicBezTo>
                  <a:pt x="237473" y="579344"/>
                  <a:pt x="251179" y="592998"/>
                  <a:pt x="268026" y="592998"/>
                </a:cubicBezTo>
                <a:cubicBezTo>
                  <a:pt x="284873" y="592998"/>
                  <a:pt x="298578" y="579344"/>
                  <a:pt x="298578" y="562561"/>
                </a:cubicBezTo>
                <a:cubicBezTo>
                  <a:pt x="298578" y="545778"/>
                  <a:pt x="284873" y="532124"/>
                  <a:pt x="268026" y="532124"/>
                </a:cubicBezTo>
                <a:cubicBezTo>
                  <a:pt x="251179" y="532124"/>
                  <a:pt x="237473" y="545778"/>
                  <a:pt x="237473" y="562561"/>
                </a:cubicBezTo>
                <a:close/>
                <a:moveTo>
                  <a:pt x="534243" y="562561"/>
                </a:moveTo>
                <a:cubicBezTo>
                  <a:pt x="534243" y="579344"/>
                  <a:pt x="547949" y="592998"/>
                  <a:pt x="564796" y="592998"/>
                </a:cubicBezTo>
                <a:cubicBezTo>
                  <a:pt x="581643" y="592998"/>
                  <a:pt x="595348" y="579344"/>
                  <a:pt x="595348" y="562561"/>
                </a:cubicBezTo>
                <a:cubicBezTo>
                  <a:pt x="595348" y="545778"/>
                  <a:pt x="581643" y="532124"/>
                  <a:pt x="564796" y="532124"/>
                </a:cubicBezTo>
                <a:cubicBezTo>
                  <a:pt x="547949" y="532124"/>
                  <a:pt x="534243" y="545778"/>
                  <a:pt x="534243" y="562561"/>
                </a:cubicBezTo>
                <a:close/>
                <a:moveTo>
                  <a:pt x="712324" y="562561"/>
                </a:moveTo>
                <a:cubicBezTo>
                  <a:pt x="712324" y="579344"/>
                  <a:pt x="726030" y="592998"/>
                  <a:pt x="742877" y="592998"/>
                </a:cubicBezTo>
                <a:cubicBezTo>
                  <a:pt x="759724" y="592998"/>
                  <a:pt x="773429" y="579344"/>
                  <a:pt x="773429" y="562561"/>
                </a:cubicBezTo>
                <a:cubicBezTo>
                  <a:pt x="773429" y="545778"/>
                  <a:pt x="759724" y="532124"/>
                  <a:pt x="742877" y="532124"/>
                </a:cubicBezTo>
                <a:cubicBezTo>
                  <a:pt x="726030" y="532124"/>
                  <a:pt x="712324" y="545778"/>
                  <a:pt x="712324" y="562561"/>
                </a:cubicBezTo>
                <a:close/>
                <a:moveTo>
                  <a:pt x="771621" y="562561"/>
                </a:moveTo>
                <a:cubicBezTo>
                  <a:pt x="771621" y="579344"/>
                  <a:pt x="785327" y="592998"/>
                  <a:pt x="802174" y="592998"/>
                </a:cubicBezTo>
                <a:cubicBezTo>
                  <a:pt x="819021" y="592998"/>
                  <a:pt x="832726" y="579344"/>
                  <a:pt x="832726" y="562561"/>
                </a:cubicBezTo>
                <a:cubicBezTo>
                  <a:pt x="832726" y="545778"/>
                  <a:pt x="819021" y="532124"/>
                  <a:pt x="802174" y="532124"/>
                </a:cubicBezTo>
                <a:cubicBezTo>
                  <a:pt x="785327" y="532124"/>
                  <a:pt x="771621" y="545778"/>
                  <a:pt x="771621" y="562561"/>
                </a:cubicBezTo>
                <a:close/>
                <a:moveTo>
                  <a:pt x="949702" y="562561"/>
                </a:moveTo>
                <a:cubicBezTo>
                  <a:pt x="949702" y="579344"/>
                  <a:pt x="963408" y="592998"/>
                  <a:pt x="980255" y="592998"/>
                </a:cubicBezTo>
                <a:cubicBezTo>
                  <a:pt x="997101" y="592998"/>
                  <a:pt x="1010807" y="579344"/>
                  <a:pt x="1010807" y="562561"/>
                </a:cubicBezTo>
                <a:cubicBezTo>
                  <a:pt x="1010807" y="545778"/>
                  <a:pt x="997101" y="532124"/>
                  <a:pt x="980255" y="532124"/>
                </a:cubicBezTo>
                <a:cubicBezTo>
                  <a:pt x="963408" y="532124"/>
                  <a:pt x="949702" y="545778"/>
                  <a:pt x="949702" y="562561"/>
                </a:cubicBezTo>
                <a:close/>
                <a:moveTo>
                  <a:pt x="1009094" y="562561"/>
                </a:moveTo>
                <a:cubicBezTo>
                  <a:pt x="1009094" y="579344"/>
                  <a:pt x="1022800" y="592998"/>
                  <a:pt x="1039647" y="592998"/>
                </a:cubicBezTo>
                <a:cubicBezTo>
                  <a:pt x="1056494" y="592998"/>
                  <a:pt x="1070199" y="579344"/>
                  <a:pt x="1070199" y="562561"/>
                </a:cubicBezTo>
                <a:cubicBezTo>
                  <a:pt x="1070199" y="545778"/>
                  <a:pt x="1056494" y="532124"/>
                  <a:pt x="1039647" y="532124"/>
                </a:cubicBezTo>
                <a:cubicBezTo>
                  <a:pt x="1022800" y="532124"/>
                  <a:pt x="1009094" y="545778"/>
                  <a:pt x="1009094" y="562561"/>
                </a:cubicBezTo>
                <a:close/>
                <a:moveTo>
                  <a:pt x="1127783" y="562561"/>
                </a:moveTo>
                <a:cubicBezTo>
                  <a:pt x="1127783" y="579344"/>
                  <a:pt x="1141489" y="592998"/>
                  <a:pt x="1158336" y="592998"/>
                </a:cubicBezTo>
                <a:cubicBezTo>
                  <a:pt x="1175183" y="592998"/>
                  <a:pt x="1188888" y="579344"/>
                  <a:pt x="1188888" y="562561"/>
                </a:cubicBezTo>
                <a:cubicBezTo>
                  <a:pt x="1188888" y="545778"/>
                  <a:pt x="1175183" y="532124"/>
                  <a:pt x="1158336" y="532124"/>
                </a:cubicBezTo>
                <a:cubicBezTo>
                  <a:pt x="1141489" y="532124"/>
                  <a:pt x="1127783" y="545778"/>
                  <a:pt x="1127783" y="562561"/>
                </a:cubicBezTo>
                <a:close/>
                <a:moveTo>
                  <a:pt x="1365161" y="562561"/>
                </a:moveTo>
                <a:cubicBezTo>
                  <a:pt x="1365161" y="579344"/>
                  <a:pt x="1378867" y="592998"/>
                  <a:pt x="1395714" y="592998"/>
                </a:cubicBezTo>
                <a:cubicBezTo>
                  <a:pt x="1412561" y="592998"/>
                  <a:pt x="1426266" y="579344"/>
                  <a:pt x="1426266" y="562561"/>
                </a:cubicBezTo>
                <a:cubicBezTo>
                  <a:pt x="1426266" y="545778"/>
                  <a:pt x="1412561" y="532124"/>
                  <a:pt x="1395714" y="532124"/>
                </a:cubicBezTo>
                <a:cubicBezTo>
                  <a:pt x="1378867" y="532124"/>
                  <a:pt x="1365161" y="545778"/>
                  <a:pt x="1365161" y="562561"/>
                </a:cubicBezTo>
                <a:close/>
                <a:moveTo>
                  <a:pt x="95" y="621728"/>
                </a:moveTo>
                <a:cubicBezTo>
                  <a:pt x="95" y="638511"/>
                  <a:pt x="13801" y="652165"/>
                  <a:pt x="30648" y="652165"/>
                </a:cubicBezTo>
                <a:cubicBezTo>
                  <a:pt x="47495" y="652165"/>
                  <a:pt x="61200" y="638511"/>
                  <a:pt x="61200" y="621728"/>
                </a:cubicBezTo>
                <a:cubicBezTo>
                  <a:pt x="61200" y="604945"/>
                  <a:pt x="47495" y="591291"/>
                  <a:pt x="30648" y="591291"/>
                </a:cubicBezTo>
                <a:cubicBezTo>
                  <a:pt x="13801" y="591291"/>
                  <a:pt x="95" y="604945"/>
                  <a:pt x="95" y="621728"/>
                </a:cubicBezTo>
                <a:close/>
                <a:moveTo>
                  <a:pt x="118784" y="621728"/>
                </a:moveTo>
                <a:cubicBezTo>
                  <a:pt x="118784" y="638511"/>
                  <a:pt x="132490" y="652165"/>
                  <a:pt x="149337" y="652165"/>
                </a:cubicBezTo>
                <a:cubicBezTo>
                  <a:pt x="166184" y="652165"/>
                  <a:pt x="179889" y="638511"/>
                  <a:pt x="179889" y="621728"/>
                </a:cubicBezTo>
                <a:cubicBezTo>
                  <a:pt x="179889" y="604945"/>
                  <a:pt x="166184" y="591291"/>
                  <a:pt x="149337" y="591291"/>
                </a:cubicBezTo>
                <a:cubicBezTo>
                  <a:pt x="132490" y="591291"/>
                  <a:pt x="118784" y="604945"/>
                  <a:pt x="118784" y="621728"/>
                </a:cubicBezTo>
                <a:close/>
                <a:moveTo>
                  <a:pt x="237473" y="621728"/>
                </a:moveTo>
                <a:cubicBezTo>
                  <a:pt x="237473" y="638511"/>
                  <a:pt x="251179" y="652165"/>
                  <a:pt x="268026" y="652165"/>
                </a:cubicBezTo>
                <a:cubicBezTo>
                  <a:pt x="284873" y="652165"/>
                  <a:pt x="298578" y="638511"/>
                  <a:pt x="298578" y="621728"/>
                </a:cubicBezTo>
                <a:cubicBezTo>
                  <a:pt x="298578" y="604945"/>
                  <a:pt x="284873" y="591291"/>
                  <a:pt x="268026" y="591291"/>
                </a:cubicBezTo>
                <a:cubicBezTo>
                  <a:pt x="251179" y="591291"/>
                  <a:pt x="237473" y="604945"/>
                  <a:pt x="237473" y="621728"/>
                </a:cubicBezTo>
                <a:close/>
                <a:moveTo>
                  <a:pt x="296865" y="621728"/>
                </a:moveTo>
                <a:cubicBezTo>
                  <a:pt x="296865" y="638511"/>
                  <a:pt x="310571" y="652165"/>
                  <a:pt x="327418" y="652165"/>
                </a:cubicBezTo>
                <a:cubicBezTo>
                  <a:pt x="344265" y="652165"/>
                  <a:pt x="357970" y="638511"/>
                  <a:pt x="357970" y="621728"/>
                </a:cubicBezTo>
                <a:cubicBezTo>
                  <a:pt x="357970" y="604945"/>
                  <a:pt x="344265" y="591291"/>
                  <a:pt x="327418" y="591291"/>
                </a:cubicBezTo>
                <a:cubicBezTo>
                  <a:pt x="310571" y="591291"/>
                  <a:pt x="296865" y="604945"/>
                  <a:pt x="296865" y="621728"/>
                </a:cubicBezTo>
                <a:close/>
                <a:moveTo>
                  <a:pt x="356162" y="621728"/>
                </a:moveTo>
                <a:cubicBezTo>
                  <a:pt x="356162" y="638511"/>
                  <a:pt x="369868" y="652165"/>
                  <a:pt x="386715" y="652165"/>
                </a:cubicBezTo>
                <a:cubicBezTo>
                  <a:pt x="403562" y="652165"/>
                  <a:pt x="417267" y="638511"/>
                  <a:pt x="417267" y="621728"/>
                </a:cubicBezTo>
                <a:cubicBezTo>
                  <a:pt x="417267" y="604945"/>
                  <a:pt x="403562" y="591291"/>
                  <a:pt x="386715" y="591291"/>
                </a:cubicBezTo>
                <a:cubicBezTo>
                  <a:pt x="369868" y="591291"/>
                  <a:pt x="356162" y="604945"/>
                  <a:pt x="356162" y="621728"/>
                </a:cubicBezTo>
                <a:close/>
                <a:moveTo>
                  <a:pt x="474851" y="621728"/>
                </a:moveTo>
                <a:cubicBezTo>
                  <a:pt x="474851" y="638511"/>
                  <a:pt x="488557" y="652165"/>
                  <a:pt x="505404" y="652165"/>
                </a:cubicBezTo>
                <a:cubicBezTo>
                  <a:pt x="522250" y="652165"/>
                  <a:pt x="535956" y="638511"/>
                  <a:pt x="535956" y="621728"/>
                </a:cubicBezTo>
                <a:cubicBezTo>
                  <a:pt x="535956" y="604945"/>
                  <a:pt x="522250" y="591291"/>
                  <a:pt x="505404" y="591291"/>
                </a:cubicBezTo>
                <a:cubicBezTo>
                  <a:pt x="488557" y="591291"/>
                  <a:pt x="474851" y="604945"/>
                  <a:pt x="474851" y="621728"/>
                </a:cubicBezTo>
                <a:close/>
                <a:moveTo>
                  <a:pt x="593635" y="621728"/>
                </a:moveTo>
                <a:cubicBezTo>
                  <a:pt x="593635" y="638511"/>
                  <a:pt x="607341" y="652165"/>
                  <a:pt x="624188" y="652165"/>
                </a:cubicBezTo>
                <a:cubicBezTo>
                  <a:pt x="641035" y="652165"/>
                  <a:pt x="654740" y="638511"/>
                  <a:pt x="654740" y="621728"/>
                </a:cubicBezTo>
                <a:cubicBezTo>
                  <a:pt x="654740" y="604945"/>
                  <a:pt x="641035" y="591291"/>
                  <a:pt x="624188" y="591291"/>
                </a:cubicBezTo>
                <a:cubicBezTo>
                  <a:pt x="607341" y="591291"/>
                  <a:pt x="593635" y="604945"/>
                  <a:pt x="593635" y="621728"/>
                </a:cubicBezTo>
                <a:close/>
                <a:moveTo>
                  <a:pt x="652932" y="621728"/>
                </a:moveTo>
                <a:cubicBezTo>
                  <a:pt x="652932" y="638511"/>
                  <a:pt x="666638" y="652165"/>
                  <a:pt x="683485" y="652165"/>
                </a:cubicBezTo>
                <a:cubicBezTo>
                  <a:pt x="700332" y="652165"/>
                  <a:pt x="714037" y="638511"/>
                  <a:pt x="714037" y="621728"/>
                </a:cubicBezTo>
                <a:cubicBezTo>
                  <a:pt x="714037" y="604945"/>
                  <a:pt x="700332" y="591291"/>
                  <a:pt x="683485" y="591291"/>
                </a:cubicBezTo>
                <a:cubicBezTo>
                  <a:pt x="666638" y="591291"/>
                  <a:pt x="652932" y="604945"/>
                  <a:pt x="652932" y="621728"/>
                </a:cubicBezTo>
                <a:close/>
                <a:moveTo>
                  <a:pt x="712324" y="621728"/>
                </a:moveTo>
                <a:cubicBezTo>
                  <a:pt x="712324" y="638511"/>
                  <a:pt x="726030" y="652165"/>
                  <a:pt x="742877" y="652165"/>
                </a:cubicBezTo>
                <a:cubicBezTo>
                  <a:pt x="759724" y="652165"/>
                  <a:pt x="773429" y="638511"/>
                  <a:pt x="773429" y="621728"/>
                </a:cubicBezTo>
                <a:cubicBezTo>
                  <a:pt x="773429" y="604945"/>
                  <a:pt x="759724" y="591291"/>
                  <a:pt x="742877" y="591291"/>
                </a:cubicBezTo>
                <a:cubicBezTo>
                  <a:pt x="726030" y="591291"/>
                  <a:pt x="712324" y="604945"/>
                  <a:pt x="712324" y="621728"/>
                </a:cubicBezTo>
                <a:close/>
                <a:moveTo>
                  <a:pt x="771621" y="621728"/>
                </a:moveTo>
                <a:cubicBezTo>
                  <a:pt x="771621" y="638511"/>
                  <a:pt x="785327" y="652165"/>
                  <a:pt x="802174" y="652165"/>
                </a:cubicBezTo>
                <a:cubicBezTo>
                  <a:pt x="819021" y="652165"/>
                  <a:pt x="832726" y="638511"/>
                  <a:pt x="832726" y="621728"/>
                </a:cubicBezTo>
                <a:cubicBezTo>
                  <a:pt x="832726" y="604945"/>
                  <a:pt x="819021" y="591291"/>
                  <a:pt x="802174" y="591291"/>
                </a:cubicBezTo>
                <a:cubicBezTo>
                  <a:pt x="785327" y="591291"/>
                  <a:pt x="771621" y="604945"/>
                  <a:pt x="771621" y="621728"/>
                </a:cubicBezTo>
                <a:close/>
                <a:moveTo>
                  <a:pt x="831013" y="621728"/>
                </a:moveTo>
                <a:cubicBezTo>
                  <a:pt x="831013" y="638511"/>
                  <a:pt x="844719" y="652165"/>
                  <a:pt x="861566" y="652165"/>
                </a:cubicBezTo>
                <a:cubicBezTo>
                  <a:pt x="878413" y="652165"/>
                  <a:pt x="892118" y="638511"/>
                  <a:pt x="892118" y="621728"/>
                </a:cubicBezTo>
                <a:cubicBezTo>
                  <a:pt x="892118" y="604945"/>
                  <a:pt x="878413" y="591291"/>
                  <a:pt x="861566" y="591291"/>
                </a:cubicBezTo>
                <a:cubicBezTo>
                  <a:pt x="844719" y="591291"/>
                  <a:pt x="831013" y="604945"/>
                  <a:pt x="831013" y="621728"/>
                </a:cubicBezTo>
                <a:close/>
                <a:moveTo>
                  <a:pt x="890310" y="621728"/>
                </a:moveTo>
                <a:cubicBezTo>
                  <a:pt x="890310" y="638511"/>
                  <a:pt x="904016" y="652165"/>
                  <a:pt x="920863" y="652165"/>
                </a:cubicBezTo>
                <a:cubicBezTo>
                  <a:pt x="937709" y="652165"/>
                  <a:pt x="951415" y="638511"/>
                  <a:pt x="951415" y="621728"/>
                </a:cubicBezTo>
                <a:cubicBezTo>
                  <a:pt x="951415" y="604945"/>
                  <a:pt x="937709" y="591291"/>
                  <a:pt x="920863" y="591291"/>
                </a:cubicBezTo>
                <a:cubicBezTo>
                  <a:pt x="904016" y="591291"/>
                  <a:pt x="890310" y="604945"/>
                  <a:pt x="890310" y="621728"/>
                </a:cubicBezTo>
                <a:close/>
                <a:moveTo>
                  <a:pt x="949702" y="621728"/>
                </a:moveTo>
                <a:cubicBezTo>
                  <a:pt x="949702" y="638511"/>
                  <a:pt x="963408" y="652165"/>
                  <a:pt x="980255" y="652165"/>
                </a:cubicBezTo>
                <a:cubicBezTo>
                  <a:pt x="997101" y="652165"/>
                  <a:pt x="1010807" y="638511"/>
                  <a:pt x="1010807" y="621728"/>
                </a:cubicBezTo>
                <a:cubicBezTo>
                  <a:pt x="1010807" y="604945"/>
                  <a:pt x="997101" y="591291"/>
                  <a:pt x="980255" y="591291"/>
                </a:cubicBezTo>
                <a:cubicBezTo>
                  <a:pt x="963408" y="591291"/>
                  <a:pt x="949702" y="604945"/>
                  <a:pt x="949702" y="621728"/>
                </a:cubicBezTo>
                <a:close/>
                <a:moveTo>
                  <a:pt x="1009094" y="621728"/>
                </a:moveTo>
                <a:cubicBezTo>
                  <a:pt x="1009094" y="638511"/>
                  <a:pt x="1022800" y="652165"/>
                  <a:pt x="1039647" y="652165"/>
                </a:cubicBezTo>
                <a:cubicBezTo>
                  <a:pt x="1056494" y="652165"/>
                  <a:pt x="1070199" y="638511"/>
                  <a:pt x="1070199" y="621728"/>
                </a:cubicBezTo>
                <a:cubicBezTo>
                  <a:pt x="1070199" y="604945"/>
                  <a:pt x="1056494" y="591291"/>
                  <a:pt x="1039647" y="591291"/>
                </a:cubicBezTo>
                <a:cubicBezTo>
                  <a:pt x="1022800" y="591291"/>
                  <a:pt x="1009094" y="604945"/>
                  <a:pt x="1009094" y="621728"/>
                </a:cubicBezTo>
                <a:close/>
                <a:moveTo>
                  <a:pt x="1068391" y="621728"/>
                </a:moveTo>
                <a:cubicBezTo>
                  <a:pt x="1068391" y="638511"/>
                  <a:pt x="1082097" y="652165"/>
                  <a:pt x="1098944" y="652165"/>
                </a:cubicBezTo>
                <a:cubicBezTo>
                  <a:pt x="1115790" y="652165"/>
                  <a:pt x="1129496" y="638511"/>
                  <a:pt x="1129496" y="621728"/>
                </a:cubicBezTo>
                <a:cubicBezTo>
                  <a:pt x="1129496" y="604945"/>
                  <a:pt x="1115790" y="591291"/>
                  <a:pt x="1098944" y="591291"/>
                </a:cubicBezTo>
                <a:cubicBezTo>
                  <a:pt x="1082097" y="591291"/>
                  <a:pt x="1068391" y="604945"/>
                  <a:pt x="1068391" y="621728"/>
                </a:cubicBezTo>
                <a:close/>
                <a:moveTo>
                  <a:pt x="1127783" y="621728"/>
                </a:moveTo>
                <a:cubicBezTo>
                  <a:pt x="1127783" y="638511"/>
                  <a:pt x="1141489" y="652165"/>
                  <a:pt x="1158336" y="652165"/>
                </a:cubicBezTo>
                <a:cubicBezTo>
                  <a:pt x="1175183" y="652165"/>
                  <a:pt x="1188888" y="638511"/>
                  <a:pt x="1188888" y="621728"/>
                </a:cubicBezTo>
                <a:cubicBezTo>
                  <a:pt x="1188888" y="604945"/>
                  <a:pt x="1175183" y="591291"/>
                  <a:pt x="1158336" y="591291"/>
                </a:cubicBezTo>
                <a:cubicBezTo>
                  <a:pt x="1141489" y="591291"/>
                  <a:pt x="1127783" y="604945"/>
                  <a:pt x="1127783" y="621728"/>
                </a:cubicBezTo>
                <a:close/>
                <a:moveTo>
                  <a:pt x="1187080" y="621728"/>
                </a:moveTo>
                <a:cubicBezTo>
                  <a:pt x="1187080" y="638511"/>
                  <a:pt x="1200786" y="652165"/>
                  <a:pt x="1217633" y="652165"/>
                </a:cubicBezTo>
                <a:cubicBezTo>
                  <a:pt x="1234479" y="652165"/>
                  <a:pt x="1248185" y="638511"/>
                  <a:pt x="1248185" y="621728"/>
                </a:cubicBezTo>
                <a:cubicBezTo>
                  <a:pt x="1248185" y="604945"/>
                  <a:pt x="1234479" y="591291"/>
                  <a:pt x="1217633" y="591291"/>
                </a:cubicBezTo>
                <a:cubicBezTo>
                  <a:pt x="1200786" y="591291"/>
                  <a:pt x="1187080" y="604945"/>
                  <a:pt x="1187080" y="621728"/>
                </a:cubicBezTo>
                <a:close/>
                <a:moveTo>
                  <a:pt x="1246472" y="621728"/>
                </a:moveTo>
                <a:cubicBezTo>
                  <a:pt x="1246472" y="638511"/>
                  <a:pt x="1260178" y="652165"/>
                  <a:pt x="1277025" y="652165"/>
                </a:cubicBezTo>
                <a:cubicBezTo>
                  <a:pt x="1293872" y="652165"/>
                  <a:pt x="1307577" y="638511"/>
                  <a:pt x="1307577" y="621728"/>
                </a:cubicBezTo>
                <a:cubicBezTo>
                  <a:pt x="1307577" y="604945"/>
                  <a:pt x="1293872" y="591291"/>
                  <a:pt x="1277025" y="591291"/>
                </a:cubicBezTo>
                <a:cubicBezTo>
                  <a:pt x="1260178" y="591291"/>
                  <a:pt x="1246472" y="604945"/>
                  <a:pt x="1246472" y="621728"/>
                </a:cubicBezTo>
                <a:close/>
                <a:moveTo>
                  <a:pt x="1365161" y="621728"/>
                </a:moveTo>
                <a:cubicBezTo>
                  <a:pt x="1365161" y="638511"/>
                  <a:pt x="1378867" y="652165"/>
                  <a:pt x="1395714" y="652165"/>
                </a:cubicBezTo>
                <a:cubicBezTo>
                  <a:pt x="1412561" y="652165"/>
                  <a:pt x="1426266" y="638511"/>
                  <a:pt x="1426266" y="621728"/>
                </a:cubicBezTo>
                <a:cubicBezTo>
                  <a:pt x="1426266" y="604945"/>
                  <a:pt x="1412561" y="591291"/>
                  <a:pt x="1395714" y="591291"/>
                </a:cubicBezTo>
                <a:cubicBezTo>
                  <a:pt x="1378867" y="591291"/>
                  <a:pt x="1365161" y="604945"/>
                  <a:pt x="1365161" y="621728"/>
                </a:cubicBezTo>
                <a:close/>
                <a:moveTo>
                  <a:pt x="1424553" y="621728"/>
                </a:moveTo>
                <a:cubicBezTo>
                  <a:pt x="1424553" y="638511"/>
                  <a:pt x="1438259" y="652165"/>
                  <a:pt x="1455106" y="652165"/>
                </a:cubicBezTo>
                <a:cubicBezTo>
                  <a:pt x="1471953" y="652165"/>
                  <a:pt x="1485658" y="638511"/>
                  <a:pt x="1485658" y="621728"/>
                </a:cubicBezTo>
                <a:cubicBezTo>
                  <a:pt x="1485658" y="604945"/>
                  <a:pt x="1471953" y="591291"/>
                  <a:pt x="1455106" y="591291"/>
                </a:cubicBezTo>
                <a:cubicBezTo>
                  <a:pt x="1438259" y="591291"/>
                  <a:pt x="1424553" y="604945"/>
                  <a:pt x="1424553" y="621728"/>
                </a:cubicBezTo>
                <a:close/>
                <a:moveTo>
                  <a:pt x="118784" y="680800"/>
                </a:moveTo>
                <a:cubicBezTo>
                  <a:pt x="118784" y="697583"/>
                  <a:pt x="132490" y="711237"/>
                  <a:pt x="149337" y="711237"/>
                </a:cubicBezTo>
                <a:cubicBezTo>
                  <a:pt x="166184" y="711237"/>
                  <a:pt x="179889" y="697583"/>
                  <a:pt x="179889" y="680800"/>
                </a:cubicBezTo>
                <a:cubicBezTo>
                  <a:pt x="179889" y="664018"/>
                  <a:pt x="166184" y="650364"/>
                  <a:pt x="149337" y="650364"/>
                </a:cubicBezTo>
                <a:cubicBezTo>
                  <a:pt x="132490" y="650364"/>
                  <a:pt x="118784" y="664018"/>
                  <a:pt x="118784" y="680800"/>
                </a:cubicBezTo>
                <a:close/>
                <a:moveTo>
                  <a:pt x="178081" y="680800"/>
                </a:moveTo>
                <a:cubicBezTo>
                  <a:pt x="178081" y="697583"/>
                  <a:pt x="191787" y="711237"/>
                  <a:pt x="208634" y="711237"/>
                </a:cubicBezTo>
                <a:cubicBezTo>
                  <a:pt x="225480" y="711237"/>
                  <a:pt x="239186" y="697583"/>
                  <a:pt x="239186" y="680800"/>
                </a:cubicBezTo>
                <a:cubicBezTo>
                  <a:pt x="239186" y="664018"/>
                  <a:pt x="225480" y="650364"/>
                  <a:pt x="208634" y="650364"/>
                </a:cubicBezTo>
                <a:cubicBezTo>
                  <a:pt x="191787" y="650364"/>
                  <a:pt x="178081" y="664018"/>
                  <a:pt x="178081" y="680800"/>
                </a:cubicBezTo>
                <a:close/>
                <a:moveTo>
                  <a:pt x="237473" y="680800"/>
                </a:moveTo>
                <a:cubicBezTo>
                  <a:pt x="237473" y="697583"/>
                  <a:pt x="251179" y="711237"/>
                  <a:pt x="268026" y="711237"/>
                </a:cubicBezTo>
                <a:cubicBezTo>
                  <a:pt x="284873" y="711237"/>
                  <a:pt x="298578" y="697583"/>
                  <a:pt x="298578" y="680800"/>
                </a:cubicBezTo>
                <a:cubicBezTo>
                  <a:pt x="298578" y="664018"/>
                  <a:pt x="284873" y="650364"/>
                  <a:pt x="268026" y="650364"/>
                </a:cubicBezTo>
                <a:cubicBezTo>
                  <a:pt x="251179" y="650364"/>
                  <a:pt x="237473" y="664018"/>
                  <a:pt x="237473" y="680800"/>
                </a:cubicBezTo>
                <a:close/>
                <a:moveTo>
                  <a:pt x="296865" y="680800"/>
                </a:moveTo>
                <a:cubicBezTo>
                  <a:pt x="296865" y="697583"/>
                  <a:pt x="310571" y="711237"/>
                  <a:pt x="327418" y="711237"/>
                </a:cubicBezTo>
                <a:cubicBezTo>
                  <a:pt x="344265" y="711237"/>
                  <a:pt x="357970" y="697583"/>
                  <a:pt x="357970" y="680800"/>
                </a:cubicBezTo>
                <a:cubicBezTo>
                  <a:pt x="357970" y="664018"/>
                  <a:pt x="344265" y="650364"/>
                  <a:pt x="327418" y="650364"/>
                </a:cubicBezTo>
                <a:cubicBezTo>
                  <a:pt x="310571" y="650364"/>
                  <a:pt x="296865" y="664018"/>
                  <a:pt x="296865" y="680800"/>
                </a:cubicBezTo>
                <a:close/>
                <a:moveTo>
                  <a:pt x="474851" y="680800"/>
                </a:moveTo>
                <a:cubicBezTo>
                  <a:pt x="474851" y="697583"/>
                  <a:pt x="488557" y="711237"/>
                  <a:pt x="505404" y="711237"/>
                </a:cubicBezTo>
                <a:cubicBezTo>
                  <a:pt x="522250" y="711237"/>
                  <a:pt x="535956" y="697583"/>
                  <a:pt x="535956" y="680800"/>
                </a:cubicBezTo>
                <a:cubicBezTo>
                  <a:pt x="535956" y="664018"/>
                  <a:pt x="522250" y="650364"/>
                  <a:pt x="505404" y="650364"/>
                </a:cubicBezTo>
                <a:cubicBezTo>
                  <a:pt x="488557" y="650364"/>
                  <a:pt x="474851" y="664018"/>
                  <a:pt x="474851" y="680800"/>
                </a:cubicBezTo>
                <a:close/>
                <a:moveTo>
                  <a:pt x="593635" y="680800"/>
                </a:moveTo>
                <a:cubicBezTo>
                  <a:pt x="593635" y="697583"/>
                  <a:pt x="607341" y="711237"/>
                  <a:pt x="624188" y="711237"/>
                </a:cubicBezTo>
                <a:cubicBezTo>
                  <a:pt x="641035" y="711237"/>
                  <a:pt x="654740" y="697583"/>
                  <a:pt x="654740" y="680800"/>
                </a:cubicBezTo>
                <a:cubicBezTo>
                  <a:pt x="654740" y="664018"/>
                  <a:pt x="641035" y="650364"/>
                  <a:pt x="624188" y="650364"/>
                </a:cubicBezTo>
                <a:cubicBezTo>
                  <a:pt x="607341" y="650364"/>
                  <a:pt x="593635" y="664018"/>
                  <a:pt x="593635" y="680800"/>
                </a:cubicBezTo>
                <a:close/>
                <a:moveTo>
                  <a:pt x="652932" y="680800"/>
                </a:moveTo>
                <a:cubicBezTo>
                  <a:pt x="652932" y="697583"/>
                  <a:pt x="666638" y="711237"/>
                  <a:pt x="683485" y="711237"/>
                </a:cubicBezTo>
                <a:cubicBezTo>
                  <a:pt x="700332" y="711237"/>
                  <a:pt x="714037" y="697583"/>
                  <a:pt x="714037" y="680800"/>
                </a:cubicBezTo>
                <a:cubicBezTo>
                  <a:pt x="714037" y="664018"/>
                  <a:pt x="700332" y="650364"/>
                  <a:pt x="683485" y="650364"/>
                </a:cubicBezTo>
                <a:cubicBezTo>
                  <a:pt x="666638" y="650364"/>
                  <a:pt x="652932" y="664018"/>
                  <a:pt x="652932" y="680800"/>
                </a:cubicBezTo>
                <a:close/>
                <a:moveTo>
                  <a:pt x="712324" y="680800"/>
                </a:moveTo>
                <a:cubicBezTo>
                  <a:pt x="712324" y="697583"/>
                  <a:pt x="726030" y="711237"/>
                  <a:pt x="742877" y="711237"/>
                </a:cubicBezTo>
                <a:cubicBezTo>
                  <a:pt x="759724" y="711237"/>
                  <a:pt x="773429" y="697583"/>
                  <a:pt x="773429" y="680800"/>
                </a:cubicBezTo>
                <a:cubicBezTo>
                  <a:pt x="773429" y="664018"/>
                  <a:pt x="759724" y="650364"/>
                  <a:pt x="742877" y="650364"/>
                </a:cubicBezTo>
                <a:cubicBezTo>
                  <a:pt x="726030" y="650364"/>
                  <a:pt x="712324" y="664018"/>
                  <a:pt x="712324" y="680800"/>
                </a:cubicBezTo>
                <a:close/>
                <a:moveTo>
                  <a:pt x="831013" y="680800"/>
                </a:moveTo>
                <a:cubicBezTo>
                  <a:pt x="831013" y="697583"/>
                  <a:pt x="844719" y="711237"/>
                  <a:pt x="861566" y="711237"/>
                </a:cubicBezTo>
                <a:cubicBezTo>
                  <a:pt x="878413" y="711237"/>
                  <a:pt x="892118" y="697583"/>
                  <a:pt x="892118" y="680800"/>
                </a:cubicBezTo>
                <a:cubicBezTo>
                  <a:pt x="892118" y="664018"/>
                  <a:pt x="878413" y="650364"/>
                  <a:pt x="861566" y="650364"/>
                </a:cubicBezTo>
                <a:cubicBezTo>
                  <a:pt x="844719" y="650364"/>
                  <a:pt x="831013" y="664018"/>
                  <a:pt x="831013" y="680800"/>
                </a:cubicBezTo>
                <a:close/>
                <a:moveTo>
                  <a:pt x="949702" y="680800"/>
                </a:moveTo>
                <a:cubicBezTo>
                  <a:pt x="949702" y="697583"/>
                  <a:pt x="963408" y="711237"/>
                  <a:pt x="980255" y="711237"/>
                </a:cubicBezTo>
                <a:cubicBezTo>
                  <a:pt x="997101" y="711237"/>
                  <a:pt x="1010807" y="697583"/>
                  <a:pt x="1010807" y="680800"/>
                </a:cubicBezTo>
                <a:cubicBezTo>
                  <a:pt x="1010807" y="664018"/>
                  <a:pt x="997101" y="650364"/>
                  <a:pt x="980255" y="650364"/>
                </a:cubicBezTo>
                <a:cubicBezTo>
                  <a:pt x="963408" y="650364"/>
                  <a:pt x="949702" y="664018"/>
                  <a:pt x="949702" y="680800"/>
                </a:cubicBezTo>
                <a:close/>
                <a:moveTo>
                  <a:pt x="1068391" y="680800"/>
                </a:moveTo>
                <a:cubicBezTo>
                  <a:pt x="1068391" y="697583"/>
                  <a:pt x="1082097" y="711237"/>
                  <a:pt x="1098944" y="711237"/>
                </a:cubicBezTo>
                <a:cubicBezTo>
                  <a:pt x="1115790" y="711237"/>
                  <a:pt x="1129496" y="697583"/>
                  <a:pt x="1129496" y="680800"/>
                </a:cubicBezTo>
                <a:cubicBezTo>
                  <a:pt x="1129496" y="664018"/>
                  <a:pt x="1115790" y="650364"/>
                  <a:pt x="1098944" y="650364"/>
                </a:cubicBezTo>
                <a:cubicBezTo>
                  <a:pt x="1082097" y="650364"/>
                  <a:pt x="1068391" y="664018"/>
                  <a:pt x="1068391" y="680800"/>
                </a:cubicBezTo>
                <a:close/>
                <a:moveTo>
                  <a:pt x="1424553" y="680800"/>
                </a:moveTo>
                <a:cubicBezTo>
                  <a:pt x="1424553" y="697583"/>
                  <a:pt x="1438259" y="711237"/>
                  <a:pt x="1455106" y="711237"/>
                </a:cubicBezTo>
                <a:cubicBezTo>
                  <a:pt x="1471953" y="711237"/>
                  <a:pt x="1485658" y="697583"/>
                  <a:pt x="1485658" y="680800"/>
                </a:cubicBezTo>
                <a:cubicBezTo>
                  <a:pt x="1485658" y="664018"/>
                  <a:pt x="1471953" y="650364"/>
                  <a:pt x="1455106" y="650364"/>
                </a:cubicBezTo>
                <a:cubicBezTo>
                  <a:pt x="1438259" y="650364"/>
                  <a:pt x="1424553" y="664018"/>
                  <a:pt x="1424553" y="680800"/>
                </a:cubicBezTo>
                <a:close/>
                <a:moveTo>
                  <a:pt x="59392" y="739968"/>
                </a:moveTo>
                <a:cubicBezTo>
                  <a:pt x="59392" y="756751"/>
                  <a:pt x="73098" y="770404"/>
                  <a:pt x="89945" y="770404"/>
                </a:cubicBezTo>
                <a:cubicBezTo>
                  <a:pt x="106792" y="770404"/>
                  <a:pt x="120497" y="756751"/>
                  <a:pt x="120497" y="739968"/>
                </a:cubicBezTo>
                <a:cubicBezTo>
                  <a:pt x="120497" y="723185"/>
                  <a:pt x="106792" y="709531"/>
                  <a:pt x="89945" y="709531"/>
                </a:cubicBezTo>
                <a:cubicBezTo>
                  <a:pt x="73098" y="709531"/>
                  <a:pt x="59392" y="723185"/>
                  <a:pt x="59392" y="739968"/>
                </a:cubicBezTo>
                <a:close/>
                <a:moveTo>
                  <a:pt x="118784" y="739968"/>
                </a:moveTo>
                <a:cubicBezTo>
                  <a:pt x="118784" y="756751"/>
                  <a:pt x="132490" y="770404"/>
                  <a:pt x="149337" y="770404"/>
                </a:cubicBezTo>
                <a:cubicBezTo>
                  <a:pt x="166184" y="770404"/>
                  <a:pt x="179889" y="756751"/>
                  <a:pt x="179889" y="739968"/>
                </a:cubicBezTo>
                <a:cubicBezTo>
                  <a:pt x="179889" y="723185"/>
                  <a:pt x="166184" y="709531"/>
                  <a:pt x="149337" y="709531"/>
                </a:cubicBezTo>
                <a:cubicBezTo>
                  <a:pt x="132490" y="709531"/>
                  <a:pt x="118784" y="723185"/>
                  <a:pt x="118784" y="739968"/>
                </a:cubicBezTo>
                <a:close/>
                <a:moveTo>
                  <a:pt x="237473" y="739968"/>
                </a:moveTo>
                <a:cubicBezTo>
                  <a:pt x="237473" y="756751"/>
                  <a:pt x="251179" y="770404"/>
                  <a:pt x="268026" y="770404"/>
                </a:cubicBezTo>
                <a:cubicBezTo>
                  <a:pt x="284873" y="770404"/>
                  <a:pt x="298578" y="756751"/>
                  <a:pt x="298578" y="739968"/>
                </a:cubicBezTo>
                <a:cubicBezTo>
                  <a:pt x="298578" y="723185"/>
                  <a:pt x="284873" y="709531"/>
                  <a:pt x="268026" y="709531"/>
                </a:cubicBezTo>
                <a:cubicBezTo>
                  <a:pt x="251179" y="709531"/>
                  <a:pt x="237473" y="723185"/>
                  <a:pt x="237473" y="739968"/>
                </a:cubicBezTo>
                <a:close/>
                <a:moveTo>
                  <a:pt x="296865" y="739968"/>
                </a:moveTo>
                <a:cubicBezTo>
                  <a:pt x="296865" y="756751"/>
                  <a:pt x="310571" y="770404"/>
                  <a:pt x="327418" y="770404"/>
                </a:cubicBezTo>
                <a:cubicBezTo>
                  <a:pt x="344265" y="770404"/>
                  <a:pt x="357970" y="756751"/>
                  <a:pt x="357970" y="739968"/>
                </a:cubicBezTo>
                <a:cubicBezTo>
                  <a:pt x="357970" y="723185"/>
                  <a:pt x="344265" y="709531"/>
                  <a:pt x="327418" y="709531"/>
                </a:cubicBezTo>
                <a:cubicBezTo>
                  <a:pt x="310571" y="709531"/>
                  <a:pt x="296865" y="723185"/>
                  <a:pt x="296865" y="739968"/>
                </a:cubicBezTo>
                <a:close/>
                <a:moveTo>
                  <a:pt x="356162" y="739968"/>
                </a:moveTo>
                <a:cubicBezTo>
                  <a:pt x="356162" y="756751"/>
                  <a:pt x="369868" y="770404"/>
                  <a:pt x="386715" y="770404"/>
                </a:cubicBezTo>
                <a:cubicBezTo>
                  <a:pt x="403562" y="770404"/>
                  <a:pt x="417267" y="756751"/>
                  <a:pt x="417267" y="739968"/>
                </a:cubicBezTo>
                <a:cubicBezTo>
                  <a:pt x="417267" y="723185"/>
                  <a:pt x="403562" y="709531"/>
                  <a:pt x="386715" y="709531"/>
                </a:cubicBezTo>
                <a:cubicBezTo>
                  <a:pt x="369868" y="709531"/>
                  <a:pt x="356162" y="723185"/>
                  <a:pt x="356162" y="739968"/>
                </a:cubicBezTo>
                <a:close/>
                <a:moveTo>
                  <a:pt x="415554" y="739968"/>
                </a:moveTo>
                <a:cubicBezTo>
                  <a:pt x="415554" y="756751"/>
                  <a:pt x="429260" y="770404"/>
                  <a:pt x="446107" y="770404"/>
                </a:cubicBezTo>
                <a:cubicBezTo>
                  <a:pt x="462954" y="770404"/>
                  <a:pt x="476659" y="756751"/>
                  <a:pt x="476659" y="739968"/>
                </a:cubicBezTo>
                <a:cubicBezTo>
                  <a:pt x="476659" y="723185"/>
                  <a:pt x="462954" y="709531"/>
                  <a:pt x="446107" y="709531"/>
                </a:cubicBezTo>
                <a:cubicBezTo>
                  <a:pt x="429260" y="709531"/>
                  <a:pt x="415554" y="723185"/>
                  <a:pt x="415554" y="739968"/>
                </a:cubicBezTo>
                <a:close/>
                <a:moveTo>
                  <a:pt x="474851" y="739968"/>
                </a:moveTo>
                <a:cubicBezTo>
                  <a:pt x="474851" y="756751"/>
                  <a:pt x="488557" y="770404"/>
                  <a:pt x="505404" y="770404"/>
                </a:cubicBezTo>
                <a:cubicBezTo>
                  <a:pt x="522250" y="770404"/>
                  <a:pt x="535956" y="756751"/>
                  <a:pt x="535956" y="739968"/>
                </a:cubicBezTo>
                <a:cubicBezTo>
                  <a:pt x="535956" y="723185"/>
                  <a:pt x="522250" y="709531"/>
                  <a:pt x="505404" y="709531"/>
                </a:cubicBezTo>
                <a:cubicBezTo>
                  <a:pt x="488557" y="709531"/>
                  <a:pt x="474851" y="723185"/>
                  <a:pt x="474851" y="739968"/>
                </a:cubicBezTo>
                <a:close/>
                <a:moveTo>
                  <a:pt x="534243" y="739968"/>
                </a:moveTo>
                <a:cubicBezTo>
                  <a:pt x="534243" y="756751"/>
                  <a:pt x="547949" y="770404"/>
                  <a:pt x="564796" y="770404"/>
                </a:cubicBezTo>
                <a:cubicBezTo>
                  <a:pt x="581643" y="770404"/>
                  <a:pt x="595348" y="756751"/>
                  <a:pt x="595348" y="739968"/>
                </a:cubicBezTo>
                <a:cubicBezTo>
                  <a:pt x="595348" y="723185"/>
                  <a:pt x="581643" y="709531"/>
                  <a:pt x="564796" y="709531"/>
                </a:cubicBezTo>
                <a:cubicBezTo>
                  <a:pt x="547949" y="709531"/>
                  <a:pt x="534243" y="723185"/>
                  <a:pt x="534243" y="739968"/>
                </a:cubicBezTo>
                <a:close/>
                <a:moveTo>
                  <a:pt x="652932" y="739968"/>
                </a:moveTo>
                <a:cubicBezTo>
                  <a:pt x="652932" y="756751"/>
                  <a:pt x="666638" y="770404"/>
                  <a:pt x="683485" y="770404"/>
                </a:cubicBezTo>
                <a:cubicBezTo>
                  <a:pt x="700332" y="770404"/>
                  <a:pt x="714037" y="756751"/>
                  <a:pt x="714037" y="739968"/>
                </a:cubicBezTo>
                <a:cubicBezTo>
                  <a:pt x="714037" y="723185"/>
                  <a:pt x="700332" y="709531"/>
                  <a:pt x="683485" y="709531"/>
                </a:cubicBezTo>
                <a:cubicBezTo>
                  <a:pt x="666638" y="709531"/>
                  <a:pt x="652932" y="723185"/>
                  <a:pt x="652932" y="739968"/>
                </a:cubicBezTo>
                <a:close/>
                <a:moveTo>
                  <a:pt x="890310" y="739968"/>
                </a:moveTo>
                <a:cubicBezTo>
                  <a:pt x="890310" y="756751"/>
                  <a:pt x="904016" y="770404"/>
                  <a:pt x="920863" y="770404"/>
                </a:cubicBezTo>
                <a:cubicBezTo>
                  <a:pt x="937709" y="770404"/>
                  <a:pt x="951415" y="756751"/>
                  <a:pt x="951415" y="739968"/>
                </a:cubicBezTo>
                <a:cubicBezTo>
                  <a:pt x="951415" y="723185"/>
                  <a:pt x="937709" y="709531"/>
                  <a:pt x="920863" y="709531"/>
                </a:cubicBezTo>
                <a:cubicBezTo>
                  <a:pt x="904016" y="709531"/>
                  <a:pt x="890310" y="723185"/>
                  <a:pt x="890310" y="739968"/>
                </a:cubicBezTo>
                <a:close/>
                <a:moveTo>
                  <a:pt x="1009094" y="739968"/>
                </a:moveTo>
                <a:cubicBezTo>
                  <a:pt x="1009094" y="756751"/>
                  <a:pt x="1022800" y="770404"/>
                  <a:pt x="1039647" y="770404"/>
                </a:cubicBezTo>
                <a:cubicBezTo>
                  <a:pt x="1056494" y="770404"/>
                  <a:pt x="1070199" y="756751"/>
                  <a:pt x="1070199" y="739968"/>
                </a:cubicBezTo>
                <a:cubicBezTo>
                  <a:pt x="1070199" y="723185"/>
                  <a:pt x="1056494" y="709531"/>
                  <a:pt x="1039647" y="709531"/>
                </a:cubicBezTo>
                <a:cubicBezTo>
                  <a:pt x="1022800" y="709531"/>
                  <a:pt x="1009094" y="723185"/>
                  <a:pt x="1009094" y="739968"/>
                </a:cubicBezTo>
                <a:close/>
                <a:moveTo>
                  <a:pt x="1068391" y="739968"/>
                </a:moveTo>
                <a:cubicBezTo>
                  <a:pt x="1068391" y="756751"/>
                  <a:pt x="1082097" y="770404"/>
                  <a:pt x="1098944" y="770404"/>
                </a:cubicBezTo>
                <a:cubicBezTo>
                  <a:pt x="1115790" y="770404"/>
                  <a:pt x="1129496" y="756751"/>
                  <a:pt x="1129496" y="739968"/>
                </a:cubicBezTo>
                <a:cubicBezTo>
                  <a:pt x="1129496" y="723185"/>
                  <a:pt x="1115790" y="709531"/>
                  <a:pt x="1098944" y="709531"/>
                </a:cubicBezTo>
                <a:cubicBezTo>
                  <a:pt x="1082097" y="709531"/>
                  <a:pt x="1068391" y="723185"/>
                  <a:pt x="1068391" y="739968"/>
                </a:cubicBezTo>
                <a:close/>
                <a:moveTo>
                  <a:pt x="1127783" y="739968"/>
                </a:moveTo>
                <a:cubicBezTo>
                  <a:pt x="1127783" y="756751"/>
                  <a:pt x="1141489" y="770404"/>
                  <a:pt x="1158336" y="770404"/>
                </a:cubicBezTo>
                <a:cubicBezTo>
                  <a:pt x="1175183" y="770404"/>
                  <a:pt x="1188888" y="756751"/>
                  <a:pt x="1188888" y="739968"/>
                </a:cubicBezTo>
                <a:cubicBezTo>
                  <a:pt x="1188888" y="723185"/>
                  <a:pt x="1175183" y="709531"/>
                  <a:pt x="1158336" y="709531"/>
                </a:cubicBezTo>
                <a:cubicBezTo>
                  <a:pt x="1141489" y="709531"/>
                  <a:pt x="1127783" y="723185"/>
                  <a:pt x="1127783" y="739968"/>
                </a:cubicBezTo>
                <a:close/>
                <a:moveTo>
                  <a:pt x="1187080" y="739968"/>
                </a:moveTo>
                <a:cubicBezTo>
                  <a:pt x="1187080" y="756751"/>
                  <a:pt x="1200786" y="770404"/>
                  <a:pt x="1217633" y="770404"/>
                </a:cubicBezTo>
                <a:cubicBezTo>
                  <a:pt x="1234479" y="770404"/>
                  <a:pt x="1248185" y="756751"/>
                  <a:pt x="1248185" y="739968"/>
                </a:cubicBezTo>
                <a:cubicBezTo>
                  <a:pt x="1248185" y="723185"/>
                  <a:pt x="1234479" y="709531"/>
                  <a:pt x="1217633" y="709531"/>
                </a:cubicBezTo>
                <a:cubicBezTo>
                  <a:pt x="1200786" y="709531"/>
                  <a:pt x="1187080" y="723185"/>
                  <a:pt x="1187080" y="739968"/>
                </a:cubicBezTo>
                <a:close/>
                <a:moveTo>
                  <a:pt x="1305769" y="739968"/>
                </a:moveTo>
                <a:cubicBezTo>
                  <a:pt x="1305769" y="756751"/>
                  <a:pt x="1319475" y="770404"/>
                  <a:pt x="1336322" y="770404"/>
                </a:cubicBezTo>
                <a:cubicBezTo>
                  <a:pt x="1353168" y="770404"/>
                  <a:pt x="1366874" y="756751"/>
                  <a:pt x="1366874" y="739968"/>
                </a:cubicBezTo>
                <a:cubicBezTo>
                  <a:pt x="1366874" y="723185"/>
                  <a:pt x="1353168" y="709531"/>
                  <a:pt x="1336322" y="709531"/>
                </a:cubicBezTo>
                <a:cubicBezTo>
                  <a:pt x="1319475" y="709531"/>
                  <a:pt x="1305769" y="723185"/>
                  <a:pt x="1305769" y="739968"/>
                </a:cubicBezTo>
                <a:close/>
                <a:moveTo>
                  <a:pt x="1365161" y="739968"/>
                </a:moveTo>
                <a:cubicBezTo>
                  <a:pt x="1365161" y="756751"/>
                  <a:pt x="1378867" y="770404"/>
                  <a:pt x="1395714" y="770404"/>
                </a:cubicBezTo>
                <a:cubicBezTo>
                  <a:pt x="1412561" y="770404"/>
                  <a:pt x="1426266" y="756751"/>
                  <a:pt x="1426266" y="739968"/>
                </a:cubicBezTo>
                <a:cubicBezTo>
                  <a:pt x="1426266" y="723185"/>
                  <a:pt x="1412561" y="709531"/>
                  <a:pt x="1395714" y="709531"/>
                </a:cubicBezTo>
                <a:cubicBezTo>
                  <a:pt x="1378867" y="709531"/>
                  <a:pt x="1365161" y="723185"/>
                  <a:pt x="1365161" y="739968"/>
                </a:cubicBezTo>
                <a:close/>
                <a:moveTo>
                  <a:pt x="1424553" y="739968"/>
                </a:moveTo>
                <a:cubicBezTo>
                  <a:pt x="1424553" y="756751"/>
                  <a:pt x="1438259" y="770404"/>
                  <a:pt x="1455106" y="770404"/>
                </a:cubicBezTo>
                <a:cubicBezTo>
                  <a:pt x="1471953" y="770404"/>
                  <a:pt x="1485658" y="756751"/>
                  <a:pt x="1485658" y="739968"/>
                </a:cubicBezTo>
                <a:cubicBezTo>
                  <a:pt x="1485658" y="723185"/>
                  <a:pt x="1471953" y="709531"/>
                  <a:pt x="1455106" y="709531"/>
                </a:cubicBezTo>
                <a:cubicBezTo>
                  <a:pt x="1438259" y="709531"/>
                  <a:pt x="1424553" y="723185"/>
                  <a:pt x="1424553" y="739968"/>
                </a:cubicBezTo>
                <a:close/>
                <a:moveTo>
                  <a:pt x="95" y="799040"/>
                </a:moveTo>
                <a:cubicBezTo>
                  <a:pt x="95" y="815823"/>
                  <a:pt x="13801" y="829477"/>
                  <a:pt x="30648" y="829477"/>
                </a:cubicBezTo>
                <a:cubicBezTo>
                  <a:pt x="47495" y="829477"/>
                  <a:pt x="61200" y="815823"/>
                  <a:pt x="61200" y="799040"/>
                </a:cubicBezTo>
                <a:cubicBezTo>
                  <a:pt x="61200" y="782257"/>
                  <a:pt x="47495" y="768603"/>
                  <a:pt x="30648" y="768603"/>
                </a:cubicBezTo>
                <a:cubicBezTo>
                  <a:pt x="13801" y="768603"/>
                  <a:pt x="95" y="782257"/>
                  <a:pt x="95" y="799040"/>
                </a:cubicBezTo>
                <a:close/>
                <a:moveTo>
                  <a:pt x="118784" y="799040"/>
                </a:moveTo>
                <a:cubicBezTo>
                  <a:pt x="118784" y="815823"/>
                  <a:pt x="132490" y="829477"/>
                  <a:pt x="149337" y="829477"/>
                </a:cubicBezTo>
                <a:cubicBezTo>
                  <a:pt x="166184" y="829477"/>
                  <a:pt x="179889" y="815823"/>
                  <a:pt x="179889" y="799040"/>
                </a:cubicBezTo>
                <a:cubicBezTo>
                  <a:pt x="179889" y="782257"/>
                  <a:pt x="166184" y="768603"/>
                  <a:pt x="149337" y="768603"/>
                </a:cubicBezTo>
                <a:cubicBezTo>
                  <a:pt x="132490" y="768603"/>
                  <a:pt x="118784" y="782257"/>
                  <a:pt x="118784" y="799040"/>
                </a:cubicBezTo>
                <a:close/>
                <a:moveTo>
                  <a:pt x="178081" y="799040"/>
                </a:moveTo>
                <a:cubicBezTo>
                  <a:pt x="178081" y="815823"/>
                  <a:pt x="191787" y="829477"/>
                  <a:pt x="208634" y="829477"/>
                </a:cubicBezTo>
                <a:cubicBezTo>
                  <a:pt x="225480" y="829477"/>
                  <a:pt x="239186" y="815823"/>
                  <a:pt x="239186" y="799040"/>
                </a:cubicBezTo>
                <a:cubicBezTo>
                  <a:pt x="239186" y="782257"/>
                  <a:pt x="225480" y="768603"/>
                  <a:pt x="208634" y="768603"/>
                </a:cubicBezTo>
                <a:cubicBezTo>
                  <a:pt x="191787" y="768603"/>
                  <a:pt x="178081" y="782257"/>
                  <a:pt x="178081" y="799040"/>
                </a:cubicBezTo>
                <a:close/>
                <a:moveTo>
                  <a:pt x="237473" y="799040"/>
                </a:moveTo>
                <a:cubicBezTo>
                  <a:pt x="237473" y="815823"/>
                  <a:pt x="251179" y="829477"/>
                  <a:pt x="268026" y="829477"/>
                </a:cubicBezTo>
                <a:cubicBezTo>
                  <a:pt x="284873" y="829477"/>
                  <a:pt x="298578" y="815823"/>
                  <a:pt x="298578" y="799040"/>
                </a:cubicBezTo>
                <a:cubicBezTo>
                  <a:pt x="298578" y="782257"/>
                  <a:pt x="284873" y="768603"/>
                  <a:pt x="268026" y="768603"/>
                </a:cubicBezTo>
                <a:cubicBezTo>
                  <a:pt x="251179" y="768603"/>
                  <a:pt x="237473" y="782257"/>
                  <a:pt x="237473" y="799040"/>
                </a:cubicBezTo>
                <a:close/>
                <a:moveTo>
                  <a:pt x="415554" y="799040"/>
                </a:moveTo>
                <a:cubicBezTo>
                  <a:pt x="415554" y="815823"/>
                  <a:pt x="429260" y="829477"/>
                  <a:pt x="446107" y="829477"/>
                </a:cubicBezTo>
                <a:cubicBezTo>
                  <a:pt x="462954" y="829477"/>
                  <a:pt x="476659" y="815823"/>
                  <a:pt x="476659" y="799040"/>
                </a:cubicBezTo>
                <a:cubicBezTo>
                  <a:pt x="476659" y="782257"/>
                  <a:pt x="462954" y="768603"/>
                  <a:pt x="446107" y="768603"/>
                </a:cubicBezTo>
                <a:cubicBezTo>
                  <a:pt x="429260" y="768603"/>
                  <a:pt x="415554" y="782257"/>
                  <a:pt x="415554" y="799040"/>
                </a:cubicBezTo>
                <a:close/>
                <a:moveTo>
                  <a:pt x="474851" y="799040"/>
                </a:moveTo>
                <a:cubicBezTo>
                  <a:pt x="474851" y="815823"/>
                  <a:pt x="488557" y="829477"/>
                  <a:pt x="505404" y="829477"/>
                </a:cubicBezTo>
                <a:cubicBezTo>
                  <a:pt x="522250" y="829477"/>
                  <a:pt x="535956" y="815823"/>
                  <a:pt x="535956" y="799040"/>
                </a:cubicBezTo>
                <a:cubicBezTo>
                  <a:pt x="535956" y="782257"/>
                  <a:pt x="522250" y="768603"/>
                  <a:pt x="505404" y="768603"/>
                </a:cubicBezTo>
                <a:cubicBezTo>
                  <a:pt x="488557" y="768603"/>
                  <a:pt x="474851" y="782257"/>
                  <a:pt x="474851" y="799040"/>
                </a:cubicBezTo>
                <a:close/>
                <a:moveTo>
                  <a:pt x="534243" y="799040"/>
                </a:moveTo>
                <a:cubicBezTo>
                  <a:pt x="534243" y="815823"/>
                  <a:pt x="547949" y="829477"/>
                  <a:pt x="564796" y="829477"/>
                </a:cubicBezTo>
                <a:cubicBezTo>
                  <a:pt x="581643" y="829477"/>
                  <a:pt x="595348" y="815823"/>
                  <a:pt x="595348" y="799040"/>
                </a:cubicBezTo>
                <a:cubicBezTo>
                  <a:pt x="595348" y="782257"/>
                  <a:pt x="581643" y="768603"/>
                  <a:pt x="564796" y="768603"/>
                </a:cubicBezTo>
                <a:cubicBezTo>
                  <a:pt x="547949" y="768603"/>
                  <a:pt x="534243" y="782257"/>
                  <a:pt x="534243" y="799040"/>
                </a:cubicBezTo>
                <a:close/>
                <a:moveTo>
                  <a:pt x="593635" y="799040"/>
                </a:moveTo>
                <a:cubicBezTo>
                  <a:pt x="593635" y="815823"/>
                  <a:pt x="607341" y="829477"/>
                  <a:pt x="624188" y="829477"/>
                </a:cubicBezTo>
                <a:cubicBezTo>
                  <a:pt x="641035" y="829477"/>
                  <a:pt x="654740" y="815823"/>
                  <a:pt x="654740" y="799040"/>
                </a:cubicBezTo>
                <a:cubicBezTo>
                  <a:pt x="654740" y="782257"/>
                  <a:pt x="641035" y="768603"/>
                  <a:pt x="624188" y="768603"/>
                </a:cubicBezTo>
                <a:cubicBezTo>
                  <a:pt x="607341" y="768603"/>
                  <a:pt x="593635" y="782257"/>
                  <a:pt x="593635" y="799040"/>
                </a:cubicBezTo>
                <a:close/>
                <a:moveTo>
                  <a:pt x="712324" y="799040"/>
                </a:moveTo>
                <a:cubicBezTo>
                  <a:pt x="712324" y="815823"/>
                  <a:pt x="726030" y="829477"/>
                  <a:pt x="742877" y="829477"/>
                </a:cubicBezTo>
                <a:cubicBezTo>
                  <a:pt x="759724" y="829477"/>
                  <a:pt x="773429" y="815823"/>
                  <a:pt x="773429" y="799040"/>
                </a:cubicBezTo>
                <a:cubicBezTo>
                  <a:pt x="773429" y="782257"/>
                  <a:pt x="759724" y="768603"/>
                  <a:pt x="742877" y="768603"/>
                </a:cubicBezTo>
                <a:cubicBezTo>
                  <a:pt x="726030" y="768603"/>
                  <a:pt x="712324" y="782257"/>
                  <a:pt x="712324" y="799040"/>
                </a:cubicBezTo>
                <a:close/>
                <a:moveTo>
                  <a:pt x="771621" y="799040"/>
                </a:moveTo>
                <a:cubicBezTo>
                  <a:pt x="771621" y="815823"/>
                  <a:pt x="785327" y="829477"/>
                  <a:pt x="802174" y="829477"/>
                </a:cubicBezTo>
                <a:cubicBezTo>
                  <a:pt x="819021" y="829477"/>
                  <a:pt x="832726" y="815823"/>
                  <a:pt x="832726" y="799040"/>
                </a:cubicBezTo>
                <a:cubicBezTo>
                  <a:pt x="832726" y="782257"/>
                  <a:pt x="819021" y="768603"/>
                  <a:pt x="802174" y="768603"/>
                </a:cubicBezTo>
                <a:cubicBezTo>
                  <a:pt x="785327" y="768603"/>
                  <a:pt x="771621" y="782257"/>
                  <a:pt x="771621" y="799040"/>
                </a:cubicBezTo>
                <a:close/>
                <a:moveTo>
                  <a:pt x="949702" y="799040"/>
                </a:moveTo>
                <a:cubicBezTo>
                  <a:pt x="949702" y="815823"/>
                  <a:pt x="963408" y="829477"/>
                  <a:pt x="980255" y="829477"/>
                </a:cubicBezTo>
                <a:cubicBezTo>
                  <a:pt x="997101" y="829477"/>
                  <a:pt x="1010807" y="815823"/>
                  <a:pt x="1010807" y="799040"/>
                </a:cubicBezTo>
                <a:cubicBezTo>
                  <a:pt x="1010807" y="782257"/>
                  <a:pt x="997101" y="768603"/>
                  <a:pt x="980255" y="768603"/>
                </a:cubicBezTo>
                <a:cubicBezTo>
                  <a:pt x="963408" y="768603"/>
                  <a:pt x="949702" y="782257"/>
                  <a:pt x="949702" y="799040"/>
                </a:cubicBezTo>
                <a:close/>
                <a:moveTo>
                  <a:pt x="1009094" y="799040"/>
                </a:moveTo>
                <a:cubicBezTo>
                  <a:pt x="1009094" y="815823"/>
                  <a:pt x="1022800" y="829477"/>
                  <a:pt x="1039647" y="829477"/>
                </a:cubicBezTo>
                <a:cubicBezTo>
                  <a:pt x="1056494" y="829477"/>
                  <a:pt x="1070199" y="815823"/>
                  <a:pt x="1070199" y="799040"/>
                </a:cubicBezTo>
                <a:cubicBezTo>
                  <a:pt x="1070199" y="782257"/>
                  <a:pt x="1056494" y="768603"/>
                  <a:pt x="1039647" y="768603"/>
                </a:cubicBezTo>
                <a:cubicBezTo>
                  <a:pt x="1022800" y="768603"/>
                  <a:pt x="1009094" y="782257"/>
                  <a:pt x="1009094" y="799040"/>
                </a:cubicBezTo>
                <a:close/>
                <a:moveTo>
                  <a:pt x="1127783" y="799040"/>
                </a:moveTo>
                <a:cubicBezTo>
                  <a:pt x="1127783" y="815823"/>
                  <a:pt x="1141489" y="829477"/>
                  <a:pt x="1158336" y="829477"/>
                </a:cubicBezTo>
                <a:cubicBezTo>
                  <a:pt x="1175183" y="829477"/>
                  <a:pt x="1188888" y="815823"/>
                  <a:pt x="1188888" y="799040"/>
                </a:cubicBezTo>
                <a:cubicBezTo>
                  <a:pt x="1188888" y="782257"/>
                  <a:pt x="1175183" y="768603"/>
                  <a:pt x="1158336" y="768603"/>
                </a:cubicBezTo>
                <a:cubicBezTo>
                  <a:pt x="1141489" y="768603"/>
                  <a:pt x="1127783" y="782257"/>
                  <a:pt x="1127783" y="799040"/>
                </a:cubicBezTo>
                <a:close/>
                <a:moveTo>
                  <a:pt x="1246472" y="799040"/>
                </a:moveTo>
                <a:cubicBezTo>
                  <a:pt x="1246472" y="815823"/>
                  <a:pt x="1260178" y="829477"/>
                  <a:pt x="1277025" y="829477"/>
                </a:cubicBezTo>
                <a:cubicBezTo>
                  <a:pt x="1293872" y="829477"/>
                  <a:pt x="1307577" y="815823"/>
                  <a:pt x="1307577" y="799040"/>
                </a:cubicBezTo>
                <a:cubicBezTo>
                  <a:pt x="1307577" y="782257"/>
                  <a:pt x="1293872" y="768603"/>
                  <a:pt x="1277025" y="768603"/>
                </a:cubicBezTo>
                <a:cubicBezTo>
                  <a:pt x="1260178" y="768603"/>
                  <a:pt x="1246472" y="782257"/>
                  <a:pt x="1246472" y="799040"/>
                </a:cubicBezTo>
                <a:close/>
                <a:moveTo>
                  <a:pt x="1365161" y="799040"/>
                </a:moveTo>
                <a:cubicBezTo>
                  <a:pt x="1365161" y="815823"/>
                  <a:pt x="1378867" y="829477"/>
                  <a:pt x="1395714" y="829477"/>
                </a:cubicBezTo>
                <a:cubicBezTo>
                  <a:pt x="1412561" y="829477"/>
                  <a:pt x="1426266" y="815823"/>
                  <a:pt x="1426266" y="799040"/>
                </a:cubicBezTo>
                <a:cubicBezTo>
                  <a:pt x="1426266" y="782257"/>
                  <a:pt x="1412561" y="768603"/>
                  <a:pt x="1395714" y="768603"/>
                </a:cubicBezTo>
                <a:cubicBezTo>
                  <a:pt x="1378867" y="768603"/>
                  <a:pt x="1365161" y="782257"/>
                  <a:pt x="1365161" y="799040"/>
                </a:cubicBezTo>
                <a:close/>
                <a:moveTo>
                  <a:pt x="95" y="858207"/>
                </a:moveTo>
                <a:cubicBezTo>
                  <a:pt x="95" y="874990"/>
                  <a:pt x="13801" y="888644"/>
                  <a:pt x="30648" y="888644"/>
                </a:cubicBezTo>
                <a:cubicBezTo>
                  <a:pt x="47495" y="888644"/>
                  <a:pt x="61200" y="874990"/>
                  <a:pt x="61200" y="858207"/>
                </a:cubicBezTo>
                <a:cubicBezTo>
                  <a:pt x="61200" y="841424"/>
                  <a:pt x="47495" y="827770"/>
                  <a:pt x="30648" y="827770"/>
                </a:cubicBezTo>
                <a:cubicBezTo>
                  <a:pt x="13801" y="827770"/>
                  <a:pt x="95" y="841424"/>
                  <a:pt x="95" y="858207"/>
                </a:cubicBezTo>
                <a:close/>
                <a:moveTo>
                  <a:pt x="118784" y="858207"/>
                </a:moveTo>
                <a:cubicBezTo>
                  <a:pt x="118784" y="874990"/>
                  <a:pt x="132490" y="888644"/>
                  <a:pt x="149337" y="888644"/>
                </a:cubicBezTo>
                <a:cubicBezTo>
                  <a:pt x="166184" y="888644"/>
                  <a:pt x="179889" y="874990"/>
                  <a:pt x="179889" y="858207"/>
                </a:cubicBezTo>
                <a:cubicBezTo>
                  <a:pt x="179889" y="841424"/>
                  <a:pt x="166184" y="827770"/>
                  <a:pt x="149337" y="827770"/>
                </a:cubicBezTo>
                <a:cubicBezTo>
                  <a:pt x="132490" y="827770"/>
                  <a:pt x="118784" y="841424"/>
                  <a:pt x="118784" y="858207"/>
                </a:cubicBezTo>
                <a:close/>
                <a:moveTo>
                  <a:pt x="178081" y="858207"/>
                </a:moveTo>
                <a:cubicBezTo>
                  <a:pt x="178081" y="874990"/>
                  <a:pt x="191787" y="888644"/>
                  <a:pt x="208634" y="888644"/>
                </a:cubicBezTo>
                <a:cubicBezTo>
                  <a:pt x="225480" y="888644"/>
                  <a:pt x="239186" y="874990"/>
                  <a:pt x="239186" y="858207"/>
                </a:cubicBezTo>
                <a:cubicBezTo>
                  <a:pt x="239186" y="841424"/>
                  <a:pt x="225480" y="827770"/>
                  <a:pt x="208634" y="827770"/>
                </a:cubicBezTo>
                <a:cubicBezTo>
                  <a:pt x="191787" y="827770"/>
                  <a:pt x="178081" y="841424"/>
                  <a:pt x="178081" y="858207"/>
                </a:cubicBezTo>
                <a:close/>
                <a:moveTo>
                  <a:pt x="356162" y="858207"/>
                </a:moveTo>
                <a:cubicBezTo>
                  <a:pt x="356162" y="874990"/>
                  <a:pt x="369868" y="888644"/>
                  <a:pt x="386715" y="888644"/>
                </a:cubicBezTo>
                <a:cubicBezTo>
                  <a:pt x="403562" y="888644"/>
                  <a:pt x="417267" y="874990"/>
                  <a:pt x="417267" y="858207"/>
                </a:cubicBezTo>
                <a:cubicBezTo>
                  <a:pt x="417267" y="841424"/>
                  <a:pt x="403562" y="827770"/>
                  <a:pt x="386715" y="827770"/>
                </a:cubicBezTo>
                <a:cubicBezTo>
                  <a:pt x="369868" y="827770"/>
                  <a:pt x="356162" y="841424"/>
                  <a:pt x="356162" y="858207"/>
                </a:cubicBezTo>
                <a:close/>
                <a:moveTo>
                  <a:pt x="474851" y="858207"/>
                </a:moveTo>
                <a:cubicBezTo>
                  <a:pt x="474851" y="874990"/>
                  <a:pt x="488557" y="888644"/>
                  <a:pt x="505404" y="888644"/>
                </a:cubicBezTo>
                <a:cubicBezTo>
                  <a:pt x="522250" y="888644"/>
                  <a:pt x="535956" y="874990"/>
                  <a:pt x="535956" y="858207"/>
                </a:cubicBezTo>
                <a:cubicBezTo>
                  <a:pt x="535956" y="841424"/>
                  <a:pt x="522250" y="827770"/>
                  <a:pt x="505404" y="827770"/>
                </a:cubicBezTo>
                <a:cubicBezTo>
                  <a:pt x="488557" y="827770"/>
                  <a:pt x="474851" y="841424"/>
                  <a:pt x="474851" y="858207"/>
                </a:cubicBezTo>
                <a:close/>
                <a:moveTo>
                  <a:pt x="771621" y="858207"/>
                </a:moveTo>
                <a:cubicBezTo>
                  <a:pt x="771621" y="874990"/>
                  <a:pt x="785327" y="888644"/>
                  <a:pt x="802174" y="888644"/>
                </a:cubicBezTo>
                <a:cubicBezTo>
                  <a:pt x="819021" y="888644"/>
                  <a:pt x="832726" y="874990"/>
                  <a:pt x="832726" y="858207"/>
                </a:cubicBezTo>
                <a:cubicBezTo>
                  <a:pt x="832726" y="841424"/>
                  <a:pt x="819021" y="827770"/>
                  <a:pt x="802174" y="827770"/>
                </a:cubicBezTo>
                <a:cubicBezTo>
                  <a:pt x="785327" y="827770"/>
                  <a:pt x="771621" y="841424"/>
                  <a:pt x="771621" y="858207"/>
                </a:cubicBezTo>
                <a:close/>
                <a:moveTo>
                  <a:pt x="831013" y="858207"/>
                </a:moveTo>
                <a:cubicBezTo>
                  <a:pt x="831013" y="874990"/>
                  <a:pt x="844719" y="888644"/>
                  <a:pt x="861566" y="888644"/>
                </a:cubicBezTo>
                <a:cubicBezTo>
                  <a:pt x="878413" y="888644"/>
                  <a:pt x="892118" y="874990"/>
                  <a:pt x="892118" y="858207"/>
                </a:cubicBezTo>
                <a:cubicBezTo>
                  <a:pt x="892118" y="841424"/>
                  <a:pt x="878413" y="827770"/>
                  <a:pt x="861566" y="827770"/>
                </a:cubicBezTo>
                <a:cubicBezTo>
                  <a:pt x="844719" y="827770"/>
                  <a:pt x="831013" y="841424"/>
                  <a:pt x="831013" y="858207"/>
                </a:cubicBezTo>
                <a:close/>
                <a:moveTo>
                  <a:pt x="890310" y="858207"/>
                </a:moveTo>
                <a:cubicBezTo>
                  <a:pt x="890310" y="874990"/>
                  <a:pt x="904016" y="888644"/>
                  <a:pt x="920863" y="888644"/>
                </a:cubicBezTo>
                <a:cubicBezTo>
                  <a:pt x="937709" y="888644"/>
                  <a:pt x="951415" y="874990"/>
                  <a:pt x="951415" y="858207"/>
                </a:cubicBezTo>
                <a:cubicBezTo>
                  <a:pt x="951415" y="841424"/>
                  <a:pt x="937709" y="827770"/>
                  <a:pt x="920863" y="827770"/>
                </a:cubicBezTo>
                <a:cubicBezTo>
                  <a:pt x="904016" y="827770"/>
                  <a:pt x="890310" y="841424"/>
                  <a:pt x="890310" y="858207"/>
                </a:cubicBezTo>
                <a:close/>
                <a:moveTo>
                  <a:pt x="949702" y="858207"/>
                </a:moveTo>
                <a:cubicBezTo>
                  <a:pt x="949702" y="874990"/>
                  <a:pt x="963408" y="888644"/>
                  <a:pt x="980255" y="888644"/>
                </a:cubicBezTo>
                <a:cubicBezTo>
                  <a:pt x="997101" y="888644"/>
                  <a:pt x="1010807" y="874990"/>
                  <a:pt x="1010807" y="858207"/>
                </a:cubicBezTo>
                <a:cubicBezTo>
                  <a:pt x="1010807" y="841424"/>
                  <a:pt x="997101" y="827770"/>
                  <a:pt x="980255" y="827770"/>
                </a:cubicBezTo>
                <a:cubicBezTo>
                  <a:pt x="963408" y="827770"/>
                  <a:pt x="949702" y="841424"/>
                  <a:pt x="949702" y="858207"/>
                </a:cubicBezTo>
                <a:close/>
                <a:moveTo>
                  <a:pt x="1068391" y="858207"/>
                </a:moveTo>
                <a:cubicBezTo>
                  <a:pt x="1068391" y="874990"/>
                  <a:pt x="1082097" y="888644"/>
                  <a:pt x="1098944" y="888644"/>
                </a:cubicBezTo>
                <a:cubicBezTo>
                  <a:pt x="1115790" y="888644"/>
                  <a:pt x="1129496" y="874990"/>
                  <a:pt x="1129496" y="858207"/>
                </a:cubicBezTo>
                <a:cubicBezTo>
                  <a:pt x="1129496" y="841424"/>
                  <a:pt x="1115790" y="827770"/>
                  <a:pt x="1098944" y="827770"/>
                </a:cubicBezTo>
                <a:cubicBezTo>
                  <a:pt x="1082097" y="827770"/>
                  <a:pt x="1068391" y="841424"/>
                  <a:pt x="1068391" y="858207"/>
                </a:cubicBezTo>
                <a:close/>
                <a:moveTo>
                  <a:pt x="1127783" y="858207"/>
                </a:moveTo>
                <a:cubicBezTo>
                  <a:pt x="1127783" y="874990"/>
                  <a:pt x="1141489" y="888644"/>
                  <a:pt x="1158336" y="888644"/>
                </a:cubicBezTo>
                <a:cubicBezTo>
                  <a:pt x="1175183" y="888644"/>
                  <a:pt x="1188888" y="874990"/>
                  <a:pt x="1188888" y="858207"/>
                </a:cubicBezTo>
                <a:cubicBezTo>
                  <a:pt x="1188888" y="841424"/>
                  <a:pt x="1175183" y="827770"/>
                  <a:pt x="1158336" y="827770"/>
                </a:cubicBezTo>
                <a:cubicBezTo>
                  <a:pt x="1141489" y="827770"/>
                  <a:pt x="1127783" y="841424"/>
                  <a:pt x="1127783" y="858207"/>
                </a:cubicBezTo>
                <a:close/>
                <a:moveTo>
                  <a:pt x="1187080" y="858207"/>
                </a:moveTo>
                <a:cubicBezTo>
                  <a:pt x="1187080" y="874990"/>
                  <a:pt x="1200786" y="888644"/>
                  <a:pt x="1217633" y="888644"/>
                </a:cubicBezTo>
                <a:cubicBezTo>
                  <a:pt x="1234479" y="888644"/>
                  <a:pt x="1248185" y="874990"/>
                  <a:pt x="1248185" y="858207"/>
                </a:cubicBezTo>
                <a:cubicBezTo>
                  <a:pt x="1248185" y="841424"/>
                  <a:pt x="1234479" y="827770"/>
                  <a:pt x="1217633" y="827770"/>
                </a:cubicBezTo>
                <a:cubicBezTo>
                  <a:pt x="1200786" y="827770"/>
                  <a:pt x="1187080" y="841424"/>
                  <a:pt x="1187080" y="858207"/>
                </a:cubicBezTo>
                <a:close/>
                <a:moveTo>
                  <a:pt x="1246472" y="858207"/>
                </a:moveTo>
                <a:cubicBezTo>
                  <a:pt x="1246472" y="874990"/>
                  <a:pt x="1260178" y="888644"/>
                  <a:pt x="1277025" y="888644"/>
                </a:cubicBezTo>
                <a:cubicBezTo>
                  <a:pt x="1293872" y="888644"/>
                  <a:pt x="1307577" y="874990"/>
                  <a:pt x="1307577" y="858207"/>
                </a:cubicBezTo>
                <a:cubicBezTo>
                  <a:pt x="1307577" y="841424"/>
                  <a:pt x="1293872" y="827770"/>
                  <a:pt x="1277025" y="827770"/>
                </a:cubicBezTo>
                <a:cubicBezTo>
                  <a:pt x="1260178" y="827770"/>
                  <a:pt x="1246472" y="841424"/>
                  <a:pt x="1246472" y="858207"/>
                </a:cubicBezTo>
                <a:close/>
                <a:moveTo>
                  <a:pt x="1365161" y="858207"/>
                </a:moveTo>
                <a:cubicBezTo>
                  <a:pt x="1365161" y="874990"/>
                  <a:pt x="1378867" y="888644"/>
                  <a:pt x="1395714" y="888644"/>
                </a:cubicBezTo>
                <a:cubicBezTo>
                  <a:pt x="1412561" y="888644"/>
                  <a:pt x="1426266" y="874990"/>
                  <a:pt x="1426266" y="858207"/>
                </a:cubicBezTo>
                <a:cubicBezTo>
                  <a:pt x="1426266" y="841424"/>
                  <a:pt x="1412561" y="827770"/>
                  <a:pt x="1395714" y="827770"/>
                </a:cubicBezTo>
                <a:cubicBezTo>
                  <a:pt x="1378867" y="827770"/>
                  <a:pt x="1365161" y="841424"/>
                  <a:pt x="1365161" y="858207"/>
                </a:cubicBezTo>
                <a:close/>
                <a:moveTo>
                  <a:pt x="1424553" y="858207"/>
                </a:moveTo>
                <a:cubicBezTo>
                  <a:pt x="1424553" y="874990"/>
                  <a:pt x="1438259" y="888644"/>
                  <a:pt x="1455106" y="888644"/>
                </a:cubicBezTo>
                <a:cubicBezTo>
                  <a:pt x="1471953" y="888644"/>
                  <a:pt x="1485658" y="874990"/>
                  <a:pt x="1485658" y="858207"/>
                </a:cubicBezTo>
                <a:cubicBezTo>
                  <a:pt x="1485658" y="841424"/>
                  <a:pt x="1471953" y="827770"/>
                  <a:pt x="1455106" y="827770"/>
                </a:cubicBezTo>
                <a:cubicBezTo>
                  <a:pt x="1438259" y="827770"/>
                  <a:pt x="1424553" y="841424"/>
                  <a:pt x="1424553" y="858207"/>
                </a:cubicBezTo>
                <a:close/>
                <a:moveTo>
                  <a:pt x="95" y="917374"/>
                </a:moveTo>
                <a:cubicBezTo>
                  <a:pt x="95" y="934157"/>
                  <a:pt x="13801" y="947811"/>
                  <a:pt x="30648" y="947811"/>
                </a:cubicBezTo>
                <a:cubicBezTo>
                  <a:pt x="47495" y="947811"/>
                  <a:pt x="61200" y="934157"/>
                  <a:pt x="61200" y="917374"/>
                </a:cubicBezTo>
                <a:cubicBezTo>
                  <a:pt x="61200" y="900591"/>
                  <a:pt x="47495" y="886937"/>
                  <a:pt x="30648" y="886937"/>
                </a:cubicBezTo>
                <a:cubicBezTo>
                  <a:pt x="13801" y="886937"/>
                  <a:pt x="95" y="900591"/>
                  <a:pt x="95" y="917374"/>
                </a:cubicBezTo>
                <a:close/>
                <a:moveTo>
                  <a:pt x="593635" y="917374"/>
                </a:moveTo>
                <a:cubicBezTo>
                  <a:pt x="593635" y="934157"/>
                  <a:pt x="607341" y="947811"/>
                  <a:pt x="624188" y="947811"/>
                </a:cubicBezTo>
                <a:cubicBezTo>
                  <a:pt x="641035" y="947811"/>
                  <a:pt x="654740" y="934157"/>
                  <a:pt x="654740" y="917374"/>
                </a:cubicBezTo>
                <a:cubicBezTo>
                  <a:pt x="654740" y="900591"/>
                  <a:pt x="641035" y="886937"/>
                  <a:pt x="624188" y="886937"/>
                </a:cubicBezTo>
                <a:cubicBezTo>
                  <a:pt x="607341" y="886937"/>
                  <a:pt x="593635" y="900591"/>
                  <a:pt x="593635" y="917374"/>
                </a:cubicBezTo>
                <a:close/>
                <a:moveTo>
                  <a:pt x="712324" y="917374"/>
                </a:moveTo>
                <a:cubicBezTo>
                  <a:pt x="712324" y="934157"/>
                  <a:pt x="726030" y="947811"/>
                  <a:pt x="742877" y="947811"/>
                </a:cubicBezTo>
                <a:cubicBezTo>
                  <a:pt x="759724" y="947811"/>
                  <a:pt x="773429" y="934157"/>
                  <a:pt x="773429" y="917374"/>
                </a:cubicBezTo>
                <a:cubicBezTo>
                  <a:pt x="773429" y="900591"/>
                  <a:pt x="759724" y="886937"/>
                  <a:pt x="742877" y="886937"/>
                </a:cubicBezTo>
                <a:cubicBezTo>
                  <a:pt x="726030" y="886937"/>
                  <a:pt x="712324" y="900591"/>
                  <a:pt x="712324" y="917374"/>
                </a:cubicBezTo>
                <a:close/>
                <a:moveTo>
                  <a:pt x="771621" y="917374"/>
                </a:moveTo>
                <a:cubicBezTo>
                  <a:pt x="771621" y="934157"/>
                  <a:pt x="785327" y="947811"/>
                  <a:pt x="802174" y="947811"/>
                </a:cubicBezTo>
                <a:cubicBezTo>
                  <a:pt x="819021" y="947811"/>
                  <a:pt x="832726" y="934157"/>
                  <a:pt x="832726" y="917374"/>
                </a:cubicBezTo>
                <a:cubicBezTo>
                  <a:pt x="832726" y="900591"/>
                  <a:pt x="819021" y="886937"/>
                  <a:pt x="802174" y="886937"/>
                </a:cubicBezTo>
                <a:cubicBezTo>
                  <a:pt x="785327" y="886937"/>
                  <a:pt x="771621" y="900591"/>
                  <a:pt x="771621" y="917374"/>
                </a:cubicBezTo>
                <a:close/>
                <a:moveTo>
                  <a:pt x="890310" y="917374"/>
                </a:moveTo>
                <a:cubicBezTo>
                  <a:pt x="890310" y="934157"/>
                  <a:pt x="904016" y="947811"/>
                  <a:pt x="920863" y="947811"/>
                </a:cubicBezTo>
                <a:cubicBezTo>
                  <a:pt x="937709" y="947811"/>
                  <a:pt x="951415" y="934157"/>
                  <a:pt x="951415" y="917374"/>
                </a:cubicBezTo>
                <a:cubicBezTo>
                  <a:pt x="951415" y="900591"/>
                  <a:pt x="937709" y="886937"/>
                  <a:pt x="920863" y="886937"/>
                </a:cubicBezTo>
                <a:cubicBezTo>
                  <a:pt x="904016" y="886937"/>
                  <a:pt x="890310" y="900591"/>
                  <a:pt x="890310" y="917374"/>
                </a:cubicBezTo>
                <a:close/>
                <a:moveTo>
                  <a:pt x="949702" y="917374"/>
                </a:moveTo>
                <a:cubicBezTo>
                  <a:pt x="949702" y="934157"/>
                  <a:pt x="963408" y="947811"/>
                  <a:pt x="980255" y="947811"/>
                </a:cubicBezTo>
                <a:cubicBezTo>
                  <a:pt x="997101" y="947811"/>
                  <a:pt x="1010807" y="934157"/>
                  <a:pt x="1010807" y="917374"/>
                </a:cubicBezTo>
                <a:cubicBezTo>
                  <a:pt x="1010807" y="900591"/>
                  <a:pt x="997101" y="886937"/>
                  <a:pt x="980255" y="886937"/>
                </a:cubicBezTo>
                <a:cubicBezTo>
                  <a:pt x="963408" y="886937"/>
                  <a:pt x="949702" y="900591"/>
                  <a:pt x="949702" y="917374"/>
                </a:cubicBezTo>
                <a:close/>
                <a:moveTo>
                  <a:pt x="1127783" y="917374"/>
                </a:moveTo>
                <a:cubicBezTo>
                  <a:pt x="1127783" y="934157"/>
                  <a:pt x="1141489" y="947811"/>
                  <a:pt x="1158336" y="947811"/>
                </a:cubicBezTo>
                <a:cubicBezTo>
                  <a:pt x="1175183" y="947811"/>
                  <a:pt x="1188888" y="934157"/>
                  <a:pt x="1188888" y="917374"/>
                </a:cubicBezTo>
                <a:cubicBezTo>
                  <a:pt x="1188888" y="900591"/>
                  <a:pt x="1175183" y="886937"/>
                  <a:pt x="1158336" y="886937"/>
                </a:cubicBezTo>
                <a:cubicBezTo>
                  <a:pt x="1141489" y="886937"/>
                  <a:pt x="1127783" y="900591"/>
                  <a:pt x="1127783" y="917374"/>
                </a:cubicBezTo>
                <a:close/>
                <a:moveTo>
                  <a:pt x="1187080" y="917374"/>
                </a:moveTo>
                <a:cubicBezTo>
                  <a:pt x="1187080" y="934157"/>
                  <a:pt x="1200786" y="947811"/>
                  <a:pt x="1217633" y="947811"/>
                </a:cubicBezTo>
                <a:cubicBezTo>
                  <a:pt x="1234479" y="947811"/>
                  <a:pt x="1248185" y="934157"/>
                  <a:pt x="1248185" y="917374"/>
                </a:cubicBezTo>
                <a:cubicBezTo>
                  <a:pt x="1248185" y="900591"/>
                  <a:pt x="1234479" y="886937"/>
                  <a:pt x="1217633" y="886937"/>
                </a:cubicBezTo>
                <a:cubicBezTo>
                  <a:pt x="1200786" y="886937"/>
                  <a:pt x="1187080" y="900591"/>
                  <a:pt x="1187080" y="917374"/>
                </a:cubicBezTo>
                <a:close/>
                <a:moveTo>
                  <a:pt x="1424553" y="917374"/>
                </a:moveTo>
                <a:cubicBezTo>
                  <a:pt x="1424553" y="934157"/>
                  <a:pt x="1438259" y="947811"/>
                  <a:pt x="1455106" y="947811"/>
                </a:cubicBezTo>
                <a:cubicBezTo>
                  <a:pt x="1471953" y="947811"/>
                  <a:pt x="1485658" y="934157"/>
                  <a:pt x="1485658" y="917374"/>
                </a:cubicBezTo>
                <a:cubicBezTo>
                  <a:pt x="1485658" y="900591"/>
                  <a:pt x="1471953" y="886937"/>
                  <a:pt x="1455106" y="886937"/>
                </a:cubicBezTo>
                <a:cubicBezTo>
                  <a:pt x="1438259" y="886937"/>
                  <a:pt x="1424553" y="900591"/>
                  <a:pt x="1424553" y="917374"/>
                </a:cubicBezTo>
                <a:close/>
                <a:moveTo>
                  <a:pt x="95" y="976446"/>
                </a:moveTo>
                <a:cubicBezTo>
                  <a:pt x="95" y="993229"/>
                  <a:pt x="13801" y="1006883"/>
                  <a:pt x="30648" y="1006883"/>
                </a:cubicBezTo>
                <a:cubicBezTo>
                  <a:pt x="47495" y="1006883"/>
                  <a:pt x="61200" y="993229"/>
                  <a:pt x="61200" y="976446"/>
                </a:cubicBezTo>
                <a:cubicBezTo>
                  <a:pt x="61200" y="959663"/>
                  <a:pt x="47495" y="946009"/>
                  <a:pt x="30648" y="946009"/>
                </a:cubicBezTo>
                <a:cubicBezTo>
                  <a:pt x="13801" y="946009"/>
                  <a:pt x="95" y="959663"/>
                  <a:pt x="95" y="976446"/>
                </a:cubicBezTo>
                <a:close/>
                <a:moveTo>
                  <a:pt x="178081" y="976446"/>
                </a:moveTo>
                <a:cubicBezTo>
                  <a:pt x="178081" y="993229"/>
                  <a:pt x="191787" y="1006883"/>
                  <a:pt x="208634" y="1006883"/>
                </a:cubicBezTo>
                <a:cubicBezTo>
                  <a:pt x="225480" y="1006883"/>
                  <a:pt x="239186" y="993229"/>
                  <a:pt x="239186" y="976446"/>
                </a:cubicBezTo>
                <a:cubicBezTo>
                  <a:pt x="239186" y="959663"/>
                  <a:pt x="225480" y="946009"/>
                  <a:pt x="208634" y="946009"/>
                </a:cubicBezTo>
                <a:cubicBezTo>
                  <a:pt x="191787" y="946009"/>
                  <a:pt x="178081" y="959663"/>
                  <a:pt x="178081" y="976446"/>
                </a:cubicBezTo>
                <a:close/>
                <a:moveTo>
                  <a:pt x="356162" y="976446"/>
                </a:moveTo>
                <a:cubicBezTo>
                  <a:pt x="356162" y="993229"/>
                  <a:pt x="369868" y="1006883"/>
                  <a:pt x="386715" y="1006883"/>
                </a:cubicBezTo>
                <a:cubicBezTo>
                  <a:pt x="403562" y="1006883"/>
                  <a:pt x="417267" y="993229"/>
                  <a:pt x="417267" y="976446"/>
                </a:cubicBezTo>
                <a:cubicBezTo>
                  <a:pt x="417267" y="959663"/>
                  <a:pt x="403562" y="946009"/>
                  <a:pt x="386715" y="946009"/>
                </a:cubicBezTo>
                <a:cubicBezTo>
                  <a:pt x="369868" y="946009"/>
                  <a:pt x="356162" y="959663"/>
                  <a:pt x="356162" y="976446"/>
                </a:cubicBezTo>
                <a:close/>
                <a:moveTo>
                  <a:pt x="415554" y="976446"/>
                </a:moveTo>
                <a:cubicBezTo>
                  <a:pt x="415554" y="993229"/>
                  <a:pt x="429260" y="1006883"/>
                  <a:pt x="446107" y="1006883"/>
                </a:cubicBezTo>
                <a:cubicBezTo>
                  <a:pt x="462954" y="1006883"/>
                  <a:pt x="476659" y="993229"/>
                  <a:pt x="476659" y="976446"/>
                </a:cubicBezTo>
                <a:cubicBezTo>
                  <a:pt x="476659" y="959663"/>
                  <a:pt x="462954" y="946009"/>
                  <a:pt x="446107" y="946009"/>
                </a:cubicBezTo>
                <a:cubicBezTo>
                  <a:pt x="429260" y="946009"/>
                  <a:pt x="415554" y="959663"/>
                  <a:pt x="415554" y="976446"/>
                </a:cubicBezTo>
                <a:close/>
                <a:moveTo>
                  <a:pt x="534243" y="976446"/>
                </a:moveTo>
                <a:cubicBezTo>
                  <a:pt x="534243" y="993229"/>
                  <a:pt x="547949" y="1006883"/>
                  <a:pt x="564796" y="1006883"/>
                </a:cubicBezTo>
                <a:cubicBezTo>
                  <a:pt x="581643" y="1006883"/>
                  <a:pt x="595348" y="993229"/>
                  <a:pt x="595348" y="976446"/>
                </a:cubicBezTo>
                <a:cubicBezTo>
                  <a:pt x="595348" y="959663"/>
                  <a:pt x="581643" y="946009"/>
                  <a:pt x="564796" y="946009"/>
                </a:cubicBezTo>
                <a:cubicBezTo>
                  <a:pt x="547949" y="946009"/>
                  <a:pt x="534243" y="959663"/>
                  <a:pt x="534243" y="976446"/>
                </a:cubicBezTo>
                <a:close/>
                <a:moveTo>
                  <a:pt x="593635" y="976446"/>
                </a:moveTo>
                <a:cubicBezTo>
                  <a:pt x="593635" y="993229"/>
                  <a:pt x="607341" y="1006883"/>
                  <a:pt x="624188" y="1006883"/>
                </a:cubicBezTo>
                <a:cubicBezTo>
                  <a:pt x="641035" y="1006883"/>
                  <a:pt x="654740" y="993229"/>
                  <a:pt x="654740" y="976446"/>
                </a:cubicBezTo>
                <a:cubicBezTo>
                  <a:pt x="654740" y="959663"/>
                  <a:pt x="641035" y="946009"/>
                  <a:pt x="624188" y="946009"/>
                </a:cubicBezTo>
                <a:cubicBezTo>
                  <a:pt x="607341" y="946009"/>
                  <a:pt x="593635" y="959663"/>
                  <a:pt x="593635" y="976446"/>
                </a:cubicBezTo>
                <a:close/>
                <a:moveTo>
                  <a:pt x="712324" y="976446"/>
                </a:moveTo>
                <a:cubicBezTo>
                  <a:pt x="712324" y="993229"/>
                  <a:pt x="726030" y="1006883"/>
                  <a:pt x="742877" y="1006883"/>
                </a:cubicBezTo>
                <a:cubicBezTo>
                  <a:pt x="759724" y="1006883"/>
                  <a:pt x="773429" y="993229"/>
                  <a:pt x="773429" y="976446"/>
                </a:cubicBezTo>
                <a:cubicBezTo>
                  <a:pt x="773429" y="959663"/>
                  <a:pt x="759724" y="946009"/>
                  <a:pt x="742877" y="946009"/>
                </a:cubicBezTo>
                <a:cubicBezTo>
                  <a:pt x="726030" y="946009"/>
                  <a:pt x="712324" y="959663"/>
                  <a:pt x="712324" y="976446"/>
                </a:cubicBezTo>
                <a:close/>
                <a:moveTo>
                  <a:pt x="831013" y="976446"/>
                </a:moveTo>
                <a:cubicBezTo>
                  <a:pt x="831013" y="993229"/>
                  <a:pt x="844719" y="1006883"/>
                  <a:pt x="861566" y="1006883"/>
                </a:cubicBezTo>
                <a:cubicBezTo>
                  <a:pt x="878413" y="1006883"/>
                  <a:pt x="892118" y="993229"/>
                  <a:pt x="892118" y="976446"/>
                </a:cubicBezTo>
                <a:cubicBezTo>
                  <a:pt x="892118" y="959663"/>
                  <a:pt x="878413" y="946009"/>
                  <a:pt x="861566" y="946009"/>
                </a:cubicBezTo>
                <a:cubicBezTo>
                  <a:pt x="844719" y="946009"/>
                  <a:pt x="831013" y="959663"/>
                  <a:pt x="831013" y="976446"/>
                </a:cubicBezTo>
                <a:close/>
                <a:moveTo>
                  <a:pt x="890310" y="976446"/>
                </a:moveTo>
                <a:cubicBezTo>
                  <a:pt x="890310" y="993229"/>
                  <a:pt x="904016" y="1006883"/>
                  <a:pt x="920863" y="1006883"/>
                </a:cubicBezTo>
                <a:cubicBezTo>
                  <a:pt x="937709" y="1006883"/>
                  <a:pt x="951415" y="993229"/>
                  <a:pt x="951415" y="976446"/>
                </a:cubicBezTo>
                <a:cubicBezTo>
                  <a:pt x="951415" y="959663"/>
                  <a:pt x="937709" y="946009"/>
                  <a:pt x="920863" y="946009"/>
                </a:cubicBezTo>
                <a:cubicBezTo>
                  <a:pt x="904016" y="946009"/>
                  <a:pt x="890310" y="959663"/>
                  <a:pt x="890310" y="976446"/>
                </a:cubicBezTo>
                <a:close/>
                <a:moveTo>
                  <a:pt x="949702" y="976446"/>
                </a:moveTo>
                <a:cubicBezTo>
                  <a:pt x="949702" y="993229"/>
                  <a:pt x="963408" y="1006883"/>
                  <a:pt x="980255" y="1006883"/>
                </a:cubicBezTo>
                <a:cubicBezTo>
                  <a:pt x="997101" y="1006883"/>
                  <a:pt x="1010807" y="993229"/>
                  <a:pt x="1010807" y="976446"/>
                </a:cubicBezTo>
                <a:cubicBezTo>
                  <a:pt x="1010807" y="959663"/>
                  <a:pt x="997101" y="946009"/>
                  <a:pt x="980255" y="946009"/>
                </a:cubicBezTo>
                <a:cubicBezTo>
                  <a:pt x="963408" y="946009"/>
                  <a:pt x="949702" y="959663"/>
                  <a:pt x="949702" y="976446"/>
                </a:cubicBezTo>
                <a:close/>
                <a:moveTo>
                  <a:pt x="1009094" y="976446"/>
                </a:moveTo>
                <a:cubicBezTo>
                  <a:pt x="1009094" y="993229"/>
                  <a:pt x="1022800" y="1006883"/>
                  <a:pt x="1039647" y="1006883"/>
                </a:cubicBezTo>
                <a:cubicBezTo>
                  <a:pt x="1056494" y="1006883"/>
                  <a:pt x="1070199" y="993229"/>
                  <a:pt x="1070199" y="976446"/>
                </a:cubicBezTo>
                <a:cubicBezTo>
                  <a:pt x="1070199" y="959663"/>
                  <a:pt x="1056494" y="946009"/>
                  <a:pt x="1039647" y="946009"/>
                </a:cubicBezTo>
                <a:cubicBezTo>
                  <a:pt x="1022800" y="946009"/>
                  <a:pt x="1009094" y="959663"/>
                  <a:pt x="1009094" y="976446"/>
                </a:cubicBezTo>
                <a:close/>
                <a:moveTo>
                  <a:pt x="1068391" y="976446"/>
                </a:moveTo>
                <a:cubicBezTo>
                  <a:pt x="1068391" y="993229"/>
                  <a:pt x="1082097" y="1006883"/>
                  <a:pt x="1098944" y="1006883"/>
                </a:cubicBezTo>
                <a:cubicBezTo>
                  <a:pt x="1115790" y="1006883"/>
                  <a:pt x="1129496" y="993229"/>
                  <a:pt x="1129496" y="976446"/>
                </a:cubicBezTo>
                <a:cubicBezTo>
                  <a:pt x="1129496" y="959663"/>
                  <a:pt x="1115790" y="946009"/>
                  <a:pt x="1098944" y="946009"/>
                </a:cubicBezTo>
                <a:cubicBezTo>
                  <a:pt x="1082097" y="946009"/>
                  <a:pt x="1068391" y="959663"/>
                  <a:pt x="1068391" y="976446"/>
                </a:cubicBezTo>
                <a:close/>
                <a:moveTo>
                  <a:pt x="1127783" y="976446"/>
                </a:moveTo>
                <a:cubicBezTo>
                  <a:pt x="1127783" y="993229"/>
                  <a:pt x="1141489" y="1006883"/>
                  <a:pt x="1158336" y="1006883"/>
                </a:cubicBezTo>
                <a:cubicBezTo>
                  <a:pt x="1175183" y="1006883"/>
                  <a:pt x="1188888" y="993229"/>
                  <a:pt x="1188888" y="976446"/>
                </a:cubicBezTo>
                <a:cubicBezTo>
                  <a:pt x="1188888" y="959663"/>
                  <a:pt x="1175183" y="946009"/>
                  <a:pt x="1158336" y="946009"/>
                </a:cubicBezTo>
                <a:cubicBezTo>
                  <a:pt x="1141489" y="946009"/>
                  <a:pt x="1127783" y="959663"/>
                  <a:pt x="1127783" y="976446"/>
                </a:cubicBezTo>
                <a:close/>
                <a:moveTo>
                  <a:pt x="1187080" y="976446"/>
                </a:moveTo>
                <a:cubicBezTo>
                  <a:pt x="1187080" y="993229"/>
                  <a:pt x="1200786" y="1006883"/>
                  <a:pt x="1217633" y="1006883"/>
                </a:cubicBezTo>
                <a:cubicBezTo>
                  <a:pt x="1234479" y="1006883"/>
                  <a:pt x="1248185" y="993229"/>
                  <a:pt x="1248185" y="976446"/>
                </a:cubicBezTo>
                <a:cubicBezTo>
                  <a:pt x="1248185" y="959663"/>
                  <a:pt x="1234479" y="946009"/>
                  <a:pt x="1217633" y="946009"/>
                </a:cubicBezTo>
                <a:cubicBezTo>
                  <a:pt x="1200786" y="946009"/>
                  <a:pt x="1187080" y="959663"/>
                  <a:pt x="1187080" y="976446"/>
                </a:cubicBezTo>
                <a:close/>
                <a:moveTo>
                  <a:pt x="1305769" y="976446"/>
                </a:moveTo>
                <a:cubicBezTo>
                  <a:pt x="1305769" y="993229"/>
                  <a:pt x="1319475" y="1006883"/>
                  <a:pt x="1336322" y="1006883"/>
                </a:cubicBezTo>
                <a:cubicBezTo>
                  <a:pt x="1353168" y="1006883"/>
                  <a:pt x="1366874" y="993229"/>
                  <a:pt x="1366874" y="976446"/>
                </a:cubicBezTo>
                <a:cubicBezTo>
                  <a:pt x="1366874" y="959663"/>
                  <a:pt x="1353168" y="946009"/>
                  <a:pt x="1336322" y="946009"/>
                </a:cubicBezTo>
                <a:cubicBezTo>
                  <a:pt x="1319475" y="946009"/>
                  <a:pt x="1305769" y="959663"/>
                  <a:pt x="1305769" y="976446"/>
                </a:cubicBezTo>
                <a:close/>
                <a:moveTo>
                  <a:pt x="474851" y="1035613"/>
                </a:moveTo>
                <a:cubicBezTo>
                  <a:pt x="474851" y="1052396"/>
                  <a:pt x="488557" y="1066050"/>
                  <a:pt x="505404" y="1066050"/>
                </a:cubicBezTo>
                <a:cubicBezTo>
                  <a:pt x="522250" y="1066050"/>
                  <a:pt x="535956" y="1052396"/>
                  <a:pt x="535956" y="1035613"/>
                </a:cubicBezTo>
                <a:cubicBezTo>
                  <a:pt x="535956" y="1018830"/>
                  <a:pt x="522250" y="1005176"/>
                  <a:pt x="505404" y="1005176"/>
                </a:cubicBezTo>
                <a:cubicBezTo>
                  <a:pt x="488557" y="1005176"/>
                  <a:pt x="474851" y="1018830"/>
                  <a:pt x="474851" y="1035613"/>
                </a:cubicBezTo>
                <a:close/>
                <a:moveTo>
                  <a:pt x="534243" y="1035613"/>
                </a:moveTo>
                <a:cubicBezTo>
                  <a:pt x="534243" y="1052396"/>
                  <a:pt x="547949" y="1066050"/>
                  <a:pt x="564796" y="1066050"/>
                </a:cubicBezTo>
                <a:cubicBezTo>
                  <a:pt x="581643" y="1066050"/>
                  <a:pt x="595348" y="1052396"/>
                  <a:pt x="595348" y="1035613"/>
                </a:cubicBezTo>
                <a:cubicBezTo>
                  <a:pt x="595348" y="1018830"/>
                  <a:pt x="581643" y="1005176"/>
                  <a:pt x="564796" y="1005176"/>
                </a:cubicBezTo>
                <a:cubicBezTo>
                  <a:pt x="547949" y="1005176"/>
                  <a:pt x="534243" y="1018830"/>
                  <a:pt x="534243" y="1035613"/>
                </a:cubicBezTo>
                <a:close/>
                <a:moveTo>
                  <a:pt x="593635" y="1035613"/>
                </a:moveTo>
                <a:cubicBezTo>
                  <a:pt x="593635" y="1052396"/>
                  <a:pt x="607341" y="1066050"/>
                  <a:pt x="624188" y="1066050"/>
                </a:cubicBezTo>
                <a:cubicBezTo>
                  <a:pt x="641035" y="1066050"/>
                  <a:pt x="654740" y="1052396"/>
                  <a:pt x="654740" y="1035613"/>
                </a:cubicBezTo>
                <a:cubicBezTo>
                  <a:pt x="654740" y="1018830"/>
                  <a:pt x="641035" y="1005176"/>
                  <a:pt x="624188" y="1005176"/>
                </a:cubicBezTo>
                <a:cubicBezTo>
                  <a:pt x="607341" y="1005176"/>
                  <a:pt x="593635" y="1018830"/>
                  <a:pt x="593635" y="1035613"/>
                </a:cubicBezTo>
                <a:close/>
                <a:moveTo>
                  <a:pt x="890310" y="1035613"/>
                </a:moveTo>
                <a:cubicBezTo>
                  <a:pt x="890310" y="1052396"/>
                  <a:pt x="904016" y="1066050"/>
                  <a:pt x="920863" y="1066050"/>
                </a:cubicBezTo>
                <a:cubicBezTo>
                  <a:pt x="937709" y="1066050"/>
                  <a:pt x="951415" y="1052396"/>
                  <a:pt x="951415" y="1035613"/>
                </a:cubicBezTo>
                <a:cubicBezTo>
                  <a:pt x="951415" y="1018830"/>
                  <a:pt x="937709" y="1005176"/>
                  <a:pt x="920863" y="1005176"/>
                </a:cubicBezTo>
                <a:cubicBezTo>
                  <a:pt x="904016" y="1005176"/>
                  <a:pt x="890310" y="1018830"/>
                  <a:pt x="890310" y="1035613"/>
                </a:cubicBezTo>
                <a:close/>
                <a:moveTo>
                  <a:pt x="949702" y="1035613"/>
                </a:moveTo>
                <a:cubicBezTo>
                  <a:pt x="949702" y="1052396"/>
                  <a:pt x="963408" y="1066050"/>
                  <a:pt x="980255" y="1066050"/>
                </a:cubicBezTo>
                <a:cubicBezTo>
                  <a:pt x="997101" y="1066050"/>
                  <a:pt x="1010807" y="1052396"/>
                  <a:pt x="1010807" y="1035613"/>
                </a:cubicBezTo>
                <a:cubicBezTo>
                  <a:pt x="1010807" y="1018830"/>
                  <a:pt x="997101" y="1005176"/>
                  <a:pt x="980255" y="1005176"/>
                </a:cubicBezTo>
                <a:cubicBezTo>
                  <a:pt x="963408" y="1005176"/>
                  <a:pt x="949702" y="1018830"/>
                  <a:pt x="949702" y="1035613"/>
                </a:cubicBezTo>
                <a:close/>
                <a:moveTo>
                  <a:pt x="1187080" y="1035613"/>
                </a:moveTo>
                <a:cubicBezTo>
                  <a:pt x="1187080" y="1052396"/>
                  <a:pt x="1200786" y="1066050"/>
                  <a:pt x="1217633" y="1066050"/>
                </a:cubicBezTo>
                <a:cubicBezTo>
                  <a:pt x="1234479" y="1066050"/>
                  <a:pt x="1248185" y="1052396"/>
                  <a:pt x="1248185" y="1035613"/>
                </a:cubicBezTo>
                <a:cubicBezTo>
                  <a:pt x="1248185" y="1018830"/>
                  <a:pt x="1234479" y="1005176"/>
                  <a:pt x="1217633" y="1005176"/>
                </a:cubicBezTo>
                <a:cubicBezTo>
                  <a:pt x="1200786" y="1005176"/>
                  <a:pt x="1187080" y="1018830"/>
                  <a:pt x="1187080" y="1035613"/>
                </a:cubicBezTo>
                <a:close/>
                <a:moveTo>
                  <a:pt x="1246472" y="1035613"/>
                </a:moveTo>
                <a:cubicBezTo>
                  <a:pt x="1246472" y="1052396"/>
                  <a:pt x="1260178" y="1066050"/>
                  <a:pt x="1277025" y="1066050"/>
                </a:cubicBezTo>
                <a:cubicBezTo>
                  <a:pt x="1293872" y="1066050"/>
                  <a:pt x="1307577" y="1052396"/>
                  <a:pt x="1307577" y="1035613"/>
                </a:cubicBezTo>
                <a:cubicBezTo>
                  <a:pt x="1307577" y="1018830"/>
                  <a:pt x="1293872" y="1005176"/>
                  <a:pt x="1277025" y="1005176"/>
                </a:cubicBezTo>
                <a:cubicBezTo>
                  <a:pt x="1260178" y="1005176"/>
                  <a:pt x="1246472" y="1018830"/>
                  <a:pt x="1246472" y="1035613"/>
                </a:cubicBezTo>
                <a:close/>
                <a:moveTo>
                  <a:pt x="652932" y="1094685"/>
                </a:moveTo>
                <a:cubicBezTo>
                  <a:pt x="652932" y="1111468"/>
                  <a:pt x="666638" y="1125122"/>
                  <a:pt x="683485" y="1125122"/>
                </a:cubicBezTo>
                <a:cubicBezTo>
                  <a:pt x="700332" y="1125122"/>
                  <a:pt x="714037" y="1111468"/>
                  <a:pt x="714037" y="1094685"/>
                </a:cubicBezTo>
                <a:cubicBezTo>
                  <a:pt x="714037" y="1077902"/>
                  <a:pt x="700332" y="1064249"/>
                  <a:pt x="683485" y="1064249"/>
                </a:cubicBezTo>
                <a:cubicBezTo>
                  <a:pt x="666638" y="1064249"/>
                  <a:pt x="652932" y="1077902"/>
                  <a:pt x="652932" y="1094685"/>
                </a:cubicBezTo>
                <a:close/>
                <a:moveTo>
                  <a:pt x="712324" y="1094685"/>
                </a:moveTo>
                <a:cubicBezTo>
                  <a:pt x="712324" y="1111468"/>
                  <a:pt x="726030" y="1125122"/>
                  <a:pt x="742877" y="1125122"/>
                </a:cubicBezTo>
                <a:cubicBezTo>
                  <a:pt x="759724" y="1125122"/>
                  <a:pt x="773429" y="1111468"/>
                  <a:pt x="773429" y="1094685"/>
                </a:cubicBezTo>
                <a:cubicBezTo>
                  <a:pt x="773429" y="1077902"/>
                  <a:pt x="759724" y="1064249"/>
                  <a:pt x="742877" y="1064249"/>
                </a:cubicBezTo>
                <a:cubicBezTo>
                  <a:pt x="726030" y="1064249"/>
                  <a:pt x="712324" y="1077902"/>
                  <a:pt x="712324" y="1094685"/>
                </a:cubicBezTo>
                <a:close/>
                <a:moveTo>
                  <a:pt x="949702" y="1094685"/>
                </a:moveTo>
                <a:cubicBezTo>
                  <a:pt x="949702" y="1111468"/>
                  <a:pt x="963408" y="1125122"/>
                  <a:pt x="980255" y="1125122"/>
                </a:cubicBezTo>
                <a:cubicBezTo>
                  <a:pt x="997101" y="1125122"/>
                  <a:pt x="1010807" y="1111468"/>
                  <a:pt x="1010807" y="1094685"/>
                </a:cubicBezTo>
                <a:cubicBezTo>
                  <a:pt x="1010807" y="1077902"/>
                  <a:pt x="997101" y="1064249"/>
                  <a:pt x="980255" y="1064249"/>
                </a:cubicBezTo>
                <a:cubicBezTo>
                  <a:pt x="963408" y="1064249"/>
                  <a:pt x="949702" y="1077902"/>
                  <a:pt x="949702" y="1094685"/>
                </a:cubicBezTo>
                <a:close/>
                <a:moveTo>
                  <a:pt x="1068391" y="1094685"/>
                </a:moveTo>
                <a:cubicBezTo>
                  <a:pt x="1068391" y="1111468"/>
                  <a:pt x="1082097" y="1125122"/>
                  <a:pt x="1098944" y="1125122"/>
                </a:cubicBezTo>
                <a:cubicBezTo>
                  <a:pt x="1115790" y="1125122"/>
                  <a:pt x="1129496" y="1111468"/>
                  <a:pt x="1129496" y="1094685"/>
                </a:cubicBezTo>
                <a:cubicBezTo>
                  <a:pt x="1129496" y="1077902"/>
                  <a:pt x="1115790" y="1064249"/>
                  <a:pt x="1098944" y="1064249"/>
                </a:cubicBezTo>
                <a:cubicBezTo>
                  <a:pt x="1082097" y="1064249"/>
                  <a:pt x="1068391" y="1077902"/>
                  <a:pt x="1068391" y="1094685"/>
                </a:cubicBezTo>
                <a:close/>
                <a:moveTo>
                  <a:pt x="1187080" y="1094685"/>
                </a:moveTo>
                <a:cubicBezTo>
                  <a:pt x="1187080" y="1111468"/>
                  <a:pt x="1200786" y="1125122"/>
                  <a:pt x="1217633" y="1125122"/>
                </a:cubicBezTo>
                <a:cubicBezTo>
                  <a:pt x="1234479" y="1125122"/>
                  <a:pt x="1248185" y="1111468"/>
                  <a:pt x="1248185" y="1094685"/>
                </a:cubicBezTo>
                <a:cubicBezTo>
                  <a:pt x="1248185" y="1077902"/>
                  <a:pt x="1234479" y="1064249"/>
                  <a:pt x="1217633" y="1064249"/>
                </a:cubicBezTo>
                <a:cubicBezTo>
                  <a:pt x="1200786" y="1064249"/>
                  <a:pt x="1187080" y="1077902"/>
                  <a:pt x="1187080" y="1094685"/>
                </a:cubicBezTo>
                <a:close/>
                <a:moveTo>
                  <a:pt x="1305769" y="1094685"/>
                </a:moveTo>
                <a:cubicBezTo>
                  <a:pt x="1305769" y="1111468"/>
                  <a:pt x="1319475" y="1125122"/>
                  <a:pt x="1336322" y="1125122"/>
                </a:cubicBezTo>
                <a:cubicBezTo>
                  <a:pt x="1353168" y="1125122"/>
                  <a:pt x="1366874" y="1111468"/>
                  <a:pt x="1366874" y="1094685"/>
                </a:cubicBezTo>
                <a:cubicBezTo>
                  <a:pt x="1366874" y="1077902"/>
                  <a:pt x="1353168" y="1064249"/>
                  <a:pt x="1336322" y="1064249"/>
                </a:cubicBezTo>
                <a:cubicBezTo>
                  <a:pt x="1319475" y="1064249"/>
                  <a:pt x="1305769" y="1077902"/>
                  <a:pt x="1305769" y="1094685"/>
                </a:cubicBezTo>
                <a:close/>
                <a:moveTo>
                  <a:pt x="1365161" y="1094685"/>
                </a:moveTo>
                <a:cubicBezTo>
                  <a:pt x="1365161" y="1111468"/>
                  <a:pt x="1378867" y="1125122"/>
                  <a:pt x="1395714" y="1125122"/>
                </a:cubicBezTo>
                <a:cubicBezTo>
                  <a:pt x="1412561" y="1125122"/>
                  <a:pt x="1426266" y="1111468"/>
                  <a:pt x="1426266" y="1094685"/>
                </a:cubicBezTo>
                <a:cubicBezTo>
                  <a:pt x="1426266" y="1077902"/>
                  <a:pt x="1412561" y="1064249"/>
                  <a:pt x="1395714" y="1064249"/>
                </a:cubicBezTo>
                <a:cubicBezTo>
                  <a:pt x="1378867" y="1064249"/>
                  <a:pt x="1365161" y="1077902"/>
                  <a:pt x="1365161" y="1094685"/>
                </a:cubicBezTo>
                <a:close/>
                <a:moveTo>
                  <a:pt x="1424553" y="1094685"/>
                </a:moveTo>
                <a:cubicBezTo>
                  <a:pt x="1424553" y="1111468"/>
                  <a:pt x="1438259" y="1125122"/>
                  <a:pt x="1455106" y="1125122"/>
                </a:cubicBezTo>
                <a:cubicBezTo>
                  <a:pt x="1471953" y="1125122"/>
                  <a:pt x="1485658" y="1111468"/>
                  <a:pt x="1485658" y="1094685"/>
                </a:cubicBezTo>
                <a:cubicBezTo>
                  <a:pt x="1485658" y="1077902"/>
                  <a:pt x="1471953" y="1064249"/>
                  <a:pt x="1455106" y="1064249"/>
                </a:cubicBezTo>
                <a:cubicBezTo>
                  <a:pt x="1438259" y="1064249"/>
                  <a:pt x="1424553" y="1077902"/>
                  <a:pt x="1424553" y="1094685"/>
                </a:cubicBezTo>
                <a:close/>
                <a:moveTo>
                  <a:pt x="474851" y="1153853"/>
                </a:moveTo>
                <a:cubicBezTo>
                  <a:pt x="474851" y="1170635"/>
                  <a:pt x="488557" y="1184289"/>
                  <a:pt x="505404" y="1184289"/>
                </a:cubicBezTo>
                <a:cubicBezTo>
                  <a:pt x="522250" y="1184289"/>
                  <a:pt x="535956" y="1170635"/>
                  <a:pt x="535956" y="1153853"/>
                </a:cubicBezTo>
                <a:cubicBezTo>
                  <a:pt x="535956" y="1137070"/>
                  <a:pt x="522250" y="1123416"/>
                  <a:pt x="505404" y="1123416"/>
                </a:cubicBezTo>
                <a:cubicBezTo>
                  <a:pt x="488557" y="1123416"/>
                  <a:pt x="474851" y="1137070"/>
                  <a:pt x="474851" y="1153853"/>
                </a:cubicBezTo>
                <a:close/>
                <a:moveTo>
                  <a:pt x="593635" y="1153853"/>
                </a:moveTo>
                <a:cubicBezTo>
                  <a:pt x="593635" y="1170635"/>
                  <a:pt x="607341" y="1184289"/>
                  <a:pt x="624188" y="1184289"/>
                </a:cubicBezTo>
                <a:cubicBezTo>
                  <a:pt x="641035" y="1184289"/>
                  <a:pt x="654740" y="1170635"/>
                  <a:pt x="654740" y="1153853"/>
                </a:cubicBezTo>
                <a:cubicBezTo>
                  <a:pt x="654740" y="1137070"/>
                  <a:pt x="641035" y="1123416"/>
                  <a:pt x="624188" y="1123416"/>
                </a:cubicBezTo>
                <a:cubicBezTo>
                  <a:pt x="607341" y="1123416"/>
                  <a:pt x="593635" y="1137070"/>
                  <a:pt x="593635" y="1153853"/>
                </a:cubicBezTo>
                <a:close/>
                <a:moveTo>
                  <a:pt x="652932" y="1153853"/>
                </a:moveTo>
                <a:cubicBezTo>
                  <a:pt x="652932" y="1170635"/>
                  <a:pt x="666638" y="1184289"/>
                  <a:pt x="683485" y="1184289"/>
                </a:cubicBezTo>
                <a:cubicBezTo>
                  <a:pt x="700332" y="1184289"/>
                  <a:pt x="714037" y="1170635"/>
                  <a:pt x="714037" y="1153853"/>
                </a:cubicBezTo>
                <a:cubicBezTo>
                  <a:pt x="714037" y="1137070"/>
                  <a:pt x="700332" y="1123416"/>
                  <a:pt x="683485" y="1123416"/>
                </a:cubicBezTo>
                <a:cubicBezTo>
                  <a:pt x="666638" y="1123416"/>
                  <a:pt x="652932" y="1137070"/>
                  <a:pt x="652932" y="1153853"/>
                </a:cubicBezTo>
                <a:close/>
                <a:moveTo>
                  <a:pt x="831013" y="1153853"/>
                </a:moveTo>
                <a:cubicBezTo>
                  <a:pt x="831013" y="1170635"/>
                  <a:pt x="844719" y="1184289"/>
                  <a:pt x="861566" y="1184289"/>
                </a:cubicBezTo>
                <a:cubicBezTo>
                  <a:pt x="878413" y="1184289"/>
                  <a:pt x="892118" y="1170635"/>
                  <a:pt x="892118" y="1153853"/>
                </a:cubicBezTo>
                <a:cubicBezTo>
                  <a:pt x="892118" y="1137070"/>
                  <a:pt x="878413" y="1123416"/>
                  <a:pt x="861566" y="1123416"/>
                </a:cubicBezTo>
                <a:cubicBezTo>
                  <a:pt x="844719" y="1123416"/>
                  <a:pt x="831013" y="1137070"/>
                  <a:pt x="831013" y="1153853"/>
                </a:cubicBezTo>
                <a:close/>
                <a:moveTo>
                  <a:pt x="949702" y="1153853"/>
                </a:moveTo>
                <a:cubicBezTo>
                  <a:pt x="949702" y="1170635"/>
                  <a:pt x="963408" y="1184289"/>
                  <a:pt x="980255" y="1184289"/>
                </a:cubicBezTo>
                <a:cubicBezTo>
                  <a:pt x="997101" y="1184289"/>
                  <a:pt x="1010807" y="1170635"/>
                  <a:pt x="1010807" y="1153853"/>
                </a:cubicBezTo>
                <a:cubicBezTo>
                  <a:pt x="1010807" y="1137070"/>
                  <a:pt x="997101" y="1123416"/>
                  <a:pt x="980255" y="1123416"/>
                </a:cubicBezTo>
                <a:cubicBezTo>
                  <a:pt x="963408" y="1123416"/>
                  <a:pt x="949702" y="1137070"/>
                  <a:pt x="949702" y="1153853"/>
                </a:cubicBezTo>
                <a:close/>
                <a:moveTo>
                  <a:pt x="1187080" y="1153853"/>
                </a:moveTo>
                <a:cubicBezTo>
                  <a:pt x="1187080" y="1170635"/>
                  <a:pt x="1200786" y="1184289"/>
                  <a:pt x="1217633" y="1184289"/>
                </a:cubicBezTo>
                <a:cubicBezTo>
                  <a:pt x="1234479" y="1184289"/>
                  <a:pt x="1248185" y="1170635"/>
                  <a:pt x="1248185" y="1153853"/>
                </a:cubicBezTo>
                <a:cubicBezTo>
                  <a:pt x="1248185" y="1137070"/>
                  <a:pt x="1234479" y="1123416"/>
                  <a:pt x="1217633" y="1123416"/>
                </a:cubicBezTo>
                <a:cubicBezTo>
                  <a:pt x="1200786" y="1123416"/>
                  <a:pt x="1187080" y="1137070"/>
                  <a:pt x="1187080" y="1153853"/>
                </a:cubicBezTo>
                <a:close/>
                <a:moveTo>
                  <a:pt x="1246472" y="1153853"/>
                </a:moveTo>
                <a:cubicBezTo>
                  <a:pt x="1246472" y="1170635"/>
                  <a:pt x="1260178" y="1184289"/>
                  <a:pt x="1277025" y="1184289"/>
                </a:cubicBezTo>
                <a:cubicBezTo>
                  <a:pt x="1293872" y="1184289"/>
                  <a:pt x="1307577" y="1170635"/>
                  <a:pt x="1307577" y="1153853"/>
                </a:cubicBezTo>
                <a:cubicBezTo>
                  <a:pt x="1307577" y="1137070"/>
                  <a:pt x="1293872" y="1123416"/>
                  <a:pt x="1277025" y="1123416"/>
                </a:cubicBezTo>
                <a:cubicBezTo>
                  <a:pt x="1260178" y="1123416"/>
                  <a:pt x="1246472" y="1137070"/>
                  <a:pt x="1246472" y="1153853"/>
                </a:cubicBezTo>
                <a:close/>
                <a:moveTo>
                  <a:pt x="1424553" y="1153853"/>
                </a:moveTo>
                <a:cubicBezTo>
                  <a:pt x="1424553" y="1170635"/>
                  <a:pt x="1438259" y="1184289"/>
                  <a:pt x="1455106" y="1184289"/>
                </a:cubicBezTo>
                <a:cubicBezTo>
                  <a:pt x="1471953" y="1184289"/>
                  <a:pt x="1485658" y="1170635"/>
                  <a:pt x="1485658" y="1153853"/>
                </a:cubicBezTo>
                <a:cubicBezTo>
                  <a:pt x="1485658" y="1137070"/>
                  <a:pt x="1471953" y="1123416"/>
                  <a:pt x="1455106" y="1123416"/>
                </a:cubicBezTo>
                <a:cubicBezTo>
                  <a:pt x="1438259" y="1123416"/>
                  <a:pt x="1424553" y="1137070"/>
                  <a:pt x="1424553" y="1153853"/>
                </a:cubicBezTo>
                <a:close/>
                <a:moveTo>
                  <a:pt x="474851" y="1212925"/>
                </a:moveTo>
                <a:cubicBezTo>
                  <a:pt x="474851" y="1229708"/>
                  <a:pt x="488557" y="1243362"/>
                  <a:pt x="505404" y="1243362"/>
                </a:cubicBezTo>
                <a:cubicBezTo>
                  <a:pt x="522250" y="1243362"/>
                  <a:pt x="535956" y="1229708"/>
                  <a:pt x="535956" y="1212925"/>
                </a:cubicBezTo>
                <a:cubicBezTo>
                  <a:pt x="535956" y="1196142"/>
                  <a:pt x="522250" y="1182488"/>
                  <a:pt x="505404" y="1182488"/>
                </a:cubicBezTo>
                <a:cubicBezTo>
                  <a:pt x="488557" y="1182488"/>
                  <a:pt x="474851" y="1196142"/>
                  <a:pt x="474851" y="1212925"/>
                </a:cubicBezTo>
                <a:close/>
                <a:moveTo>
                  <a:pt x="534243" y="1212925"/>
                </a:moveTo>
                <a:cubicBezTo>
                  <a:pt x="534243" y="1229708"/>
                  <a:pt x="547949" y="1243362"/>
                  <a:pt x="564796" y="1243362"/>
                </a:cubicBezTo>
                <a:cubicBezTo>
                  <a:pt x="581643" y="1243362"/>
                  <a:pt x="595348" y="1229708"/>
                  <a:pt x="595348" y="1212925"/>
                </a:cubicBezTo>
                <a:cubicBezTo>
                  <a:pt x="595348" y="1196142"/>
                  <a:pt x="581643" y="1182488"/>
                  <a:pt x="564796" y="1182488"/>
                </a:cubicBezTo>
                <a:cubicBezTo>
                  <a:pt x="547949" y="1182488"/>
                  <a:pt x="534243" y="1196142"/>
                  <a:pt x="534243" y="1212925"/>
                </a:cubicBezTo>
                <a:close/>
                <a:moveTo>
                  <a:pt x="652932" y="1212925"/>
                </a:moveTo>
                <a:cubicBezTo>
                  <a:pt x="652932" y="1229708"/>
                  <a:pt x="666638" y="1243362"/>
                  <a:pt x="683485" y="1243362"/>
                </a:cubicBezTo>
                <a:cubicBezTo>
                  <a:pt x="700332" y="1243362"/>
                  <a:pt x="714037" y="1229708"/>
                  <a:pt x="714037" y="1212925"/>
                </a:cubicBezTo>
                <a:cubicBezTo>
                  <a:pt x="714037" y="1196142"/>
                  <a:pt x="700332" y="1182488"/>
                  <a:pt x="683485" y="1182488"/>
                </a:cubicBezTo>
                <a:cubicBezTo>
                  <a:pt x="666638" y="1182488"/>
                  <a:pt x="652932" y="1196142"/>
                  <a:pt x="652932" y="1212925"/>
                </a:cubicBezTo>
                <a:close/>
                <a:moveTo>
                  <a:pt x="890310" y="1212925"/>
                </a:moveTo>
                <a:cubicBezTo>
                  <a:pt x="890310" y="1229708"/>
                  <a:pt x="904016" y="1243362"/>
                  <a:pt x="920863" y="1243362"/>
                </a:cubicBezTo>
                <a:cubicBezTo>
                  <a:pt x="937709" y="1243362"/>
                  <a:pt x="951415" y="1229708"/>
                  <a:pt x="951415" y="1212925"/>
                </a:cubicBezTo>
                <a:cubicBezTo>
                  <a:pt x="951415" y="1196142"/>
                  <a:pt x="937709" y="1182488"/>
                  <a:pt x="920863" y="1182488"/>
                </a:cubicBezTo>
                <a:cubicBezTo>
                  <a:pt x="904016" y="1182488"/>
                  <a:pt x="890310" y="1196142"/>
                  <a:pt x="890310" y="1212925"/>
                </a:cubicBezTo>
                <a:close/>
                <a:moveTo>
                  <a:pt x="949702" y="1212925"/>
                </a:moveTo>
                <a:cubicBezTo>
                  <a:pt x="949702" y="1229708"/>
                  <a:pt x="963408" y="1243362"/>
                  <a:pt x="980255" y="1243362"/>
                </a:cubicBezTo>
                <a:cubicBezTo>
                  <a:pt x="997101" y="1243362"/>
                  <a:pt x="1010807" y="1229708"/>
                  <a:pt x="1010807" y="1212925"/>
                </a:cubicBezTo>
                <a:cubicBezTo>
                  <a:pt x="1010807" y="1196142"/>
                  <a:pt x="997101" y="1182488"/>
                  <a:pt x="980255" y="1182488"/>
                </a:cubicBezTo>
                <a:cubicBezTo>
                  <a:pt x="963408" y="1182488"/>
                  <a:pt x="949702" y="1196142"/>
                  <a:pt x="949702" y="1212925"/>
                </a:cubicBezTo>
                <a:close/>
                <a:moveTo>
                  <a:pt x="1009094" y="1212925"/>
                </a:moveTo>
                <a:cubicBezTo>
                  <a:pt x="1009094" y="1229708"/>
                  <a:pt x="1022800" y="1243362"/>
                  <a:pt x="1039647" y="1243362"/>
                </a:cubicBezTo>
                <a:cubicBezTo>
                  <a:pt x="1056494" y="1243362"/>
                  <a:pt x="1070199" y="1229708"/>
                  <a:pt x="1070199" y="1212925"/>
                </a:cubicBezTo>
                <a:cubicBezTo>
                  <a:pt x="1070199" y="1196142"/>
                  <a:pt x="1056494" y="1182488"/>
                  <a:pt x="1039647" y="1182488"/>
                </a:cubicBezTo>
                <a:cubicBezTo>
                  <a:pt x="1022800" y="1182488"/>
                  <a:pt x="1009094" y="1196142"/>
                  <a:pt x="1009094" y="1212925"/>
                </a:cubicBezTo>
                <a:close/>
                <a:moveTo>
                  <a:pt x="1068391" y="1212925"/>
                </a:moveTo>
                <a:cubicBezTo>
                  <a:pt x="1068391" y="1229708"/>
                  <a:pt x="1082097" y="1243362"/>
                  <a:pt x="1098944" y="1243362"/>
                </a:cubicBezTo>
                <a:cubicBezTo>
                  <a:pt x="1115790" y="1243362"/>
                  <a:pt x="1129496" y="1229708"/>
                  <a:pt x="1129496" y="1212925"/>
                </a:cubicBezTo>
                <a:cubicBezTo>
                  <a:pt x="1129496" y="1196142"/>
                  <a:pt x="1115790" y="1182488"/>
                  <a:pt x="1098944" y="1182488"/>
                </a:cubicBezTo>
                <a:cubicBezTo>
                  <a:pt x="1082097" y="1182488"/>
                  <a:pt x="1068391" y="1196142"/>
                  <a:pt x="1068391" y="1212925"/>
                </a:cubicBezTo>
                <a:close/>
                <a:moveTo>
                  <a:pt x="1127783" y="1212925"/>
                </a:moveTo>
                <a:cubicBezTo>
                  <a:pt x="1127783" y="1229708"/>
                  <a:pt x="1141489" y="1243362"/>
                  <a:pt x="1158336" y="1243362"/>
                </a:cubicBezTo>
                <a:cubicBezTo>
                  <a:pt x="1175183" y="1243362"/>
                  <a:pt x="1188888" y="1229708"/>
                  <a:pt x="1188888" y="1212925"/>
                </a:cubicBezTo>
                <a:cubicBezTo>
                  <a:pt x="1188888" y="1196142"/>
                  <a:pt x="1175183" y="1182488"/>
                  <a:pt x="1158336" y="1182488"/>
                </a:cubicBezTo>
                <a:cubicBezTo>
                  <a:pt x="1141489" y="1182488"/>
                  <a:pt x="1127783" y="1196142"/>
                  <a:pt x="1127783" y="1212925"/>
                </a:cubicBezTo>
                <a:close/>
                <a:moveTo>
                  <a:pt x="1187080" y="1212925"/>
                </a:moveTo>
                <a:cubicBezTo>
                  <a:pt x="1187080" y="1229708"/>
                  <a:pt x="1200786" y="1243362"/>
                  <a:pt x="1217633" y="1243362"/>
                </a:cubicBezTo>
                <a:cubicBezTo>
                  <a:pt x="1234479" y="1243362"/>
                  <a:pt x="1248185" y="1229708"/>
                  <a:pt x="1248185" y="1212925"/>
                </a:cubicBezTo>
                <a:cubicBezTo>
                  <a:pt x="1248185" y="1196142"/>
                  <a:pt x="1234479" y="1182488"/>
                  <a:pt x="1217633" y="1182488"/>
                </a:cubicBezTo>
                <a:cubicBezTo>
                  <a:pt x="1200786" y="1182488"/>
                  <a:pt x="1187080" y="1196142"/>
                  <a:pt x="1187080" y="1212925"/>
                </a:cubicBezTo>
                <a:close/>
                <a:moveTo>
                  <a:pt x="1305769" y="1212925"/>
                </a:moveTo>
                <a:cubicBezTo>
                  <a:pt x="1305769" y="1229708"/>
                  <a:pt x="1319475" y="1243362"/>
                  <a:pt x="1336322" y="1243362"/>
                </a:cubicBezTo>
                <a:cubicBezTo>
                  <a:pt x="1353168" y="1243362"/>
                  <a:pt x="1366874" y="1229708"/>
                  <a:pt x="1366874" y="1212925"/>
                </a:cubicBezTo>
                <a:cubicBezTo>
                  <a:pt x="1366874" y="1196142"/>
                  <a:pt x="1353168" y="1182488"/>
                  <a:pt x="1336322" y="1182488"/>
                </a:cubicBezTo>
                <a:cubicBezTo>
                  <a:pt x="1319475" y="1182488"/>
                  <a:pt x="1305769" y="1196142"/>
                  <a:pt x="1305769" y="1212925"/>
                </a:cubicBezTo>
                <a:close/>
                <a:moveTo>
                  <a:pt x="1365161" y="1212925"/>
                </a:moveTo>
                <a:cubicBezTo>
                  <a:pt x="1365161" y="1229708"/>
                  <a:pt x="1378867" y="1243362"/>
                  <a:pt x="1395714" y="1243362"/>
                </a:cubicBezTo>
                <a:cubicBezTo>
                  <a:pt x="1412561" y="1243362"/>
                  <a:pt x="1426266" y="1229708"/>
                  <a:pt x="1426266" y="1212925"/>
                </a:cubicBezTo>
                <a:cubicBezTo>
                  <a:pt x="1426266" y="1196142"/>
                  <a:pt x="1412561" y="1182488"/>
                  <a:pt x="1395714" y="1182488"/>
                </a:cubicBezTo>
                <a:cubicBezTo>
                  <a:pt x="1378867" y="1182488"/>
                  <a:pt x="1365161" y="1196142"/>
                  <a:pt x="1365161" y="1212925"/>
                </a:cubicBezTo>
                <a:close/>
                <a:moveTo>
                  <a:pt x="1424553" y="1212925"/>
                </a:moveTo>
                <a:cubicBezTo>
                  <a:pt x="1424553" y="1229708"/>
                  <a:pt x="1438259" y="1243362"/>
                  <a:pt x="1455106" y="1243362"/>
                </a:cubicBezTo>
                <a:cubicBezTo>
                  <a:pt x="1471953" y="1243362"/>
                  <a:pt x="1485658" y="1229708"/>
                  <a:pt x="1485658" y="1212925"/>
                </a:cubicBezTo>
                <a:cubicBezTo>
                  <a:pt x="1485658" y="1196142"/>
                  <a:pt x="1471953" y="1182488"/>
                  <a:pt x="1455106" y="1182488"/>
                </a:cubicBezTo>
                <a:cubicBezTo>
                  <a:pt x="1438259" y="1182488"/>
                  <a:pt x="1424553" y="1196142"/>
                  <a:pt x="1424553" y="1212925"/>
                </a:cubicBezTo>
                <a:close/>
                <a:moveTo>
                  <a:pt x="474851" y="1272092"/>
                </a:moveTo>
                <a:cubicBezTo>
                  <a:pt x="474851" y="1288875"/>
                  <a:pt x="488557" y="1302529"/>
                  <a:pt x="505404" y="1302529"/>
                </a:cubicBezTo>
                <a:cubicBezTo>
                  <a:pt x="522250" y="1302529"/>
                  <a:pt x="535956" y="1288875"/>
                  <a:pt x="535956" y="1272092"/>
                </a:cubicBezTo>
                <a:cubicBezTo>
                  <a:pt x="535956" y="1255309"/>
                  <a:pt x="522250" y="1241655"/>
                  <a:pt x="505404" y="1241655"/>
                </a:cubicBezTo>
                <a:cubicBezTo>
                  <a:pt x="488557" y="1241655"/>
                  <a:pt x="474851" y="1255309"/>
                  <a:pt x="474851" y="1272092"/>
                </a:cubicBezTo>
                <a:close/>
                <a:moveTo>
                  <a:pt x="534243" y="1272092"/>
                </a:moveTo>
                <a:cubicBezTo>
                  <a:pt x="534243" y="1288875"/>
                  <a:pt x="547949" y="1302529"/>
                  <a:pt x="564796" y="1302529"/>
                </a:cubicBezTo>
                <a:cubicBezTo>
                  <a:pt x="581643" y="1302529"/>
                  <a:pt x="595348" y="1288875"/>
                  <a:pt x="595348" y="1272092"/>
                </a:cubicBezTo>
                <a:cubicBezTo>
                  <a:pt x="595348" y="1255309"/>
                  <a:pt x="581643" y="1241655"/>
                  <a:pt x="564796" y="1241655"/>
                </a:cubicBezTo>
                <a:cubicBezTo>
                  <a:pt x="547949" y="1241655"/>
                  <a:pt x="534243" y="1255309"/>
                  <a:pt x="534243" y="1272092"/>
                </a:cubicBezTo>
                <a:close/>
                <a:moveTo>
                  <a:pt x="712324" y="1272092"/>
                </a:moveTo>
                <a:cubicBezTo>
                  <a:pt x="712324" y="1288875"/>
                  <a:pt x="726030" y="1302529"/>
                  <a:pt x="742877" y="1302529"/>
                </a:cubicBezTo>
                <a:cubicBezTo>
                  <a:pt x="759724" y="1302529"/>
                  <a:pt x="773429" y="1288875"/>
                  <a:pt x="773429" y="1272092"/>
                </a:cubicBezTo>
                <a:cubicBezTo>
                  <a:pt x="773429" y="1255309"/>
                  <a:pt x="759724" y="1241655"/>
                  <a:pt x="742877" y="1241655"/>
                </a:cubicBezTo>
                <a:cubicBezTo>
                  <a:pt x="726030" y="1241655"/>
                  <a:pt x="712324" y="1255309"/>
                  <a:pt x="712324" y="1272092"/>
                </a:cubicBezTo>
                <a:close/>
                <a:moveTo>
                  <a:pt x="771621" y="1272092"/>
                </a:moveTo>
                <a:cubicBezTo>
                  <a:pt x="771621" y="1288875"/>
                  <a:pt x="785327" y="1302529"/>
                  <a:pt x="802174" y="1302529"/>
                </a:cubicBezTo>
                <a:cubicBezTo>
                  <a:pt x="819021" y="1302529"/>
                  <a:pt x="832726" y="1288875"/>
                  <a:pt x="832726" y="1272092"/>
                </a:cubicBezTo>
                <a:cubicBezTo>
                  <a:pt x="832726" y="1255309"/>
                  <a:pt x="819021" y="1241655"/>
                  <a:pt x="802174" y="1241655"/>
                </a:cubicBezTo>
                <a:cubicBezTo>
                  <a:pt x="785327" y="1241655"/>
                  <a:pt x="771621" y="1255309"/>
                  <a:pt x="771621" y="1272092"/>
                </a:cubicBezTo>
                <a:close/>
                <a:moveTo>
                  <a:pt x="831013" y="1272092"/>
                </a:moveTo>
                <a:cubicBezTo>
                  <a:pt x="831013" y="1288875"/>
                  <a:pt x="844719" y="1302529"/>
                  <a:pt x="861566" y="1302529"/>
                </a:cubicBezTo>
                <a:cubicBezTo>
                  <a:pt x="878413" y="1302529"/>
                  <a:pt x="892118" y="1288875"/>
                  <a:pt x="892118" y="1272092"/>
                </a:cubicBezTo>
                <a:cubicBezTo>
                  <a:pt x="892118" y="1255309"/>
                  <a:pt x="878413" y="1241655"/>
                  <a:pt x="861566" y="1241655"/>
                </a:cubicBezTo>
                <a:cubicBezTo>
                  <a:pt x="844719" y="1241655"/>
                  <a:pt x="831013" y="1255309"/>
                  <a:pt x="831013" y="1272092"/>
                </a:cubicBezTo>
                <a:close/>
                <a:moveTo>
                  <a:pt x="890310" y="1272092"/>
                </a:moveTo>
                <a:cubicBezTo>
                  <a:pt x="890310" y="1288875"/>
                  <a:pt x="904016" y="1302529"/>
                  <a:pt x="920863" y="1302529"/>
                </a:cubicBezTo>
                <a:cubicBezTo>
                  <a:pt x="937709" y="1302529"/>
                  <a:pt x="951415" y="1288875"/>
                  <a:pt x="951415" y="1272092"/>
                </a:cubicBezTo>
                <a:cubicBezTo>
                  <a:pt x="951415" y="1255309"/>
                  <a:pt x="937709" y="1241655"/>
                  <a:pt x="920863" y="1241655"/>
                </a:cubicBezTo>
                <a:cubicBezTo>
                  <a:pt x="904016" y="1241655"/>
                  <a:pt x="890310" y="1255309"/>
                  <a:pt x="890310" y="1272092"/>
                </a:cubicBezTo>
                <a:close/>
                <a:moveTo>
                  <a:pt x="1009094" y="1272092"/>
                </a:moveTo>
                <a:cubicBezTo>
                  <a:pt x="1009094" y="1288875"/>
                  <a:pt x="1022800" y="1302529"/>
                  <a:pt x="1039647" y="1302529"/>
                </a:cubicBezTo>
                <a:cubicBezTo>
                  <a:pt x="1056494" y="1302529"/>
                  <a:pt x="1070199" y="1288875"/>
                  <a:pt x="1070199" y="1272092"/>
                </a:cubicBezTo>
                <a:cubicBezTo>
                  <a:pt x="1070199" y="1255309"/>
                  <a:pt x="1056494" y="1241655"/>
                  <a:pt x="1039647" y="1241655"/>
                </a:cubicBezTo>
                <a:cubicBezTo>
                  <a:pt x="1022800" y="1241655"/>
                  <a:pt x="1009094" y="1255309"/>
                  <a:pt x="1009094" y="1272092"/>
                </a:cubicBezTo>
                <a:close/>
                <a:moveTo>
                  <a:pt x="1068391" y="1272092"/>
                </a:moveTo>
                <a:cubicBezTo>
                  <a:pt x="1068391" y="1288875"/>
                  <a:pt x="1082097" y="1302529"/>
                  <a:pt x="1098944" y="1302529"/>
                </a:cubicBezTo>
                <a:cubicBezTo>
                  <a:pt x="1115790" y="1302529"/>
                  <a:pt x="1129496" y="1288875"/>
                  <a:pt x="1129496" y="1272092"/>
                </a:cubicBezTo>
                <a:cubicBezTo>
                  <a:pt x="1129496" y="1255309"/>
                  <a:pt x="1115790" y="1241655"/>
                  <a:pt x="1098944" y="1241655"/>
                </a:cubicBezTo>
                <a:cubicBezTo>
                  <a:pt x="1082097" y="1241655"/>
                  <a:pt x="1068391" y="1255309"/>
                  <a:pt x="1068391" y="1272092"/>
                </a:cubicBezTo>
                <a:close/>
                <a:moveTo>
                  <a:pt x="1187080" y="1272092"/>
                </a:moveTo>
                <a:cubicBezTo>
                  <a:pt x="1187080" y="1288875"/>
                  <a:pt x="1200786" y="1302529"/>
                  <a:pt x="1217633" y="1302529"/>
                </a:cubicBezTo>
                <a:cubicBezTo>
                  <a:pt x="1234479" y="1302529"/>
                  <a:pt x="1248185" y="1288875"/>
                  <a:pt x="1248185" y="1272092"/>
                </a:cubicBezTo>
                <a:cubicBezTo>
                  <a:pt x="1248185" y="1255309"/>
                  <a:pt x="1234479" y="1241655"/>
                  <a:pt x="1217633" y="1241655"/>
                </a:cubicBezTo>
                <a:cubicBezTo>
                  <a:pt x="1200786" y="1241655"/>
                  <a:pt x="1187080" y="1255309"/>
                  <a:pt x="1187080" y="1272092"/>
                </a:cubicBezTo>
                <a:close/>
                <a:moveTo>
                  <a:pt x="1246472" y="1272092"/>
                </a:moveTo>
                <a:cubicBezTo>
                  <a:pt x="1246472" y="1288875"/>
                  <a:pt x="1260178" y="1302529"/>
                  <a:pt x="1277025" y="1302529"/>
                </a:cubicBezTo>
                <a:cubicBezTo>
                  <a:pt x="1293872" y="1302529"/>
                  <a:pt x="1307577" y="1288875"/>
                  <a:pt x="1307577" y="1272092"/>
                </a:cubicBezTo>
                <a:cubicBezTo>
                  <a:pt x="1307577" y="1255309"/>
                  <a:pt x="1293872" y="1241655"/>
                  <a:pt x="1277025" y="1241655"/>
                </a:cubicBezTo>
                <a:cubicBezTo>
                  <a:pt x="1260178" y="1241655"/>
                  <a:pt x="1246472" y="1255309"/>
                  <a:pt x="1246472" y="1272092"/>
                </a:cubicBezTo>
                <a:close/>
                <a:moveTo>
                  <a:pt x="1305769" y="1272092"/>
                </a:moveTo>
                <a:cubicBezTo>
                  <a:pt x="1305769" y="1288875"/>
                  <a:pt x="1319475" y="1302529"/>
                  <a:pt x="1336322" y="1302529"/>
                </a:cubicBezTo>
                <a:cubicBezTo>
                  <a:pt x="1353168" y="1302529"/>
                  <a:pt x="1366874" y="1288875"/>
                  <a:pt x="1366874" y="1272092"/>
                </a:cubicBezTo>
                <a:cubicBezTo>
                  <a:pt x="1366874" y="1255309"/>
                  <a:pt x="1353168" y="1241655"/>
                  <a:pt x="1336322" y="1241655"/>
                </a:cubicBezTo>
                <a:cubicBezTo>
                  <a:pt x="1319475" y="1241655"/>
                  <a:pt x="1305769" y="1255309"/>
                  <a:pt x="1305769" y="1272092"/>
                </a:cubicBezTo>
                <a:close/>
                <a:moveTo>
                  <a:pt x="1365161" y="1272092"/>
                </a:moveTo>
                <a:cubicBezTo>
                  <a:pt x="1365161" y="1288875"/>
                  <a:pt x="1378867" y="1302529"/>
                  <a:pt x="1395714" y="1302529"/>
                </a:cubicBezTo>
                <a:cubicBezTo>
                  <a:pt x="1412561" y="1302529"/>
                  <a:pt x="1426266" y="1288875"/>
                  <a:pt x="1426266" y="1272092"/>
                </a:cubicBezTo>
                <a:cubicBezTo>
                  <a:pt x="1426266" y="1255309"/>
                  <a:pt x="1412561" y="1241655"/>
                  <a:pt x="1395714" y="1241655"/>
                </a:cubicBezTo>
                <a:cubicBezTo>
                  <a:pt x="1378867" y="1241655"/>
                  <a:pt x="1365161" y="1255309"/>
                  <a:pt x="1365161" y="1272092"/>
                </a:cubicBezTo>
                <a:close/>
                <a:moveTo>
                  <a:pt x="1424553" y="1272092"/>
                </a:moveTo>
                <a:cubicBezTo>
                  <a:pt x="1424553" y="1288875"/>
                  <a:pt x="1438259" y="1302529"/>
                  <a:pt x="1455106" y="1302529"/>
                </a:cubicBezTo>
                <a:cubicBezTo>
                  <a:pt x="1471953" y="1302529"/>
                  <a:pt x="1485658" y="1288875"/>
                  <a:pt x="1485658" y="1272092"/>
                </a:cubicBezTo>
                <a:cubicBezTo>
                  <a:pt x="1485658" y="1255309"/>
                  <a:pt x="1471953" y="1241655"/>
                  <a:pt x="1455106" y="1241655"/>
                </a:cubicBezTo>
                <a:cubicBezTo>
                  <a:pt x="1438259" y="1241655"/>
                  <a:pt x="1424553" y="1255309"/>
                  <a:pt x="1424553" y="1272092"/>
                </a:cubicBezTo>
                <a:close/>
                <a:moveTo>
                  <a:pt x="474851" y="1331259"/>
                </a:moveTo>
                <a:cubicBezTo>
                  <a:pt x="474851" y="1348042"/>
                  <a:pt x="488557" y="1361696"/>
                  <a:pt x="505404" y="1361696"/>
                </a:cubicBezTo>
                <a:cubicBezTo>
                  <a:pt x="522250" y="1361696"/>
                  <a:pt x="535956" y="1348042"/>
                  <a:pt x="535956" y="1331259"/>
                </a:cubicBezTo>
                <a:cubicBezTo>
                  <a:pt x="535956" y="1314476"/>
                  <a:pt x="522250" y="1300822"/>
                  <a:pt x="505404" y="1300822"/>
                </a:cubicBezTo>
                <a:cubicBezTo>
                  <a:pt x="488557" y="1300822"/>
                  <a:pt x="474851" y="1314476"/>
                  <a:pt x="474851" y="1331259"/>
                </a:cubicBezTo>
                <a:close/>
                <a:moveTo>
                  <a:pt x="593635" y="1331259"/>
                </a:moveTo>
                <a:cubicBezTo>
                  <a:pt x="593635" y="1348042"/>
                  <a:pt x="607341" y="1361696"/>
                  <a:pt x="624188" y="1361696"/>
                </a:cubicBezTo>
                <a:cubicBezTo>
                  <a:pt x="641035" y="1361696"/>
                  <a:pt x="654740" y="1348042"/>
                  <a:pt x="654740" y="1331259"/>
                </a:cubicBezTo>
                <a:cubicBezTo>
                  <a:pt x="654740" y="1314476"/>
                  <a:pt x="641035" y="1300822"/>
                  <a:pt x="624188" y="1300822"/>
                </a:cubicBezTo>
                <a:cubicBezTo>
                  <a:pt x="607341" y="1300822"/>
                  <a:pt x="593635" y="1314476"/>
                  <a:pt x="593635" y="1331259"/>
                </a:cubicBezTo>
                <a:close/>
                <a:moveTo>
                  <a:pt x="771621" y="1331259"/>
                </a:moveTo>
                <a:cubicBezTo>
                  <a:pt x="771621" y="1348042"/>
                  <a:pt x="785327" y="1361696"/>
                  <a:pt x="802174" y="1361696"/>
                </a:cubicBezTo>
                <a:cubicBezTo>
                  <a:pt x="819021" y="1361696"/>
                  <a:pt x="832726" y="1348042"/>
                  <a:pt x="832726" y="1331259"/>
                </a:cubicBezTo>
                <a:cubicBezTo>
                  <a:pt x="832726" y="1314476"/>
                  <a:pt x="819021" y="1300822"/>
                  <a:pt x="802174" y="1300822"/>
                </a:cubicBezTo>
                <a:cubicBezTo>
                  <a:pt x="785327" y="1300822"/>
                  <a:pt x="771621" y="1314476"/>
                  <a:pt x="771621" y="1331259"/>
                </a:cubicBezTo>
                <a:close/>
                <a:moveTo>
                  <a:pt x="831013" y="1331259"/>
                </a:moveTo>
                <a:cubicBezTo>
                  <a:pt x="831013" y="1348042"/>
                  <a:pt x="844719" y="1361696"/>
                  <a:pt x="861566" y="1361696"/>
                </a:cubicBezTo>
                <a:cubicBezTo>
                  <a:pt x="878413" y="1361696"/>
                  <a:pt x="892118" y="1348042"/>
                  <a:pt x="892118" y="1331259"/>
                </a:cubicBezTo>
                <a:cubicBezTo>
                  <a:pt x="892118" y="1314476"/>
                  <a:pt x="878413" y="1300822"/>
                  <a:pt x="861566" y="1300822"/>
                </a:cubicBezTo>
                <a:cubicBezTo>
                  <a:pt x="844719" y="1300822"/>
                  <a:pt x="831013" y="1314476"/>
                  <a:pt x="831013" y="1331259"/>
                </a:cubicBezTo>
                <a:close/>
                <a:moveTo>
                  <a:pt x="1246472" y="1331259"/>
                </a:moveTo>
                <a:cubicBezTo>
                  <a:pt x="1246472" y="1348042"/>
                  <a:pt x="1260178" y="1361696"/>
                  <a:pt x="1277025" y="1361696"/>
                </a:cubicBezTo>
                <a:cubicBezTo>
                  <a:pt x="1293872" y="1361696"/>
                  <a:pt x="1307577" y="1348042"/>
                  <a:pt x="1307577" y="1331259"/>
                </a:cubicBezTo>
                <a:cubicBezTo>
                  <a:pt x="1307577" y="1314476"/>
                  <a:pt x="1293872" y="1300822"/>
                  <a:pt x="1277025" y="1300822"/>
                </a:cubicBezTo>
                <a:cubicBezTo>
                  <a:pt x="1260178" y="1300822"/>
                  <a:pt x="1246472" y="1314476"/>
                  <a:pt x="1246472" y="1331259"/>
                </a:cubicBezTo>
                <a:close/>
                <a:moveTo>
                  <a:pt x="1305769" y="1331259"/>
                </a:moveTo>
                <a:cubicBezTo>
                  <a:pt x="1305769" y="1348042"/>
                  <a:pt x="1319475" y="1361696"/>
                  <a:pt x="1336322" y="1361696"/>
                </a:cubicBezTo>
                <a:cubicBezTo>
                  <a:pt x="1353168" y="1361696"/>
                  <a:pt x="1366874" y="1348042"/>
                  <a:pt x="1366874" y="1331259"/>
                </a:cubicBezTo>
                <a:cubicBezTo>
                  <a:pt x="1366874" y="1314476"/>
                  <a:pt x="1353168" y="1300822"/>
                  <a:pt x="1336322" y="1300822"/>
                </a:cubicBezTo>
                <a:cubicBezTo>
                  <a:pt x="1319475" y="1300822"/>
                  <a:pt x="1305769" y="1314476"/>
                  <a:pt x="1305769" y="1331259"/>
                </a:cubicBezTo>
                <a:close/>
                <a:moveTo>
                  <a:pt x="1424553" y="1331259"/>
                </a:moveTo>
                <a:cubicBezTo>
                  <a:pt x="1424553" y="1348042"/>
                  <a:pt x="1438259" y="1361696"/>
                  <a:pt x="1455106" y="1361696"/>
                </a:cubicBezTo>
                <a:cubicBezTo>
                  <a:pt x="1471953" y="1361696"/>
                  <a:pt x="1485658" y="1348042"/>
                  <a:pt x="1485658" y="1331259"/>
                </a:cubicBezTo>
                <a:cubicBezTo>
                  <a:pt x="1485658" y="1314476"/>
                  <a:pt x="1471953" y="1300822"/>
                  <a:pt x="1455106" y="1300822"/>
                </a:cubicBezTo>
                <a:cubicBezTo>
                  <a:pt x="1438259" y="1300822"/>
                  <a:pt x="1424553" y="1314476"/>
                  <a:pt x="1424553" y="1331259"/>
                </a:cubicBezTo>
                <a:close/>
                <a:moveTo>
                  <a:pt x="712324" y="1390331"/>
                </a:moveTo>
                <a:cubicBezTo>
                  <a:pt x="712324" y="1407114"/>
                  <a:pt x="726030" y="1420768"/>
                  <a:pt x="742877" y="1420768"/>
                </a:cubicBezTo>
                <a:cubicBezTo>
                  <a:pt x="759724" y="1420768"/>
                  <a:pt x="773429" y="1407114"/>
                  <a:pt x="773429" y="1390331"/>
                </a:cubicBezTo>
                <a:cubicBezTo>
                  <a:pt x="773429" y="1373548"/>
                  <a:pt x="759724" y="1359894"/>
                  <a:pt x="742877" y="1359894"/>
                </a:cubicBezTo>
                <a:cubicBezTo>
                  <a:pt x="726030" y="1359894"/>
                  <a:pt x="712324" y="1373548"/>
                  <a:pt x="712324" y="1390331"/>
                </a:cubicBezTo>
                <a:close/>
                <a:moveTo>
                  <a:pt x="771621" y="1390331"/>
                </a:moveTo>
                <a:cubicBezTo>
                  <a:pt x="771621" y="1407114"/>
                  <a:pt x="785327" y="1420768"/>
                  <a:pt x="802174" y="1420768"/>
                </a:cubicBezTo>
                <a:cubicBezTo>
                  <a:pt x="819021" y="1420768"/>
                  <a:pt x="832726" y="1407114"/>
                  <a:pt x="832726" y="1390331"/>
                </a:cubicBezTo>
                <a:cubicBezTo>
                  <a:pt x="832726" y="1373548"/>
                  <a:pt x="819021" y="1359894"/>
                  <a:pt x="802174" y="1359894"/>
                </a:cubicBezTo>
                <a:cubicBezTo>
                  <a:pt x="785327" y="1359894"/>
                  <a:pt x="771621" y="1373548"/>
                  <a:pt x="771621" y="1390331"/>
                </a:cubicBezTo>
                <a:close/>
                <a:moveTo>
                  <a:pt x="949702" y="1390331"/>
                </a:moveTo>
                <a:cubicBezTo>
                  <a:pt x="949702" y="1407114"/>
                  <a:pt x="963408" y="1420768"/>
                  <a:pt x="980255" y="1420768"/>
                </a:cubicBezTo>
                <a:cubicBezTo>
                  <a:pt x="997101" y="1420768"/>
                  <a:pt x="1010807" y="1407114"/>
                  <a:pt x="1010807" y="1390331"/>
                </a:cubicBezTo>
                <a:cubicBezTo>
                  <a:pt x="1010807" y="1373548"/>
                  <a:pt x="997101" y="1359894"/>
                  <a:pt x="980255" y="1359894"/>
                </a:cubicBezTo>
                <a:cubicBezTo>
                  <a:pt x="963408" y="1359894"/>
                  <a:pt x="949702" y="1373548"/>
                  <a:pt x="949702" y="1390331"/>
                </a:cubicBezTo>
                <a:close/>
                <a:moveTo>
                  <a:pt x="1068391" y="1390331"/>
                </a:moveTo>
                <a:cubicBezTo>
                  <a:pt x="1068391" y="1407114"/>
                  <a:pt x="1082097" y="1420768"/>
                  <a:pt x="1098944" y="1420768"/>
                </a:cubicBezTo>
                <a:cubicBezTo>
                  <a:pt x="1115790" y="1420768"/>
                  <a:pt x="1129496" y="1407114"/>
                  <a:pt x="1129496" y="1390331"/>
                </a:cubicBezTo>
                <a:cubicBezTo>
                  <a:pt x="1129496" y="1373548"/>
                  <a:pt x="1115790" y="1359894"/>
                  <a:pt x="1098944" y="1359894"/>
                </a:cubicBezTo>
                <a:cubicBezTo>
                  <a:pt x="1082097" y="1359894"/>
                  <a:pt x="1068391" y="1373548"/>
                  <a:pt x="1068391" y="1390331"/>
                </a:cubicBezTo>
                <a:close/>
                <a:moveTo>
                  <a:pt x="1127783" y="1390331"/>
                </a:moveTo>
                <a:cubicBezTo>
                  <a:pt x="1127783" y="1407114"/>
                  <a:pt x="1141489" y="1420768"/>
                  <a:pt x="1158336" y="1420768"/>
                </a:cubicBezTo>
                <a:cubicBezTo>
                  <a:pt x="1175183" y="1420768"/>
                  <a:pt x="1188888" y="1407114"/>
                  <a:pt x="1188888" y="1390331"/>
                </a:cubicBezTo>
                <a:cubicBezTo>
                  <a:pt x="1188888" y="1373548"/>
                  <a:pt x="1175183" y="1359894"/>
                  <a:pt x="1158336" y="1359894"/>
                </a:cubicBezTo>
                <a:cubicBezTo>
                  <a:pt x="1141489" y="1359894"/>
                  <a:pt x="1127783" y="1373548"/>
                  <a:pt x="1127783" y="1390331"/>
                </a:cubicBezTo>
                <a:close/>
                <a:moveTo>
                  <a:pt x="1187080" y="1390331"/>
                </a:moveTo>
                <a:cubicBezTo>
                  <a:pt x="1187080" y="1407114"/>
                  <a:pt x="1200786" y="1420768"/>
                  <a:pt x="1217633" y="1420768"/>
                </a:cubicBezTo>
                <a:cubicBezTo>
                  <a:pt x="1234479" y="1420768"/>
                  <a:pt x="1248185" y="1407114"/>
                  <a:pt x="1248185" y="1390331"/>
                </a:cubicBezTo>
                <a:cubicBezTo>
                  <a:pt x="1248185" y="1373548"/>
                  <a:pt x="1234479" y="1359894"/>
                  <a:pt x="1217633" y="1359894"/>
                </a:cubicBezTo>
                <a:cubicBezTo>
                  <a:pt x="1200786" y="1359894"/>
                  <a:pt x="1187080" y="1373548"/>
                  <a:pt x="1187080" y="1390331"/>
                </a:cubicBezTo>
                <a:close/>
                <a:moveTo>
                  <a:pt x="1246472" y="1390331"/>
                </a:moveTo>
                <a:cubicBezTo>
                  <a:pt x="1246472" y="1407114"/>
                  <a:pt x="1260178" y="1420768"/>
                  <a:pt x="1277025" y="1420768"/>
                </a:cubicBezTo>
                <a:cubicBezTo>
                  <a:pt x="1293872" y="1420768"/>
                  <a:pt x="1307577" y="1407114"/>
                  <a:pt x="1307577" y="1390331"/>
                </a:cubicBezTo>
                <a:cubicBezTo>
                  <a:pt x="1307577" y="1373548"/>
                  <a:pt x="1293872" y="1359894"/>
                  <a:pt x="1277025" y="1359894"/>
                </a:cubicBezTo>
                <a:cubicBezTo>
                  <a:pt x="1260178" y="1359894"/>
                  <a:pt x="1246472" y="1373548"/>
                  <a:pt x="1246472" y="1390331"/>
                </a:cubicBezTo>
                <a:close/>
                <a:moveTo>
                  <a:pt x="1424553" y="1390331"/>
                </a:moveTo>
                <a:cubicBezTo>
                  <a:pt x="1424553" y="1407114"/>
                  <a:pt x="1438259" y="1420768"/>
                  <a:pt x="1455106" y="1420768"/>
                </a:cubicBezTo>
                <a:cubicBezTo>
                  <a:pt x="1471953" y="1420768"/>
                  <a:pt x="1485658" y="1407114"/>
                  <a:pt x="1485658" y="1390331"/>
                </a:cubicBezTo>
                <a:cubicBezTo>
                  <a:pt x="1485658" y="1373548"/>
                  <a:pt x="1471953" y="1359894"/>
                  <a:pt x="1455106" y="1359894"/>
                </a:cubicBezTo>
                <a:cubicBezTo>
                  <a:pt x="1438259" y="1359894"/>
                  <a:pt x="1424553" y="1373548"/>
                  <a:pt x="1424553" y="1390331"/>
                </a:cubicBezTo>
                <a:close/>
                <a:moveTo>
                  <a:pt x="474851" y="1449498"/>
                </a:moveTo>
                <a:cubicBezTo>
                  <a:pt x="474851" y="1466281"/>
                  <a:pt x="488557" y="1479935"/>
                  <a:pt x="505404" y="1479935"/>
                </a:cubicBezTo>
                <a:cubicBezTo>
                  <a:pt x="522250" y="1479935"/>
                  <a:pt x="535956" y="1466281"/>
                  <a:pt x="535956" y="1449498"/>
                </a:cubicBezTo>
                <a:cubicBezTo>
                  <a:pt x="535956" y="1432715"/>
                  <a:pt x="522250" y="1419061"/>
                  <a:pt x="505404" y="1419061"/>
                </a:cubicBezTo>
                <a:cubicBezTo>
                  <a:pt x="488557" y="1419061"/>
                  <a:pt x="474851" y="1432715"/>
                  <a:pt x="474851" y="1449498"/>
                </a:cubicBezTo>
                <a:close/>
                <a:moveTo>
                  <a:pt x="593635" y="1449498"/>
                </a:moveTo>
                <a:cubicBezTo>
                  <a:pt x="593635" y="1466281"/>
                  <a:pt x="607341" y="1479935"/>
                  <a:pt x="624188" y="1479935"/>
                </a:cubicBezTo>
                <a:cubicBezTo>
                  <a:pt x="641035" y="1479935"/>
                  <a:pt x="654740" y="1466281"/>
                  <a:pt x="654740" y="1449498"/>
                </a:cubicBezTo>
                <a:cubicBezTo>
                  <a:pt x="654740" y="1432715"/>
                  <a:pt x="641035" y="1419061"/>
                  <a:pt x="624188" y="1419061"/>
                </a:cubicBezTo>
                <a:cubicBezTo>
                  <a:pt x="607341" y="1419061"/>
                  <a:pt x="593635" y="1432715"/>
                  <a:pt x="593635" y="1449498"/>
                </a:cubicBezTo>
                <a:close/>
                <a:moveTo>
                  <a:pt x="712324" y="1449498"/>
                </a:moveTo>
                <a:cubicBezTo>
                  <a:pt x="712324" y="1466281"/>
                  <a:pt x="726030" y="1479935"/>
                  <a:pt x="742877" y="1479935"/>
                </a:cubicBezTo>
                <a:cubicBezTo>
                  <a:pt x="759724" y="1479935"/>
                  <a:pt x="773429" y="1466281"/>
                  <a:pt x="773429" y="1449498"/>
                </a:cubicBezTo>
                <a:cubicBezTo>
                  <a:pt x="773429" y="1432715"/>
                  <a:pt x="759724" y="1419061"/>
                  <a:pt x="742877" y="1419061"/>
                </a:cubicBezTo>
                <a:cubicBezTo>
                  <a:pt x="726030" y="1419061"/>
                  <a:pt x="712324" y="1432715"/>
                  <a:pt x="712324" y="1449498"/>
                </a:cubicBezTo>
                <a:close/>
                <a:moveTo>
                  <a:pt x="831013" y="1449498"/>
                </a:moveTo>
                <a:cubicBezTo>
                  <a:pt x="831013" y="1466281"/>
                  <a:pt x="844719" y="1479935"/>
                  <a:pt x="861566" y="1479935"/>
                </a:cubicBezTo>
                <a:cubicBezTo>
                  <a:pt x="878413" y="1479935"/>
                  <a:pt x="892118" y="1466281"/>
                  <a:pt x="892118" y="1449498"/>
                </a:cubicBezTo>
                <a:cubicBezTo>
                  <a:pt x="892118" y="1432715"/>
                  <a:pt x="878413" y="1419061"/>
                  <a:pt x="861566" y="1419061"/>
                </a:cubicBezTo>
                <a:cubicBezTo>
                  <a:pt x="844719" y="1419061"/>
                  <a:pt x="831013" y="1432715"/>
                  <a:pt x="831013" y="1449498"/>
                </a:cubicBezTo>
                <a:close/>
                <a:moveTo>
                  <a:pt x="1009094" y="1449498"/>
                </a:moveTo>
                <a:cubicBezTo>
                  <a:pt x="1009094" y="1466281"/>
                  <a:pt x="1022800" y="1479935"/>
                  <a:pt x="1039647" y="1479935"/>
                </a:cubicBezTo>
                <a:cubicBezTo>
                  <a:pt x="1056494" y="1479935"/>
                  <a:pt x="1070199" y="1466281"/>
                  <a:pt x="1070199" y="1449498"/>
                </a:cubicBezTo>
                <a:cubicBezTo>
                  <a:pt x="1070199" y="1432715"/>
                  <a:pt x="1056494" y="1419061"/>
                  <a:pt x="1039647" y="1419061"/>
                </a:cubicBezTo>
                <a:cubicBezTo>
                  <a:pt x="1022800" y="1419061"/>
                  <a:pt x="1009094" y="1432715"/>
                  <a:pt x="1009094" y="1449498"/>
                </a:cubicBezTo>
                <a:close/>
                <a:moveTo>
                  <a:pt x="1068391" y="1449498"/>
                </a:moveTo>
                <a:cubicBezTo>
                  <a:pt x="1068391" y="1466281"/>
                  <a:pt x="1082097" y="1479935"/>
                  <a:pt x="1098944" y="1479935"/>
                </a:cubicBezTo>
                <a:cubicBezTo>
                  <a:pt x="1115790" y="1479935"/>
                  <a:pt x="1129496" y="1466281"/>
                  <a:pt x="1129496" y="1449498"/>
                </a:cubicBezTo>
                <a:cubicBezTo>
                  <a:pt x="1129496" y="1432715"/>
                  <a:pt x="1115790" y="1419061"/>
                  <a:pt x="1098944" y="1419061"/>
                </a:cubicBezTo>
                <a:cubicBezTo>
                  <a:pt x="1082097" y="1419061"/>
                  <a:pt x="1068391" y="1432715"/>
                  <a:pt x="1068391" y="1449498"/>
                </a:cubicBezTo>
                <a:close/>
                <a:moveTo>
                  <a:pt x="1127783" y="1449498"/>
                </a:moveTo>
                <a:cubicBezTo>
                  <a:pt x="1127783" y="1466281"/>
                  <a:pt x="1141489" y="1479935"/>
                  <a:pt x="1158336" y="1479935"/>
                </a:cubicBezTo>
                <a:cubicBezTo>
                  <a:pt x="1175183" y="1479935"/>
                  <a:pt x="1188888" y="1466281"/>
                  <a:pt x="1188888" y="1449498"/>
                </a:cubicBezTo>
                <a:cubicBezTo>
                  <a:pt x="1188888" y="1432715"/>
                  <a:pt x="1175183" y="1419061"/>
                  <a:pt x="1158336" y="1419061"/>
                </a:cubicBezTo>
                <a:cubicBezTo>
                  <a:pt x="1141489" y="1419061"/>
                  <a:pt x="1127783" y="1432715"/>
                  <a:pt x="1127783" y="1449498"/>
                </a:cubicBezTo>
                <a:close/>
                <a:moveTo>
                  <a:pt x="1187080" y="1449498"/>
                </a:moveTo>
                <a:cubicBezTo>
                  <a:pt x="1187080" y="1466281"/>
                  <a:pt x="1200786" y="1479935"/>
                  <a:pt x="1217633" y="1479935"/>
                </a:cubicBezTo>
                <a:cubicBezTo>
                  <a:pt x="1234479" y="1479935"/>
                  <a:pt x="1248185" y="1466281"/>
                  <a:pt x="1248185" y="1449498"/>
                </a:cubicBezTo>
                <a:cubicBezTo>
                  <a:pt x="1248185" y="1432715"/>
                  <a:pt x="1234479" y="1419061"/>
                  <a:pt x="1217633" y="1419061"/>
                </a:cubicBezTo>
                <a:cubicBezTo>
                  <a:pt x="1200786" y="1419061"/>
                  <a:pt x="1187080" y="1432715"/>
                  <a:pt x="1187080" y="1449498"/>
                </a:cubicBezTo>
                <a:close/>
                <a:moveTo>
                  <a:pt x="1246472" y="1449498"/>
                </a:moveTo>
                <a:cubicBezTo>
                  <a:pt x="1246472" y="1466281"/>
                  <a:pt x="1260178" y="1479935"/>
                  <a:pt x="1277025" y="1479935"/>
                </a:cubicBezTo>
                <a:cubicBezTo>
                  <a:pt x="1293872" y="1479935"/>
                  <a:pt x="1307577" y="1466281"/>
                  <a:pt x="1307577" y="1449498"/>
                </a:cubicBezTo>
                <a:cubicBezTo>
                  <a:pt x="1307577" y="1432715"/>
                  <a:pt x="1293872" y="1419061"/>
                  <a:pt x="1277025" y="1419061"/>
                </a:cubicBezTo>
                <a:cubicBezTo>
                  <a:pt x="1260178" y="1419061"/>
                  <a:pt x="1246472" y="1432715"/>
                  <a:pt x="1246472" y="1449498"/>
                </a:cubicBezTo>
                <a:close/>
                <a:moveTo>
                  <a:pt x="1305769" y="1449498"/>
                </a:moveTo>
                <a:cubicBezTo>
                  <a:pt x="1305769" y="1466281"/>
                  <a:pt x="1319475" y="1479935"/>
                  <a:pt x="1336322" y="1479935"/>
                </a:cubicBezTo>
                <a:cubicBezTo>
                  <a:pt x="1353168" y="1479935"/>
                  <a:pt x="1366874" y="1466281"/>
                  <a:pt x="1366874" y="1449498"/>
                </a:cubicBezTo>
                <a:cubicBezTo>
                  <a:pt x="1366874" y="1432715"/>
                  <a:pt x="1353168" y="1419061"/>
                  <a:pt x="1336322" y="1419061"/>
                </a:cubicBezTo>
                <a:cubicBezTo>
                  <a:pt x="1319475" y="1419061"/>
                  <a:pt x="1305769" y="1432715"/>
                  <a:pt x="1305769" y="1449498"/>
                </a:cubicBezTo>
                <a:close/>
                <a:moveTo>
                  <a:pt x="1365161" y="1449498"/>
                </a:moveTo>
                <a:cubicBezTo>
                  <a:pt x="1365161" y="1466281"/>
                  <a:pt x="1378867" y="1479935"/>
                  <a:pt x="1395714" y="1479935"/>
                </a:cubicBezTo>
                <a:cubicBezTo>
                  <a:pt x="1412561" y="1479935"/>
                  <a:pt x="1426266" y="1466281"/>
                  <a:pt x="1426266" y="1449498"/>
                </a:cubicBezTo>
                <a:cubicBezTo>
                  <a:pt x="1426266" y="1432715"/>
                  <a:pt x="1412561" y="1419061"/>
                  <a:pt x="1395714" y="1419061"/>
                </a:cubicBezTo>
                <a:cubicBezTo>
                  <a:pt x="1378867" y="1419061"/>
                  <a:pt x="1365161" y="1432715"/>
                  <a:pt x="1365161" y="1449498"/>
                </a:cubicBezTo>
                <a:close/>
                <a:moveTo>
                  <a:pt x="1424553" y="1449498"/>
                </a:moveTo>
                <a:cubicBezTo>
                  <a:pt x="1424553" y="1466281"/>
                  <a:pt x="1438259" y="1479935"/>
                  <a:pt x="1455106" y="1479935"/>
                </a:cubicBezTo>
                <a:cubicBezTo>
                  <a:pt x="1471953" y="1479935"/>
                  <a:pt x="1485658" y="1466281"/>
                  <a:pt x="1485658" y="1449498"/>
                </a:cubicBezTo>
                <a:cubicBezTo>
                  <a:pt x="1485658" y="1432715"/>
                  <a:pt x="1471953" y="1419061"/>
                  <a:pt x="1455106" y="1419061"/>
                </a:cubicBezTo>
                <a:cubicBezTo>
                  <a:pt x="1438259" y="1419061"/>
                  <a:pt x="1424553" y="1432715"/>
                  <a:pt x="1424553" y="1449498"/>
                </a:cubicBezTo>
                <a:close/>
                <a:moveTo>
                  <a:pt x="207777" y="0"/>
                </a:moveTo>
                <a:lnTo>
                  <a:pt x="207777" y="0"/>
                </a:lnTo>
                <a:cubicBezTo>
                  <a:pt x="323515" y="0"/>
                  <a:pt x="415554" y="91690"/>
                  <a:pt x="415554" y="206990"/>
                </a:cubicBezTo>
                <a:lnTo>
                  <a:pt x="415554" y="206990"/>
                </a:lnTo>
                <a:cubicBezTo>
                  <a:pt x="415554" y="322290"/>
                  <a:pt x="323515" y="413980"/>
                  <a:pt x="207777" y="413980"/>
                </a:cubicBezTo>
                <a:lnTo>
                  <a:pt x="207777" y="413980"/>
                </a:lnTo>
                <a:cubicBezTo>
                  <a:pt x="92039" y="413980"/>
                  <a:pt x="0" y="322290"/>
                  <a:pt x="0" y="206990"/>
                </a:cubicBezTo>
                <a:lnTo>
                  <a:pt x="0" y="206990"/>
                </a:lnTo>
                <a:cubicBezTo>
                  <a:pt x="0" y="91690"/>
                  <a:pt x="92039" y="0"/>
                  <a:pt x="207777" y="0"/>
                </a:cubicBezTo>
                <a:close/>
                <a:moveTo>
                  <a:pt x="356162" y="206895"/>
                </a:moveTo>
                <a:lnTo>
                  <a:pt x="356162" y="206895"/>
                </a:lnTo>
                <a:cubicBezTo>
                  <a:pt x="356162" y="124118"/>
                  <a:pt x="290869" y="59072"/>
                  <a:pt x="207777" y="59072"/>
                </a:cubicBezTo>
                <a:lnTo>
                  <a:pt x="207777" y="59072"/>
                </a:lnTo>
                <a:cubicBezTo>
                  <a:pt x="124685" y="59072"/>
                  <a:pt x="59392" y="124118"/>
                  <a:pt x="59392" y="206895"/>
                </a:cubicBezTo>
                <a:lnTo>
                  <a:pt x="59392" y="206895"/>
                </a:lnTo>
                <a:cubicBezTo>
                  <a:pt x="59392" y="289672"/>
                  <a:pt x="124685" y="354718"/>
                  <a:pt x="207777" y="354718"/>
                </a:cubicBezTo>
                <a:lnTo>
                  <a:pt x="207777" y="354718"/>
                </a:lnTo>
                <a:cubicBezTo>
                  <a:pt x="290869" y="354718"/>
                  <a:pt x="356162" y="289672"/>
                  <a:pt x="356162" y="206895"/>
                </a:cubicBezTo>
                <a:close/>
                <a:moveTo>
                  <a:pt x="1276168" y="0"/>
                </a:moveTo>
                <a:lnTo>
                  <a:pt x="1276168" y="0"/>
                </a:lnTo>
                <a:cubicBezTo>
                  <a:pt x="1391907" y="0"/>
                  <a:pt x="1483945" y="91690"/>
                  <a:pt x="1483945" y="206990"/>
                </a:cubicBezTo>
                <a:lnTo>
                  <a:pt x="1483945" y="206990"/>
                </a:lnTo>
                <a:cubicBezTo>
                  <a:pt x="1483945" y="322290"/>
                  <a:pt x="1391907" y="413980"/>
                  <a:pt x="1276168" y="413980"/>
                </a:cubicBezTo>
                <a:lnTo>
                  <a:pt x="1276168" y="413980"/>
                </a:lnTo>
                <a:cubicBezTo>
                  <a:pt x="1160430" y="413980"/>
                  <a:pt x="1068391" y="322290"/>
                  <a:pt x="1068391" y="206990"/>
                </a:cubicBezTo>
                <a:lnTo>
                  <a:pt x="1068391" y="206990"/>
                </a:lnTo>
                <a:cubicBezTo>
                  <a:pt x="1068391" y="91690"/>
                  <a:pt x="1160430" y="0"/>
                  <a:pt x="1276168" y="0"/>
                </a:cubicBezTo>
                <a:close/>
                <a:moveTo>
                  <a:pt x="1424553" y="206895"/>
                </a:moveTo>
                <a:lnTo>
                  <a:pt x="1424553" y="206895"/>
                </a:lnTo>
                <a:cubicBezTo>
                  <a:pt x="1424553" y="124118"/>
                  <a:pt x="1359260" y="59072"/>
                  <a:pt x="1276168" y="59072"/>
                </a:cubicBezTo>
                <a:lnTo>
                  <a:pt x="1276168" y="59072"/>
                </a:lnTo>
                <a:cubicBezTo>
                  <a:pt x="1193076" y="59072"/>
                  <a:pt x="1127783" y="124118"/>
                  <a:pt x="1127783" y="206895"/>
                </a:cubicBezTo>
                <a:lnTo>
                  <a:pt x="1127783" y="206895"/>
                </a:lnTo>
                <a:cubicBezTo>
                  <a:pt x="1127783" y="289672"/>
                  <a:pt x="1193076" y="354718"/>
                  <a:pt x="1276168" y="354718"/>
                </a:cubicBezTo>
                <a:lnTo>
                  <a:pt x="1276168" y="354718"/>
                </a:lnTo>
                <a:cubicBezTo>
                  <a:pt x="1359260" y="354718"/>
                  <a:pt x="1424553" y="289672"/>
                  <a:pt x="1424553" y="206895"/>
                </a:cubicBezTo>
                <a:close/>
                <a:moveTo>
                  <a:pt x="207777" y="1064249"/>
                </a:moveTo>
                <a:lnTo>
                  <a:pt x="207777" y="1064249"/>
                </a:lnTo>
                <a:cubicBezTo>
                  <a:pt x="323515" y="1064249"/>
                  <a:pt x="415554" y="1155938"/>
                  <a:pt x="415554" y="1271238"/>
                </a:cubicBezTo>
                <a:lnTo>
                  <a:pt x="415554" y="1271238"/>
                </a:lnTo>
                <a:cubicBezTo>
                  <a:pt x="415554" y="1386538"/>
                  <a:pt x="323515" y="1478228"/>
                  <a:pt x="207777" y="1478228"/>
                </a:cubicBezTo>
                <a:lnTo>
                  <a:pt x="207777" y="1478228"/>
                </a:lnTo>
                <a:cubicBezTo>
                  <a:pt x="92039" y="1478228"/>
                  <a:pt x="0" y="1386538"/>
                  <a:pt x="0" y="1271238"/>
                </a:cubicBezTo>
                <a:lnTo>
                  <a:pt x="0" y="1271238"/>
                </a:lnTo>
                <a:cubicBezTo>
                  <a:pt x="0" y="1155938"/>
                  <a:pt x="92039" y="1064249"/>
                  <a:pt x="207777" y="1064249"/>
                </a:cubicBezTo>
                <a:close/>
                <a:moveTo>
                  <a:pt x="356162" y="1271238"/>
                </a:moveTo>
                <a:lnTo>
                  <a:pt x="356162" y="1271238"/>
                </a:lnTo>
                <a:cubicBezTo>
                  <a:pt x="356162" y="1188461"/>
                  <a:pt x="290869" y="1123416"/>
                  <a:pt x="207777" y="1123416"/>
                </a:cubicBezTo>
                <a:lnTo>
                  <a:pt x="207777" y="1123416"/>
                </a:lnTo>
                <a:cubicBezTo>
                  <a:pt x="124685" y="1123416"/>
                  <a:pt x="59392" y="1188461"/>
                  <a:pt x="59392" y="1271238"/>
                </a:cubicBezTo>
                <a:lnTo>
                  <a:pt x="59392" y="1271238"/>
                </a:lnTo>
                <a:cubicBezTo>
                  <a:pt x="59392" y="1354016"/>
                  <a:pt x="124685" y="1419061"/>
                  <a:pt x="207777" y="1419061"/>
                </a:cubicBezTo>
                <a:lnTo>
                  <a:pt x="207777" y="1419061"/>
                </a:lnTo>
                <a:cubicBezTo>
                  <a:pt x="290869" y="1419061"/>
                  <a:pt x="356162" y="1354016"/>
                  <a:pt x="356162" y="1271238"/>
                </a:cubicBezTo>
                <a:close/>
                <a:moveTo>
                  <a:pt x="118784" y="206895"/>
                </a:moveTo>
                <a:cubicBezTo>
                  <a:pt x="118784" y="255916"/>
                  <a:pt x="158664" y="295551"/>
                  <a:pt x="207777" y="295551"/>
                </a:cubicBezTo>
                <a:cubicBezTo>
                  <a:pt x="256890" y="295551"/>
                  <a:pt x="296770" y="255822"/>
                  <a:pt x="296770" y="206895"/>
                </a:cubicBezTo>
                <a:cubicBezTo>
                  <a:pt x="296770" y="157968"/>
                  <a:pt x="256890" y="118239"/>
                  <a:pt x="207777" y="118239"/>
                </a:cubicBezTo>
                <a:cubicBezTo>
                  <a:pt x="158664" y="118239"/>
                  <a:pt x="118784" y="157968"/>
                  <a:pt x="118784" y="206895"/>
                </a:cubicBezTo>
                <a:close/>
                <a:moveTo>
                  <a:pt x="1187080" y="206895"/>
                </a:moveTo>
                <a:cubicBezTo>
                  <a:pt x="1187080" y="255916"/>
                  <a:pt x="1226960" y="295551"/>
                  <a:pt x="1276073" y="295551"/>
                </a:cubicBezTo>
                <a:cubicBezTo>
                  <a:pt x="1325186" y="295551"/>
                  <a:pt x="1365066" y="255822"/>
                  <a:pt x="1365066" y="206895"/>
                </a:cubicBezTo>
                <a:cubicBezTo>
                  <a:pt x="1365066" y="157968"/>
                  <a:pt x="1325186" y="118239"/>
                  <a:pt x="1276073" y="118239"/>
                </a:cubicBezTo>
                <a:cubicBezTo>
                  <a:pt x="1226960" y="118239"/>
                  <a:pt x="1187080" y="157968"/>
                  <a:pt x="1187080" y="206895"/>
                </a:cubicBezTo>
                <a:close/>
                <a:moveTo>
                  <a:pt x="118784" y="1271238"/>
                </a:moveTo>
                <a:cubicBezTo>
                  <a:pt x="118784" y="1320260"/>
                  <a:pt x="158664" y="1359894"/>
                  <a:pt x="207777" y="1359894"/>
                </a:cubicBezTo>
                <a:cubicBezTo>
                  <a:pt x="256890" y="1359894"/>
                  <a:pt x="296770" y="1320165"/>
                  <a:pt x="296770" y="1271238"/>
                </a:cubicBezTo>
                <a:cubicBezTo>
                  <a:pt x="296770" y="1222312"/>
                  <a:pt x="256890" y="1182583"/>
                  <a:pt x="207777" y="1182583"/>
                </a:cubicBezTo>
                <a:cubicBezTo>
                  <a:pt x="158664" y="1182583"/>
                  <a:pt x="118784" y="1222312"/>
                  <a:pt x="118784" y="1271238"/>
                </a:cubicBezTo>
                <a:close/>
              </a:path>
            </a:pathLst>
          </a:custGeom>
          <a:solidFill>
            <a:schemeClr val="bg1"/>
          </a:solidFill>
          <a:ln w="950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75" name="TextBox 1474">
            <a:extLst>
              <a:ext uri="{FF2B5EF4-FFF2-40B4-BE49-F238E27FC236}">
                <a16:creationId xmlns:a16="http://schemas.microsoft.com/office/drawing/2014/main" id="{BD86AA9D-2AFB-D64F-FAF8-32EA980F48DB}"/>
              </a:ext>
            </a:extLst>
          </p:cNvPr>
          <p:cNvSpPr txBox="1"/>
          <p:nvPr/>
        </p:nvSpPr>
        <p:spPr bwMode="auto">
          <a:xfrm>
            <a:off x="6461125" y="5902677"/>
            <a:ext cx="4308306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Verdana" panose="020B0604030504040204" pitchFamily="34" charset="0"/>
              </a:rPr>
              <a:t>121099, г. Москва, ул. Композиторская, д. 17</a:t>
            </a:r>
          </a:p>
          <a:p>
            <a:pPr marL="0" marR="0" lvl="0" indent="0" algn="l" defTabSz="6108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Verdana" panose="020B0604030504040204" pitchFamily="34" charset="0"/>
              </a:rPr>
              <a:t>+7 (495) 730-77-47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Verdana" panose="020B0604030504040204" pitchFamily="34" charset="0"/>
              </a:rPr>
              <a:t>|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Verdana" panose="020B0604030504040204" pitchFamily="34" charset="0"/>
              </a:rPr>
              <a:t>inbox@strategy.ru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Verdana" panose="020B0604030504040204" pitchFamily="34" charset="0"/>
              </a:rPr>
              <a:t> </a:t>
            </a:r>
          </a:p>
        </p:txBody>
      </p:sp>
      <p:grpSp>
        <p:nvGrpSpPr>
          <p:cNvPr id="1476" name="Группа 1475">
            <a:extLst>
              <a:ext uri="{FF2B5EF4-FFF2-40B4-BE49-F238E27FC236}">
                <a16:creationId xmlns:a16="http://schemas.microsoft.com/office/drawing/2014/main" id="{35AEDABC-29DA-07D0-271A-5403F551FA58}"/>
              </a:ext>
            </a:extLst>
          </p:cNvPr>
          <p:cNvGrpSpPr/>
          <p:nvPr/>
        </p:nvGrpSpPr>
        <p:grpSpPr>
          <a:xfrm>
            <a:off x="441251" y="546622"/>
            <a:ext cx="2931869" cy="381832"/>
            <a:chOff x="443791" y="377997"/>
            <a:chExt cx="3999467" cy="520871"/>
          </a:xfrm>
        </p:grpSpPr>
        <p:sp>
          <p:nvSpPr>
            <p:cNvPr id="1477" name="Прямоугольник 1476">
              <a:extLst>
                <a:ext uri="{FF2B5EF4-FFF2-40B4-BE49-F238E27FC236}">
                  <a16:creationId xmlns:a16="http://schemas.microsoft.com/office/drawing/2014/main" id="{718D0657-F526-B7DA-88E0-5B5A85D264D5}"/>
                </a:ext>
              </a:extLst>
            </p:cNvPr>
            <p:cNvSpPr/>
            <p:nvPr/>
          </p:nvSpPr>
          <p:spPr>
            <a:xfrm>
              <a:off x="1492644" y="456285"/>
              <a:ext cx="2950614" cy="364276"/>
            </a:xfrm>
            <a:prstGeom prst="rect">
              <a:avLst/>
            </a:prstGeom>
            <a:noFill/>
            <a:ln w="0" cap="flat">
              <a:noFill/>
              <a:prstDash val="solid"/>
              <a:miter/>
            </a:ln>
          </p:spPr>
          <p:txBody>
            <a:bodyPr lIns="324000" tIns="0" rIns="720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  <a:sym typeface="Verdana" panose="020B0604030504040204" pitchFamily="34" charset="0"/>
                </a:rPr>
                <a:t>Решения, </a:t>
              </a:r>
              <a:b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  <a:sym typeface="Verdana" panose="020B0604030504040204" pitchFamily="34" charset="0"/>
                </a:rPr>
              </a:b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  <a:sym typeface="Verdana" panose="020B0604030504040204" pitchFamily="34" charset="0"/>
                </a:rPr>
                <a:t>которые работают</a:t>
              </a:r>
            </a:p>
          </p:txBody>
        </p:sp>
        <p:grpSp>
          <p:nvGrpSpPr>
            <p:cNvPr id="1478" name="Группа 1477">
              <a:extLst>
                <a:ext uri="{FF2B5EF4-FFF2-40B4-BE49-F238E27FC236}">
                  <a16:creationId xmlns:a16="http://schemas.microsoft.com/office/drawing/2014/main" id="{185185E6-9BB6-DEB4-CB69-484E813E8697}"/>
                </a:ext>
              </a:extLst>
            </p:cNvPr>
            <p:cNvGrpSpPr/>
            <p:nvPr/>
          </p:nvGrpSpPr>
          <p:grpSpPr>
            <a:xfrm>
              <a:off x="443791" y="377997"/>
              <a:ext cx="1197973" cy="520871"/>
              <a:chOff x="6626594" y="3238091"/>
              <a:chExt cx="3421274" cy="1487547"/>
            </a:xfrm>
          </p:grpSpPr>
          <p:grpSp>
            <p:nvGrpSpPr>
              <p:cNvPr id="1479" name="Рисунок 48">
                <a:extLst>
                  <a:ext uri="{FF2B5EF4-FFF2-40B4-BE49-F238E27FC236}">
                    <a16:creationId xmlns:a16="http://schemas.microsoft.com/office/drawing/2014/main" id="{D2BD9046-0A20-7658-5E83-18C27A6F910F}"/>
                  </a:ext>
                </a:extLst>
              </p:cNvPr>
              <p:cNvGrpSpPr/>
              <p:nvPr/>
            </p:nvGrpSpPr>
            <p:grpSpPr>
              <a:xfrm>
                <a:off x="6626594" y="3238091"/>
                <a:ext cx="2540911" cy="1487547"/>
                <a:chOff x="6626594" y="3238091"/>
                <a:chExt cx="2540911" cy="1487547"/>
              </a:xfrm>
              <a:solidFill>
                <a:srgbClr val="171523"/>
              </a:solidFill>
            </p:grpSpPr>
            <p:sp>
              <p:nvSpPr>
                <p:cNvPr id="1481" name="Полилиния 15">
                  <a:extLst>
                    <a:ext uri="{FF2B5EF4-FFF2-40B4-BE49-F238E27FC236}">
                      <a16:creationId xmlns:a16="http://schemas.microsoft.com/office/drawing/2014/main" id="{0B9A250F-4BCD-E25E-FAFA-185DAAA30C80}"/>
                    </a:ext>
                  </a:extLst>
                </p:cNvPr>
                <p:cNvSpPr/>
                <p:nvPr/>
              </p:nvSpPr>
              <p:spPr>
                <a:xfrm>
                  <a:off x="8023634" y="3261224"/>
                  <a:ext cx="1143871" cy="1441226"/>
                </a:xfrm>
                <a:custGeom>
                  <a:avLst/>
                  <a:gdLst>
                    <a:gd name="connsiteX0" fmla="*/ 690277 w 1143870"/>
                    <a:gd name="connsiteY0" fmla="*/ 0 h 1441226"/>
                    <a:gd name="connsiteX1" fmla="*/ 0 w 1143870"/>
                    <a:gd name="connsiteY1" fmla="*/ 0 h 1441226"/>
                    <a:gd name="connsiteX2" fmla="*/ 0 w 1143870"/>
                    <a:gd name="connsiteY2" fmla="*/ 1441227 h 1441226"/>
                    <a:gd name="connsiteX3" fmla="*/ 160722 w 1143870"/>
                    <a:gd name="connsiteY3" fmla="*/ 1441227 h 1441226"/>
                    <a:gd name="connsiteX4" fmla="*/ 160722 w 1143870"/>
                    <a:gd name="connsiteY4" fmla="*/ 844461 h 1441226"/>
                    <a:gd name="connsiteX5" fmla="*/ 690330 w 1143870"/>
                    <a:gd name="connsiteY5" fmla="*/ 844461 h 1441226"/>
                    <a:gd name="connsiteX6" fmla="*/ 1143871 w 1143870"/>
                    <a:gd name="connsiteY6" fmla="*/ 421119 h 1441226"/>
                    <a:gd name="connsiteX7" fmla="*/ 690277 w 1143870"/>
                    <a:gd name="connsiteY7" fmla="*/ 0 h 1441226"/>
                    <a:gd name="connsiteX8" fmla="*/ 690277 w 1143870"/>
                    <a:gd name="connsiteY8" fmla="*/ 695336 h 1441226"/>
                    <a:gd name="connsiteX9" fmla="*/ 160669 w 1143870"/>
                    <a:gd name="connsiteY9" fmla="*/ 695336 h 1441226"/>
                    <a:gd name="connsiteX10" fmla="*/ 160669 w 1143870"/>
                    <a:gd name="connsiteY10" fmla="*/ 149178 h 1441226"/>
                    <a:gd name="connsiteX11" fmla="*/ 690277 w 1143870"/>
                    <a:gd name="connsiteY11" fmla="*/ 149178 h 1441226"/>
                    <a:gd name="connsiteX12" fmla="*/ 979862 w 1143870"/>
                    <a:gd name="connsiteY12" fmla="*/ 421172 h 1441226"/>
                    <a:gd name="connsiteX13" fmla="*/ 690277 w 1143870"/>
                    <a:gd name="connsiteY13" fmla="*/ 695283 h 1441226"/>
                    <a:gd name="connsiteX14" fmla="*/ 690277 w 1143870"/>
                    <a:gd name="connsiteY14" fmla="*/ 695283 h 1441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143870" h="1441226">
                      <a:moveTo>
                        <a:pt x="690277" y="0"/>
                      </a:moveTo>
                      <a:lnTo>
                        <a:pt x="0" y="0"/>
                      </a:lnTo>
                      <a:lnTo>
                        <a:pt x="0" y="1441227"/>
                      </a:lnTo>
                      <a:lnTo>
                        <a:pt x="160722" y="1441227"/>
                      </a:lnTo>
                      <a:lnTo>
                        <a:pt x="160722" y="844461"/>
                      </a:lnTo>
                      <a:lnTo>
                        <a:pt x="690330" y="844461"/>
                      </a:lnTo>
                      <a:cubicBezTo>
                        <a:pt x="982619" y="844461"/>
                        <a:pt x="1143871" y="694224"/>
                        <a:pt x="1143871" y="421119"/>
                      </a:cubicBezTo>
                      <a:cubicBezTo>
                        <a:pt x="1143871" y="148014"/>
                        <a:pt x="982619" y="0"/>
                        <a:pt x="690277" y="0"/>
                      </a:cubicBezTo>
                      <a:close/>
                      <a:moveTo>
                        <a:pt x="690277" y="695336"/>
                      </a:moveTo>
                      <a:lnTo>
                        <a:pt x="160669" y="695336"/>
                      </a:lnTo>
                      <a:lnTo>
                        <a:pt x="160669" y="149178"/>
                      </a:lnTo>
                      <a:lnTo>
                        <a:pt x="690277" y="149178"/>
                      </a:lnTo>
                      <a:cubicBezTo>
                        <a:pt x="893034" y="149178"/>
                        <a:pt x="979862" y="230490"/>
                        <a:pt x="979862" y="421172"/>
                      </a:cubicBezTo>
                      <a:cubicBezTo>
                        <a:pt x="979862" y="611853"/>
                        <a:pt x="893034" y="695283"/>
                        <a:pt x="690277" y="695283"/>
                      </a:cubicBezTo>
                      <a:lnTo>
                        <a:pt x="690277" y="695283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482" name="Полилиния 16">
                  <a:extLst>
                    <a:ext uri="{FF2B5EF4-FFF2-40B4-BE49-F238E27FC236}">
                      <a16:creationId xmlns:a16="http://schemas.microsoft.com/office/drawing/2014/main" id="{FFD46100-9522-2C9B-5B87-E057C1210DB2}"/>
                    </a:ext>
                  </a:extLst>
                </p:cNvPr>
                <p:cNvSpPr/>
                <p:nvPr/>
              </p:nvSpPr>
              <p:spPr>
                <a:xfrm>
                  <a:off x="6626594" y="3238091"/>
                  <a:ext cx="1192373" cy="1487547"/>
                </a:xfrm>
                <a:custGeom>
                  <a:avLst/>
                  <a:gdLst>
                    <a:gd name="connsiteX0" fmla="*/ 1192373 w 1192373"/>
                    <a:gd name="connsiteY0" fmla="*/ 1053988 h 1487547"/>
                    <a:gd name="connsiteX1" fmla="*/ 605092 w 1192373"/>
                    <a:gd name="connsiteY1" fmla="*/ 1487547 h 1487547"/>
                    <a:gd name="connsiteX2" fmla="*/ 0 w 1192373"/>
                    <a:gd name="connsiteY2" fmla="*/ 1034084 h 1487547"/>
                    <a:gd name="connsiteX3" fmla="*/ 0 w 1192373"/>
                    <a:gd name="connsiteY3" fmla="*/ 997980 h 1487547"/>
                    <a:gd name="connsiteX4" fmla="*/ 160722 w 1192373"/>
                    <a:gd name="connsiteY4" fmla="*/ 997980 h 1487547"/>
                    <a:gd name="connsiteX5" fmla="*/ 160722 w 1192373"/>
                    <a:gd name="connsiteY5" fmla="*/ 1034084 h 1487547"/>
                    <a:gd name="connsiteX6" fmla="*/ 605092 w 1192373"/>
                    <a:gd name="connsiteY6" fmla="*/ 1338898 h 1487547"/>
                    <a:gd name="connsiteX7" fmla="*/ 1035468 w 1192373"/>
                    <a:gd name="connsiteY7" fmla="*/ 1053988 h 1487547"/>
                    <a:gd name="connsiteX8" fmla="*/ 803556 w 1192373"/>
                    <a:gd name="connsiteY8" fmla="*/ 796023 h 1487547"/>
                    <a:gd name="connsiteX9" fmla="*/ 379647 w 1192373"/>
                    <a:gd name="connsiteY9" fmla="*/ 786865 h 1487547"/>
                    <a:gd name="connsiteX10" fmla="*/ 14524 w 1192373"/>
                    <a:gd name="connsiteY10" fmla="*/ 415772 h 1487547"/>
                    <a:gd name="connsiteX11" fmla="*/ 605092 w 1192373"/>
                    <a:gd name="connsiteY11" fmla="*/ 0 h 1487547"/>
                    <a:gd name="connsiteX12" fmla="*/ 1174032 w 1192373"/>
                    <a:gd name="connsiteY12" fmla="*/ 430859 h 1487547"/>
                    <a:gd name="connsiteX13" fmla="*/ 1174563 w 1192373"/>
                    <a:gd name="connsiteY13" fmla="*/ 444888 h 1487547"/>
                    <a:gd name="connsiteX14" fmla="*/ 1013841 w 1192373"/>
                    <a:gd name="connsiteY14" fmla="*/ 444888 h 1487547"/>
                    <a:gd name="connsiteX15" fmla="*/ 1013311 w 1192373"/>
                    <a:gd name="connsiteY15" fmla="*/ 431971 h 1487547"/>
                    <a:gd name="connsiteX16" fmla="*/ 605039 w 1192373"/>
                    <a:gd name="connsiteY16" fmla="*/ 148702 h 1487547"/>
                    <a:gd name="connsiteX17" fmla="*/ 170899 w 1192373"/>
                    <a:gd name="connsiteY17" fmla="*/ 415825 h 1487547"/>
                    <a:gd name="connsiteX18" fmla="*/ 381767 w 1192373"/>
                    <a:gd name="connsiteY18" fmla="*/ 626940 h 1487547"/>
                    <a:gd name="connsiteX19" fmla="*/ 805676 w 1192373"/>
                    <a:gd name="connsiteY19" fmla="*/ 636098 h 1487547"/>
                    <a:gd name="connsiteX20" fmla="*/ 1192373 w 1192373"/>
                    <a:gd name="connsiteY20" fmla="*/ 1054041 h 1487547"/>
                    <a:gd name="connsiteX21" fmla="*/ 1192373 w 1192373"/>
                    <a:gd name="connsiteY21" fmla="*/ 1054041 h 1487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192373" h="1487547">
                      <a:moveTo>
                        <a:pt x="1192373" y="1053988"/>
                      </a:moveTo>
                      <a:cubicBezTo>
                        <a:pt x="1192373" y="1345886"/>
                        <a:pt x="1000377" y="1487547"/>
                        <a:pt x="605092" y="1487547"/>
                      </a:cubicBezTo>
                      <a:cubicBezTo>
                        <a:pt x="181183" y="1487547"/>
                        <a:pt x="0" y="1352345"/>
                        <a:pt x="0" y="1034084"/>
                      </a:cubicBezTo>
                      <a:lnTo>
                        <a:pt x="0" y="997980"/>
                      </a:lnTo>
                      <a:lnTo>
                        <a:pt x="160722" y="997980"/>
                      </a:lnTo>
                      <a:lnTo>
                        <a:pt x="160722" y="1034084"/>
                      </a:lnTo>
                      <a:cubicBezTo>
                        <a:pt x="160722" y="1267803"/>
                        <a:pt x="264831" y="1338898"/>
                        <a:pt x="605092" y="1338898"/>
                      </a:cubicBezTo>
                      <a:cubicBezTo>
                        <a:pt x="983149" y="1338898"/>
                        <a:pt x="1035468" y="1202108"/>
                        <a:pt x="1035468" y="1053988"/>
                      </a:cubicBezTo>
                      <a:cubicBezTo>
                        <a:pt x="1035468" y="874106"/>
                        <a:pt x="968041" y="799252"/>
                        <a:pt x="803556" y="796023"/>
                      </a:cubicBezTo>
                      <a:lnTo>
                        <a:pt x="379647" y="786865"/>
                      </a:lnTo>
                      <a:cubicBezTo>
                        <a:pt x="133740" y="780936"/>
                        <a:pt x="14524" y="659762"/>
                        <a:pt x="14524" y="415772"/>
                      </a:cubicBezTo>
                      <a:cubicBezTo>
                        <a:pt x="14577" y="124403"/>
                        <a:pt x="191467" y="0"/>
                        <a:pt x="605092" y="0"/>
                      </a:cubicBezTo>
                      <a:cubicBezTo>
                        <a:pt x="970215" y="0"/>
                        <a:pt x="1161628" y="145420"/>
                        <a:pt x="1174032" y="430859"/>
                      </a:cubicBezTo>
                      <a:lnTo>
                        <a:pt x="1174563" y="444888"/>
                      </a:lnTo>
                      <a:lnTo>
                        <a:pt x="1013841" y="444888"/>
                      </a:lnTo>
                      <a:lnTo>
                        <a:pt x="1013311" y="431971"/>
                      </a:lnTo>
                      <a:cubicBezTo>
                        <a:pt x="1003610" y="197140"/>
                        <a:pt x="842888" y="148702"/>
                        <a:pt x="605039" y="148702"/>
                      </a:cubicBezTo>
                      <a:cubicBezTo>
                        <a:pt x="238326" y="148702"/>
                        <a:pt x="170899" y="238643"/>
                        <a:pt x="170899" y="415825"/>
                      </a:cubicBezTo>
                      <a:cubicBezTo>
                        <a:pt x="170899" y="593007"/>
                        <a:pt x="232919" y="623711"/>
                        <a:pt x="381767" y="626940"/>
                      </a:cubicBezTo>
                      <a:lnTo>
                        <a:pt x="805676" y="636098"/>
                      </a:lnTo>
                      <a:cubicBezTo>
                        <a:pt x="1058633" y="641498"/>
                        <a:pt x="1192373" y="785806"/>
                        <a:pt x="1192373" y="1054041"/>
                      </a:cubicBezTo>
                      <a:lnTo>
                        <a:pt x="1192373" y="1054041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480" name="Полилиния 14">
                <a:extLst>
                  <a:ext uri="{FF2B5EF4-FFF2-40B4-BE49-F238E27FC236}">
                    <a16:creationId xmlns:a16="http://schemas.microsoft.com/office/drawing/2014/main" id="{1E306CA2-4911-B66B-AC03-9CE6531DE0F8}"/>
                  </a:ext>
                </a:extLst>
              </p:cNvPr>
              <p:cNvSpPr/>
              <p:nvPr/>
            </p:nvSpPr>
            <p:spPr>
              <a:xfrm>
                <a:off x="9196128" y="3261224"/>
                <a:ext cx="851740" cy="1441279"/>
              </a:xfrm>
              <a:custGeom>
                <a:avLst/>
                <a:gdLst>
                  <a:gd name="connsiteX0" fmla="*/ 851741 w 851740"/>
                  <a:gd name="connsiteY0" fmla="*/ 0 h 1441279"/>
                  <a:gd name="connsiteX1" fmla="*/ 161146 w 851740"/>
                  <a:gd name="connsiteY1" fmla="*/ 1441280 h 1441279"/>
                  <a:gd name="connsiteX2" fmla="*/ 0 w 851740"/>
                  <a:gd name="connsiteY2" fmla="*/ 1441280 h 1441279"/>
                  <a:gd name="connsiteX3" fmla="*/ 690595 w 851740"/>
                  <a:gd name="connsiteY3" fmla="*/ 0 h 1441279"/>
                  <a:gd name="connsiteX4" fmla="*/ 851741 w 851740"/>
                  <a:gd name="connsiteY4" fmla="*/ 0 h 1441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1740" h="1441279">
                    <a:moveTo>
                      <a:pt x="851741" y="0"/>
                    </a:moveTo>
                    <a:lnTo>
                      <a:pt x="161146" y="1441280"/>
                    </a:lnTo>
                    <a:lnTo>
                      <a:pt x="0" y="1441280"/>
                    </a:lnTo>
                    <a:lnTo>
                      <a:pt x="690595" y="0"/>
                    </a:lnTo>
                    <a:lnTo>
                      <a:pt x="851741" y="0"/>
                    </a:lnTo>
                    <a:close/>
                  </a:path>
                </a:pathLst>
              </a:custGeom>
              <a:gradFill>
                <a:gsLst>
                  <a:gs pos="0">
                    <a:srgbClr val="2EEAEF"/>
                  </a:gs>
                  <a:gs pos="20000">
                    <a:srgbClr val="2EE5EE"/>
                  </a:gs>
                  <a:gs pos="41000">
                    <a:srgbClr val="2ED9EE"/>
                  </a:gs>
                  <a:gs pos="62000">
                    <a:srgbClr val="2EC4EE"/>
                  </a:gs>
                  <a:gs pos="83000">
                    <a:srgbClr val="2EA7ED"/>
                  </a:gs>
                  <a:gs pos="100000">
                    <a:srgbClr val="2F8AED"/>
                  </a:gs>
                </a:gsLst>
                <a:lin ang="6907745" scaled="1"/>
              </a:gra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1483" name="TextBox 1482">
            <a:extLst>
              <a:ext uri="{FF2B5EF4-FFF2-40B4-BE49-F238E27FC236}">
                <a16:creationId xmlns:a16="http://schemas.microsoft.com/office/drawing/2014/main" id="{14EB6E51-5CD7-4951-921E-9DA467DD8788}"/>
              </a:ext>
            </a:extLst>
          </p:cNvPr>
          <p:cNvSpPr txBox="1"/>
          <p:nvPr/>
        </p:nvSpPr>
        <p:spPr bwMode="auto">
          <a:xfrm>
            <a:off x="441251" y="1433429"/>
            <a:ext cx="430830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  <a:sym typeface="Verdana" panose="020B0604030504040204" pitchFamily="34" charset="0"/>
              </a:rPr>
              <a:t>Контакты</a:t>
            </a:r>
          </a:p>
        </p:txBody>
      </p:sp>
      <p:pic>
        <p:nvPicPr>
          <p:cNvPr id="4" name="Рисунок 2" descr="Изображение выглядит как Человеческое лицо, человек, одежда, Борода человека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B56854B0-1ABD-F9D2-8CD7-C0C29CF735D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900"/>
                    </a14:imgEffect>
                    <a14:imgEffect>
                      <a14:brightnessContrast brigh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257" r="7974" b="12907"/>
          <a:stretch/>
        </p:blipFill>
        <p:spPr>
          <a:xfrm>
            <a:off x="444851" y="2256947"/>
            <a:ext cx="828000" cy="828000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1535630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32687&quot;&gt;&lt;version val=&quot;38685&quot;/&gt;&lt;CPresentation id=&quot;1&quot;&gt;&lt;m_precDefaultOrdinal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vMNzAP2Cs9UuJqvYDZD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5M4ot.zGMQpuc2C5urN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OLouFbRvTuPkyIj8ard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TB4UlzvMrqXyKZtFOuK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exMiQM1EV7y0jxNTaMy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ynMKzbK_Z2PCkDQ3W._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QiRQHTBwa5Hxj6Y5bhu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bZJLHSf1gEeIICZQydT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6K2FftX0Qd4urWBUXHo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8Yz1jY.XKuJF72qdc7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VVIIbpZzeFFrljno6aG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xLlqEmwa9YNQc4l2LC0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BWHyFCfPxaVKoLlih5a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2_riTAEBVbN3iJ.Emjr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VyQBcgW.lXdykTLUhXB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zquCoE5Noa94IMr952g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FCfGd1RpZTW0TSvLI_1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oApjDfjEIUEVoC_aFTO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az8_p6UELuvifJKWuGZ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DohnBTdeYtNxJ1cinM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9BCaDQvfQUL6NHVveuD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m82jZj9JmXxqbYX32gK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UjAC_8K.RMxNn3rmq0F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JDHdLxWcw1dZInF3KB0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cUCwb_rls6T_ZLx8f0y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QgBSBdnrJxn5TUAetS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D1Ps74XaSDdtnniwzYJ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ZhYR2AKpMFpFBEEf6so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YEzVRXgt37exbq41Q45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QmA.2sOgD4m5Et7Eg3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E0BnXYvyXIque5rh4Z5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f0B5a7ghlM554nLclfL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FTpUUQyerFNRENo1IzH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yiHQvhIp4raDCITdeae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zVtfAVjRJP7Lo5134tk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pYZ6cVYxCZCxPp.VaZe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bhZjsvwDnhd0.FXdSyR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k4sVS.fPHYY8UrKitk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9mARa9a.JxDOwZrz1c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Pk3jdvJ9zp.lX6IacO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h9DN1nJuQxZW0FrjR_H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H1fkPEk3LNDFbO9pGBB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s_sMHqG7riwK_TMaTiG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w74h2OPdwIIuXznCmUh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6ckh8tc13m2Jajy0Vi3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rcWUN19V9NOJR04PQdI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NieRjOqpBsrCYzZHI1v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mQ_8DB5rHrrn4XW0gq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CkAnkrSXwIjrwYDWjJ.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xkKJjc_HTt3VMQm_YmT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dzJXJTXc11fzXMww.VK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vay6dB4E8tpxqFjf9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dAzT2Rbft3bg5_b5Xuv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ntgVj_0dnlbQFp_hJnq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WD1nty2r870mK_hPwVD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FlAJdXHSwWpvg5MHt79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9_mIvCAjv2lOaT1qaEg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S_QI06VH.oYmn7bShv5w"/>
</p:tagLst>
</file>

<file path=ppt/theme/theme1.xml><?xml version="1.0" encoding="utf-8"?>
<a:theme xmlns:a="http://schemas.openxmlformats.org/drawingml/2006/main" name="1_SP_25">
  <a:themeElements>
    <a:clrScheme name="SP_1">
      <a:dk1>
        <a:srgbClr val="000000"/>
      </a:dk1>
      <a:lt1>
        <a:sysClr val="window" lastClr="FFFFFF"/>
      </a:lt1>
      <a:dk2>
        <a:srgbClr val="C7E0F9"/>
      </a:dk2>
      <a:lt2>
        <a:srgbClr val="504898"/>
      </a:lt2>
      <a:accent1>
        <a:srgbClr val="02CAD4"/>
      </a:accent1>
      <a:accent2>
        <a:srgbClr val="2386E9"/>
      </a:accent2>
      <a:accent3>
        <a:srgbClr val="9AF7FF"/>
      </a:accent3>
      <a:accent4>
        <a:srgbClr val="8E93FE"/>
      </a:accent4>
      <a:accent5>
        <a:srgbClr val="235079"/>
      </a:accent5>
      <a:accent6>
        <a:srgbClr val="1084A9"/>
      </a:accent6>
      <a:hlink>
        <a:srgbClr val="2386E9"/>
      </a:hlink>
      <a:folHlink>
        <a:srgbClr val="1264B6"/>
      </a:folHlink>
    </a:clrScheme>
    <a:fontScheme name="SPG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P_25" id="{E33D796C-636D-4EED-B2CA-CED1295E388E}" vid="{FA474736-49E3-4A15-8F4E-CC482858863A}"/>
    </a:ext>
  </a:extLst>
</a:theme>
</file>

<file path=ppt/theme/theme2.xml><?xml version="1.0" encoding="utf-8"?>
<a:theme xmlns:a="http://schemas.openxmlformats.org/drawingml/2006/main" name="SP_Section">
  <a:themeElements>
    <a:clrScheme name="SP_1">
      <a:dk1>
        <a:srgbClr val="000000"/>
      </a:dk1>
      <a:lt1>
        <a:sysClr val="window" lastClr="FFFFFF"/>
      </a:lt1>
      <a:dk2>
        <a:srgbClr val="C7E0F9"/>
      </a:dk2>
      <a:lt2>
        <a:srgbClr val="504898"/>
      </a:lt2>
      <a:accent1>
        <a:srgbClr val="02CAD4"/>
      </a:accent1>
      <a:accent2>
        <a:srgbClr val="2386E9"/>
      </a:accent2>
      <a:accent3>
        <a:srgbClr val="9AF7FF"/>
      </a:accent3>
      <a:accent4>
        <a:srgbClr val="8E93FE"/>
      </a:accent4>
      <a:accent5>
        <a:srgbClr val="235079"/>
      </a:accent5>
      <a:accent6>
        <a:srgbClr val="1084A9"/>
      </a:accent6>
      <a:hlink>
        <a:srgbClr val="2386E9"/>
      </a:hlink>
      <a:folHlink>
        <a:srgbClr val="1264B6"/>
      </a:folHlink>
    </a:clrScheme>
    <a:fontScheme name="SPG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 template_new 07032025.pptx" id="{A0F2C104-8B64-4533-9A06-95E0A3F67578}" vid="{5AE7F9E8-267C-4AF5-B823-F79765725C7F}"/>
    </a:ext>
  </a:extLst>
</a:theme>
</file>

<file path=ppt/theme/theme3.xml><?xml version="1.0" encoding="utf-8"?>
<a:theme xmlns:a="http://schemas.openxmlformats.org/drawingml/2006/main" name="SP_Dark">
  <a:themeElements>
    <a:clrScheme name="SP_dark">
      <a:dk1>
        <a:srgbClr val="FFFFFF"/>
      </a:dk1>
      <a:lt1>
        <a:sysClr val="window" lastClr="FFFFFF"/>
      </a:lt1>
      <a:dk2>
        <a:srgbClr val="000000"/>
      </a:dk2>
      <a:lt2>
        <a:srgbClr val="0B1823"/>
      </a:lt2>
      <a:accent1>
        <a:srgbClr val="9AF7FF"/>
      </a:accent1>
      <a:accent2>
        <a:srgbClr val="2386E9"/>
      </a:accent2>
      <a:accent3>
        <a:srgbClr val="02CAD4"/>
      </a:accent3>
      <a:accent4>
        <a:srgbClr val="8E93FE"/>
      </a:accent4>
      <a:accent5>
        <a:srgbClr val="F29054"/>
      </a:accent5>
      <a:accent6>
        <a:srgbClr val="90C368"/>
      </a:accent6>
      <a:hlink>
        <a:srgbClr val="C7E0F9"/>
      </a:hlink>
      <a:folHlink>
        <a:srgbClr val="7AB6F1"/>
      </a:folHlink>
    </a:clrScheme>
    <a:fontScheme name="SPG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_PPTtemplate.potx" id="{93B33E8D-1588-4DA6-822F-C94DCCF4CF79}" vid="{2D4A633D-3E7E-4150-868F-0DA43D44FC64}"/>
    </a:ext>
  </a:extLst>
</a:theme>
</file>

<file path=ppt/theme/theme4.xml><?xml version="1.0" encoding="utf-8"?>
<a:theme xmlns:a="http://schemas.openxmlformats.org/drawingml/2006/main" name="SP_Templates">
  <a:themeElements>
    <a:clrScheme name="SP_1">
      <a:dk1>
        <a:srgbClr val="000000"/>
      </a:dk1>
      <a:lt1>
        <a:sysClr val="window" lastClr="FFFFFF"/>
      </a:lt1>
      <a:dk2>
        <a:srgbClr val="C7E0F9"/>
      </a:dk2>
      <a:lt2>
        <a:srgbClr val="504898"/>
      </a:lt2>
      <a:accent1>
        <a:srgbClr val="02CAD4"/>
      </a:accent1>
      <a:accent2>
        <a:srgbClr val="2386E9"/>
      </a:accent2>
      <a:accent3>
        <a:srgbClr val="9AF7FF"/>
      </a:accent3>
      <a:accent4>
        <a:srgbClr val="8E93FE"/>
      </a:accent4>
      <a:accent5>
        <a:srgbClr val="235079"/>
      </a:accent5>
      <a:accent6>
        <a:srgbClr val="1084A9"/>
      </a:accent6>
      <a:hlink>
        <a:srgbClr val="2386E9"/>
      </a:hlink>
      <a:folHlink>
        <a:srgbClr val="1264B6"/>
      </a:folHlink>
    </a:clrScheme>
    <a:fontScheme name="SPG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P template_new 07032025.pptx" id="{A0F2C104-8B64-4533-9A06-95E0A3F67578}" vid="{1EB03D4A-D7C2-403C-B0EE-EB9DB9DCDDE7}"/>
    </a:ext>
  </a:extLst>
</a:theme>
</file>

<file path=ppt/theme/theme5.xml><?xml version="1.0" encoding="utf-8"?>
<a:theme xmlns:a="http://schemas.openxmlformats.org/drawingml/2006/main" name="1_SP_Section">
  <a:themeElements>
    <a:clrScheme name="SP_1">
      <a:dk1>
        <a:srgbClr val="000000"/>
      </a:dk1>
      <a:lt1>
        <a:sysClr val="window" lastClr="FFFFFF"/>
      </a:lt1>
      <a:dk2>
        <a:srgbClr val="C7E0F9"/>
      </a:dk2>
      <a:lt2>
        <a:srgbClr val="504898"/>
      </a:lt2>
      <a:accent1>
        <a:srgbClr val="02CAD4"/>
      </a:accent1>
      <a:accent2>
        <a:srgbClr val="2386E9"/>
      </a:accent2>
      <a:accent3>
        <a:srgbClr val="9AF7FF"/>
      </a:accent3>
      <a:accent4>
        <a:srgbClr val="8E93FE"/>
      </a:accent4>
      <a:accent5>
        <a:srgbClr val="235079"/>
      </a:accent5>
      <a:accent6>
        <a:srgbClr val="1084A9"/>
      </a:accent6>
      <a:hlink>
        <a:srgbClr val="2386E9"/>
      </a:hlink>
      <a:folHlink>
        <a:srgbClr val="1264B6"/>
      </a:folHlink>
    </a:clrScheme>
    <a:fontScheme name="SPG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 template_new 07032025.pptx" id="{A0F2C104-8B64-4533-9A06-95E0A3F67578}" vid="{5AE7F9E8-267C-4AF5-B823-F79765725C7F}"/>
    </a:ext>
  </a:extLst>
</a:theme>
</file>

<file path=ppt/theme/theme6.xml><?xml version="1.0" encoding="utf-8"?>
<a:theme xmlns:a="http://schemas.openxmlformats.org/drawingml/2006/main" name="1_SP_Dark">
  <a:themeElements>
    <a:clrScheme name="SP_dark">
      <a:dk1>
        <a:srgbClr val="FFFFFF"/>
      </a:dk1>
      <a:lt1>
        <a:sysClr val="window" lastClr="FFFFFF"/>
      </a:lt1>
      <a:dk2>
        <a:srgbClr val="235079"/>
      </a:dk2>
      <a:lt2>
        <a:srgbClr val="0B1823"/>
      </a:lt2>
      <a:accent1>
        <a:srgbClr val="9AF7FF"/>
      </a:accent1>
      <a:accent2>
        <a:srgbClr val="2386E9"/>
      </a:accent2>
      <a:accent3>
        <a:srgbClr val="02CAD4"/>
      </a:accent3>
      <a:accent4>
        <a:srgbClr val="8E93FE"/>
      </a:accent4>
      <a:accent5>
        <a:srgbClr val="F29054"/>
      </a:accent5>
      <a:accent6>
        <a:srgbClr val="90C368"/>
      </a:accent6>
      <a:hlink>
        <a:srgbClr val="C7E0F9"/>
      </a:hlink>
      <a:folHlink>
        <a:srgbClr val="7AB6F1"/>
      </a:folHlink>
    </a:clrScheme>
    <a:fontScheme name="SPG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G_2022" id="{F1BEC873-D4B1-4F76-9344-E887F6E6457B}" vid="{4CAC24F3-58F0-4082-B4B8-587BEB9272FE}"/>
    </a:ext>
  </a:extLst>
</a:theme>
</file>

<file path=ppt/theme/theme7.xml><?xml version="1.0" encoding="utf-8"?>
<a:theme xmlns:a="http://schemas.openxmlformats.org/drawingml/2006/main" name="2_SP_Dark">
  <a:themeElements>
    <a:clrScheme name="SP_dark">
      <a:dk1>
        <a:srgbClr val="FFFFFF"/>
      </a:dk1>
      <a:lt1>
        <a:sysClr val="window" lastClr="FFFFFF"/>
      </a:lt1>
      <a:dk2>
        <a:srgbClr val="235079"/>
      </a:dk2>
      <a:lt2>
        <a:srgbClr val="0B1823"/>
      </a:lt2>
      <a:accent1>
        <a:srgbClr val="9AF7FF"/>
      </a:accent1>
      <a:accent2>
        <a:srgbClr val="2386E9"/>
      </a:accent2>
      <a:accent3>
        <a:srgbClr val="02CAD4"/>
      </a:accent3>
      <a:accent4>
        <a:srgbClr val="8E93FE"/>
      </a:accent4>
      <a:accent5>
        <a:srgbClr val="F29054"/>
      </a:accent5>
      <a:accent6>
        <a:srgbClr val="90C368"/>
      </a:accent6>
      <a:hlink>
        <a:srgbClr val="C7E0F9"/>
      </a:hlink>
      <a:folHlink>
        <a:srgbClr val="7AB6F1"/>
      </a:folHlink>
    </a:clrScheme>
    <a:fontScheme name="SPG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G_2022" id="{F1BEC873-D4B1-4F76-9344-E887F6E6457B}" vid="{4CAC24F3-58F0-4082-B4B8-587BEB9272FE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67</TotalTime>
  <Words>965</Words>
  <Application>Microsoft Office PowerPoint</Application>
  <PresentationFormat>Широкоэкранный</PresentationFormat>
  <Paragraphs>276</Paragraphs>
  <Slides>9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3" baseType="lpstr">
      <vt:lpstr>Aptos</vt:lpstr>
      <vt:lpstr>Arial</vt:lpstr>
      <vt:lpstr>Calibri</vt:lpstr>
      <vt:lpstr>Candara Light</vt:lpstr>
      <vt:lpstr>Courier New</vt:lpstr>
      <vt:lpstr>Verdana</vt:lpstr>
      <vt:lpstr>1_SP_25</vt:lpstr>
      <vt:lpstr>SP_Section</vt:lpstr>
      <vt:lpstr>SP_Dark</vt:lpstr>
      <vt:lpstr>SP_Templates</vt:lpstr>
      <vt:lpstr>1_SP_Section</vt:lpstr>
      <vt:lpstr>1_SP_Dark</vt:lpstr>
      <vt:lpstr>2_SP_Dark</vt:lpstr>
      <vt:lpstr>Слайд think-cell</vt:lpstr>
      <vt:lpstr>Рынок ИТ:  ключевые показатели и драйверы развития</vt:lpstr>
      <vt:lpstr>Презентация PowerPoint</vt:lpstr>
      <vt:lpstr>Мировой ИТ-рынок ускорил рост в 2025 г.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user01</dc:creator>
  <cp:lastModifiedBy>Черкасова Наталия Николаевна</cp:lastModifiedBy>
  <cp:revision>182</cp:revision>
  <dcterms:created xsi:type="dcterms:W3CDTF">2026-05-13T08:13:03Z</dcterms:created>
  <dcterms:modified xsi:type="dcterms:W3CDTF">2026-07-20T12:55:31Z</dcterms:modified>
</cp:coreProperties>
</file>